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xlsb" ContentType="application/vnd.ms-excel.sheet.binary.macroEnabled.12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media/image37.svg" ContentType="image/svg+xml"/>
  <Override PartName="/ppt/media/image39.svg" ContentType="image/svg+xml"/>
  <Override PartName="/ppt/media/image41.svg" ContentType="image/svg+xml"/>
  <Override PartName="/ppt/media/image43.svg" ContentType="image/svg+xml"/>
  <Override PartName="/ppt/media/image45.svg" ContentType="image/svg+xml"/>
  <Override PartName="/ppt/media/image70.svg" ContentType="image/svg+xml"/>
  <Override PartName="/ppt/media/image72.svg" ContentType="image/svg+xml"/>
  <Override PartName="/ppt/media/image74.svg" ContentType="image/svg+xml"/>
  <Override PartName="/ppt/media/image76.svg" ContentType="image/svg+xml"/>
  <Override PartName="/ppt/media/image78.svg" ContentType="image/svg+xml"/>
  <Override PartName="/ppt/media/image80.svg" ContentType="image/svg+xml"/>
  <Override PartName="/ppt/media/image82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3"/>
    <p:sldMasterId id="2147483721" r:id="rId4"/>
  </p:sldMasterIdLst>
  <p:notesMasterIdLst>
    <p:notesMasterId r:id="rId9"/>
  </p:notesMasterIdLst>
  <p:sldIdLst>
    <p:sldId id="16774757" r:id="rId5"/>
    <p:sldId id="16774801" r:id="rId6"/>
    <p:sldId id="16774725" r:id="rId7"/>
    <p:sldId id="16774806" r:id="rId8"/>
    <p:sldId id="259" r:id="rId10"/>
    <p:sldId id="256" r:id="rId11"/>
    <p:sldId id="16774766" r:id="rId12"/>
    <p:sldId id="16774792" r:id="rId13"/>
    <p:sldId id="16774790" r:id="rId14"/>
    <p:sldId id="16777214" r:id="rId15"/>
    <p:sldId id="16777215" r:id="rId16"/>
    <p:sldId id="257" r:id="rId17"/>
    <p:sldId id="16777210" r:id="rId18"/>
    <p:sldId id="260" r:id="rId19"/>
    <p:sldId id="16774767" r:id="rId20"/>
    <p:sldId id="258" r:id="rId21"/>
    <p:sldId id="261" r:id="rId22"/>
    <p:sldId id="16777209" r:id="rId23"/>
    <p:sldId id="16140695" r:id="rId24"/>
    <p:sldId id="16774632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6" autoAdjust="0"/>
    <p:restoredTop sz="94660"/>
  </p:normalViewPr>
  <p:slideViewPr>
    <p:cSldViewPr snapToGrid="0">
      <p:cViewPr varScale="1">
        <p:scale>
          <a:sx n="59" d="100"/>
          <a:sy n="59" d="100"/>
        </p:scale>
        <p:origin x="83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slide" Target="slides/slide20.xml"/><Relationship Id="rId24" Type="http://schemas.openxmlformats.org/officeDocument/2006/relationships/slide" Target="slides/slide19.xml"/><Relationship Id="rId23" Type="http://schemas.openxmlformats.org/officeDocument/2006/relationships/slide" Target="slides/slide18.xml"/><Relationship Id="rId22" Type="http://schemas.openxmlformats.org/officeDocument/2006/relationships/slide" Target="slides/slide17.xml"/><Relationship Id="rId21" Type="http://schemas.openxmlformats.org/officeDocument/2006/relationships/slide" Target="slides/slide16.xml"/><Relationship Id="rId20" Type="http://schemas.openxmlformats.org/officeDocument/2006/relationships/slide" Target="slides/slide15.xml"/><Relationship Id="rId2" Type="http://schemas.openxmlformats.org/officeDocument/2006/relationships/theme" Target="theme/theme1.xml"/><Relationship Id="rId19" Type="http://schemas.openxmlformats.org/officeDocument/2006/relationships/slide" Target="slides/slide14.xml"/><Relationship Id="rId18" Type="http://schemas.openxmlformats.org/officeDocument/2006/relationships/slide" Target="slides/slide13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8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9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7501413227812"/>
          <c:y val="0.139152435167615"/>
          <c:w val="0.644997173544375"/>
          <c:h val="0.721695129664769"/>
        </c:manualLayout>
      </c:layout>
      <c:doughnutChart>
        <c:varyColors val="0"/>
        <c:ser>
          <c:idx val="0"/>
          <c:order val="0"/>
          <c:explosion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rgbClr val="EAAB00"/>
              </a:solidFill>
              <a:ln>
                <a:noFill/>
              </a:ln>
            </c:spPr>
          </c:dPt>
          <c:dPt>
            <c:idx val="2"/>
            <c:bubble3D val="0"/>
            <c:spPr>
              <a:solidFill>
                <a:srgbClr val="4E86CB"/>
              </a:solidFill>
              <a:ln>
                <a:noFill/>
              </a:ln>
            </c:spPr>
          </c:dPt>
          <c:dPt>
            <c:idx val="3"/>
            <c:bubble3D val="0"/>
            <c:spPr>
              <a:solidFill>
                <a:srgbClr val="C9C9C9"/>
              </a:solidFill>
              <a:ln>
                <a:noFill/>
              </a:ln>
            </c:spPr>
          </c:dPt>
          <c:dPt>
            <c:idx val="4"/>
            <c:bubble3D val="0"/>
            <c:spPr>
              <a:solidFill>
                <a:srgbClr val="DBDBDB"/>
              </a:solidFill>
              <a:ln>
                <a:noFill/>
              </a:ln>
            </c:spPr>
          </c:dPt>
          <c:dPt>
            <c:idx val="5"/>
            <c:bubble3D val="0"/>
            <c:spPr>
              <a:solidFill>
                <a:srgbClr val="345884"/>
              </a:solidFill>
              <a:ln>
                <a:noFill/>
              </a:ln>
            </c:spPr>
          </c:dPt>
          <c:dPt>
            <c:idx val="6"/>
            <c:bubble3D val="0"/>
            <c:spPr>
              <a:solidFill>
                <a:srgbClr val="9DB1CF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0.00508762012436405"/>
                  <c:y val="-0.010120177103099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0508762012436405"/>
                  <c:y val="0.0018975332068311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rgbClr val="000000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</c:dLbl>
            <c:dLbl>
              <c:idx val="3"/>
              <c:layout>
                <c:manualLayout>
                  <c:x val="-0.00452232899943471"/>
                  <c:y val="0.011385199240986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rgbClr val="000000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0192198982475975"/>
                  <c:y val="0.0025300442757748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rgbClr val="000000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113058224985868"/>
                  <c:y val="-0.00442757748260595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0508762012436405"/>
                  <c:y val="-0.011385199240986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rgbClr val="000000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  <c15:showLeaderLines val="1"/>
                <c15:leaderLines/>
              </c:ext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14.2063432157742</c:v>
                </c:pt>
                <c:pt idx="1">
                  <c:v>22.858257336844</c:v>
                </c:pt>
                <c:pt idx="2">
                  <c:v>7.32518318113</c:v>
                </c:pt>
                <c:pt idx="3">
                  <c:v>26.714702041884</c:v>
                </c:pt>
                <c:pt idx="4">
                  <c:v>6.6799569837699</c:v>
                </c:pt>
                <c:pt idx="5">
                  <c:v>8.94324466535557</c:v>
                </c:pt>
                <c:pt idx="6">
                  <c:v>13.27231257524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  <c:extLst>
      <c:ext uri="{0b15fc19-7d7d-44ad-8c2d-2c3a37ce22c3}">
        <chartProps xmlns="https://web.wps.cn/et/2018/main" chartId="{0667a508-3bc8-45dd-bd5d-43245014938e}"/>
      </c:ext>
    </c:extLst>
  </c:chart>
  <c:txPr>
    <a:bodyPr/>
    <a:lstStyle/>
    <a:p>
      <a:pPr>
        <a:defRPr lang="en-US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70491803278689"/>
          <c:y val="0.0556745182012848"/>
          <c:w val="0.965901639344262"/>
          <c:h val="0.888650963597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2E64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1:$K$1</c:f>
              <c:numCache>
                <c:formatCode>General</c:formatCode>
                <c:ptCount val="11"/>
                <c:pt idx="0">
                  <c:v>869017875.1</c:v>
                </c:pt>
                <c:pt idx="1">
                  <c:v>1107041794.67</c:v>
                </c:pt>
                <c:pt idx="2">
                  <c:v>1262027642.73</c:v>
                </c:pt>
                <c:pt idx="3">
                  <c:v>1445021651.11</c:v>
                </c:pt>
                <c:pt idx="4">
                  <c:v>1680560180.25</c:v>
                </c:pt>
                <c:pt idx="5">
                  <c:v>1927712680.21</c:v>
                </c:pt>
                <c:pt idx="6">
                  <c:v>2011476831.9</c:v>
                </c:pt>
                <c:pt idx="7">
                  <c:v>2587764938.2</c:v>
                </c:pt>
                <c:pt idx="8">
                  <c:v>3259807494.01</c:v>
                </c:pt>
                <c:pt idx="9">
                  <c:v>4195372242.79</c:v>
                </c:pt>
                <c:pt idx="10">
                  <c:v>5168698603.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34711"/>
        <c:axId val="1"/>
      </c:barChart>
      <c:catAx>
        <c:axId val="11434711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</c:spPr>
        </c:majorGridlines>
        <c:majorTickMark val="none"/>
        <c:minorTickMark val="none"/>
        <c:tickLblPos val="none"/>
        <c:spPr>
          <a:ln w="9525" cap="flat" cmpd="sng" algn="ctr">
            <a:solidFill>
              <a:srgbClr val="A5A5A5"/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0000000"/>
          <c:min val="0"/>
        </c:scaling>
        <c:delete val="0"/>
        <c:axPos val="l"/>
        <c:majorGridlines>
          <c:spPr>
            <a:ln w="9525" cap="flat" cmpd="sng" algn="ctr">
              <a:noFill/>
              <a:prstDash val="solid"/>
              <a:round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ap="flat" cmpd="sng" algn="ctr">
            <a:solidFill>
              <a:srgbClr val="A5A5A5"/>
            </a:solidFill>
            <a:prstDash val="solid"/>
            <a:round/>
          </a:ln>
        </c:spPr>
        <c:txPr>
          <a:bodyPr rot="-60000000" spcFirstLastPara="0" vertOverflow="ellipsis" vert="horz" wrap="none" anchor="ctr" anchorCtr="1"/>
          <a:lstStyle/>
          <a:p>
            <a:pPr>
              <a:defRPr lang="en-US" sz="1200" b="0" i="0" u="none" strike="noStrike" kern="1200" baseline="0">
                <a:solidFill>
                  <a:schemeClr val="tx1"/>
                </a:solidFill>
                <a:latin typeface="+mn-lt"/>
                <a:ea typeface="Calibri" panose="020F0502020204030204"/>
                <a:cs typeface="Calibri" panose="020F0502020204030204"/>
              </a:defRPr>
            </a:pPr>
          </a:p>
        </c:txPr>
        <c:crossAx val="11434711"/>
        <c:crosses val="min"/>
        <c:crossBetween val="between"/>
        <c:majorUnit val="2000000000"/>
      </c:valAx>
    </c:plotArea>
    <c:plotVisOnly val="0"/>
    <c:dispBlanksAs val="gap"/>
    <c:showDLblsOverMax val="1"/>
    <c:extLst>
      <c:ext uri="{0b15fc19-7d7d-44ad-8c2d-2c3a37ce22c3}">
        <chartProps xmlns="https://web.wps.cn/et/2018/main" chartId="{7aec1cc0-851e-4e94-b0ef-2870571382fb}"/>
      </c:ext>
    </c:extLst>
  </c:chart>
  <c:txPr>
    <a:bodyPr/>
    <a:lstStyle/>
    <a:p>
      <a:pPr>
        <a:defRPr lang="en-US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245979186376537"/>
          <c:y val="0.0567066521264995"/>
          <c:w val="0.950804162724692"/>
          <c:h val="0.88658669574700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2E64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1:$C$1</c:f>
              <c:numCache>
                <c:formatCode>General</c:formatCode>
                <c:ptCount val="3"/>
                <c:pt idx="0">
                  <c:v>893846389.89</c:v>
                </c:pt>
                <c:pt idx="1">
                  <c:v>1127737577.58</c:v>
                </c:pt>
                <c:pt idx="2">
                  <c:v>1380802431.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272016"/>
        <c:axId val="1"/>
      </c:barChart>
      <c:catAx>
        <c:axId val="78272016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</c:spPr>
        </c:majorGridlines>
        <c:majorTickMark val="none"/>
        <c:minorTickMark val="none"/>
        <c:tickLblPos val="none"/>
        <c:spPr>
          <a:ln w="9525" cap="flat" cmpd="sng" algn="ctr">
            <a:solidFill>
              <a:srgbClr val="A5A5A5"/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80802431.2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78272016"/>
        <c:crosses val="min"/>
        <c:crossBetween val="between"/>
      </c:valAx>
    </c:plotArea>
    <c:plotVisOnly val="0"/>
    <c:dispBlanksAs val="gap"/>
    <c:showDLblsOverMax val="1"/>
    <c:extLst>
      <c:ext uri="{0b15fc19-7d7d-44ad-8c2d-2c3a37ce22c3}">
        <chartProps xmlns="https://web.wps.cn/et/2018/main" chartId="{5b17a73f-5206-49e8-9ab5-b2cb3c3fa862}"/>
      </c:ext>
    </c:extLst>
  </c:chart>
  <c:txPr>
    <a:bodyPr/>
    <a:lstStyle/>
    <a:p>
      <a:pPr>
        <a:defRPr lang="en-US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236856981345"/>
          <c:y val="0.130952380952381"/>
          <c:w val="0.70096099491238"/>
          <c:h val="0.738095238095238"/>
        </c:manualLayout>
      </c:layout>
      <c:doughnutChart>
        <c:varyColors val="0"/>
        <c:ser>
          <c:idx val="0"/>
          <c:order val="0"/>
          <c:explosion val="0"/>
          <c:dPt>
            <c:idx val="0"/>
            <c:bubble3D val="0"/>
            <c:spPr>
              <a:solidFill>
                <a:srgbClr val="AFD2FD"/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rgbClr val="002060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0.00621820237422272"/>
                  <c:y val="-0.0041666666666666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rgbClr val="000000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0565291124929339"/>
                  <c:y val="0.0071428571428571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  <c15:showLeaderLines val="1"/>
                <c15:leaderLines/>
              </c:ext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26.7</c:v>
                </c:pt>
                <c:pt idx="1">
                  <c:v>73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  <c:extLst>
      <c:ext uri="{0b15fc19-7d7d-44ad-8c2d-2c3a37ce22c3}">
        <chartProps xmlns="https://web.wps.cn/et/2018/main" chartId="{d116fb37-bcd6-4762-861e-ddc857386de4}"/>
      </c:ext>
    </c:extLst>
  </c:chart>
  <c:txPr>
    <a:bodyPr/>
    <a:lstStyle/>
    <a:p>
      <a:pPr>
        <a:defRPr lang="en-US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232974910394265"/>
          <c:y val="0.0480147737765466"/>
          <c:w val="0.953405017921147"/>
          <c:h val="0.9039704524469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2E64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1:$C$1</c:f>
              <c:numCache>
                <c:formatCode>General</c:formatCode>
                <c:ptCount val="3"/>
                <c:pt idx="0">
                  <c:v>30907048000</c:v>
                </c:pt>
                <c:pt idx="1">
                  <c:v>64970150000</c:v>
                </c:pt>
                <c:pt idx="2">
                  <c:v>11994630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3031296"/>
        <c:axId val="1"/>
      </c:barChart>
      <c:catAx>
        <c:axId val="123031296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</c:spPr>
        </c:majorGridlines>
        <c:majorTickMark val="none"/>
        <c:minorTickMark val="none"/>
        <c:tickLblPos val="none"/>
        <c:spPr>
          <a:ln w="9525" cap="flat" cmpd="sng" algn="ctr">
            <a:solidFill>
              <a:srgbClr val="A5A5A5"/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99463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23031296"/>
        <c:crosses val="min"/>
        <c:crossBetween val="between"/>
      </c:valAx>
    </c:plotArea>
    <c:plotVisOnly val="0"/>
    <c:dispBlanksAs val="gap"/>
    <c:showDLblsOverMax val="1"/>
    <c:extLst>
      <c:ext uri="{0b15fc19-7d7d-44ad-8c2d-2c3a37ce22c3}">
        <chartProps xmlns="https://web.wps.cn/et/2018/main" chartId="{d2b14c47-2ac0-4a24-9535-3b0d9b044191}"/>
      </c:ext>
    </c:extLst>
  </c:chart>
  <c:txPr>
    <a:bodyPr/>
    <a:lstStyle/>
    <a:p>
      <a:pPr>
        <a:defRPr lang="en-US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219039595619208"/>
          <c:y val="0.0547945205479452"/>
          <c:w val="0.956192080876158"/>
          <c:h val="0.890410958904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2E64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1:$C$1</c:f>
              <c:numCache>
                <c:formatCode>General</c:formatCode>
                <c:ptCount val="3"/>
                <c:pt idx="0">
                  <c:v>761895999.32</c:v>
                </c:pt>
                <c:pt idx="1">
                  <c:v>977075892</c:v>
                </c:pt>
                <c:pt idx="2">
                  <c:v>1181474427.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3027456"/>
        <c:axId val="1"/>
      </c:barChart>
      <c:catAx>
        <c:axId val="123027456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</c:spPr>
        </c:majorGridlines>
        <c:majorTickMark val="none"/>
        <c:minorTickMark val="none"/>
        <c:tickLblPos val="none"/>
        <c:spPr>
          <a:ln w="9525" cap="flat" cmpd="sng" algn="ctr">
            <a:solidFill>
              <a:srgbClr val="A5A5A5"/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81474427.6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23027456"/>
        <c:crosses val="min"/>
        <c:crossBetween val="between"/>
      </c:valAx>
    </c:plotArea>
    <c:plotVisOnly val="0"/>
    <c:dispBlanksAs val="gap"/>
    <c:showDLblsOverMax val="1"/>
    <c:extLst>
      <c:ext uri="{0b15fc19-7d7d-44ad-8c2d-2c3a37ce22c3}">
        <chartProps xmlns="https://web.wps.cn/et/2018/main" chartId="{ec7260d1-6ff2-4da7-958b-9b67bf4a6cc0}"/>
      </c:ext>
    </c:extLst>
  </c:chart>
  <c:txPr>
    <a:bodyPr/>
    <a:lstStyle/>
    <a:p>
      <a:pPr>
        <a:defRPr lang="en-US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236856981345"/>
          <c:y val="0.130952380952381"/>
          <c:w val="0.70096099491238"/>
          <c:h val="0.738095238095238"/>
        </c:manualLayout>
      </c:layout>
      <c:doughnutChart>
        <c:varyColors val="0"/>
        <c:ser>
          <c:idx val="0"/>
          <c:order val="0"/>
          <c:explosion val="0"/>
          <c:dPt>
            <c:idx val="0"/>
            <c:bubble3D val="0"/>
            <c:spPr>
              <a:solidFill>
                <a:srgbClr val="AFD2FD"/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rgbClr val="002060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0.0073487846240814"/>
                  <c:y val="-0.00654761904761905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rgbClr val="000000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0678349349915206"/>
                  <c:y val="0.0095238095238095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  <c15:showLeaderLines val="1"/>
                <c15:leaderLines/>
              </c:ext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22.9</c:v>
                </c:pt>
                <c:pt idx="1">
                  <c:v>77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  <c:extLst>
      <c:ext uri="{0b15fc19-7d7d-44ad-8c2d-2c3a37ce22c3}">
        <chartProps xmlns="https://web.wps.cn/et/2018/main" chartId="{c44b7774-f9be-48e3-b0dc-0ce1e951b05b}"/>
      </c:ext>
    </c:extLst>
  </c:chart>
  <c:txPr>
    <a:bodyPr/>
    <a:lstStyle/>
    <a:p>
      <a:pPr>
        <a:defRPr lang="en-US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205533596837945"/>
          <c:y val="0.0472727272727273"/>
          <c:w val="0.958893280632411"/>
          <c:h val="0.90545454545454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2E64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1:$C$1</c:f>
              <c:numCache>
                <c:formatCode>General</c:formatCode>
                <c:ptCount val="3"/>
                <c:pt idx="0">
                  <c:v>476771571.4</c:v>
                </c:pt>
                <c:pt idx="1">
                  <c:v>607750636.51</c:v>
                </c:pt>
                <c:pt idx="2">
                  <c:v>734283063.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796208"/>
        <c:axId val="1"/>
      </c:barChart>
      <c:catAx>
        <c:axId val="44796208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</c:spPr>
        </c:majorGridlines>
        <c:majorTickMark val="none"/>
        <c:minorTickMark val="none"/>
        <c:tickLblPos val="none"/>
        <c:spPr>
          <a:ln w="9525" cap="flat" cmpd="sng" algn="ctr">
            <a:solidFill>
              <a:srgbClr val="A5A5A5"/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4283063.3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44796208"/>
        <c:crosses val="min"/>
        <c:crossBetween val="between"/>
      </c:valAx>
    </c:plotArea>
    <c:plotVisOnly val="0"/>
    <c:dispBlanksAs val="gap"/>
    <c:showDLblsOverMax val="1"/>
    <c:extLst>
      <c:ext uri="{0b15fc19-7d7d-44ad-8c2d-2c3a37ce22c3}">
        <chartProps xmlns="https://web.wps.cn/et/2018/main" chartId="{82e9cd95-85db-443b-8fcf-3dff0b56a70a}"/>
      </c:ext>
    </c:extLst>
  </c:chart>
  <c:txPr>
    <a:bodyPr/>
    <a:lstStyle/>
    <a:p>
      <a:pPr>
        <a:defRPr lang="en-US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236856981345"/>
          <c:y val="0.130952380952381"/>
          <c:w val="0.70096099491238"/>
          <c:h val="0.738095238095238"/>
        </c:manualLayout>
      </c:layout>
      <c:doughnutChart>
        <c:varyColors val="0"/>
        <c:ser>
          <c:idx val="0"/>
          <c:order val="0"/>
          <c:explosion val="0"/>
          <c:dPt>
            <c:idx val="0"/>
            <c:bubble3D val="0"/>
            <c:spPr>
              <a:solidFill>
                <a:srgbClr val="AFD2FD"/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rgbClr val="002060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0.00791407574901074"/>
                  <c:y val="-0.0160714285714286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rgbClr val="000000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073487846240814"/>
                  <c:y val="0.019047619047619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en-US"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Calibri" panose="020F0502020204030204"/>
                      <a:cs typeface="Calibri" panose="020F0502020204030204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  <c15:showLeaderLines val="1"/>
                <c15:leaderLines/>
              </c:ext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14.2</c:v>
                </c:pt>
                <c:pt idx="1">
                  <c:v>85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  <c:extLst>
      <c:ext uri="{0b15fc19-7d7d-44ad-8c2d-2c3a37ce22c3}">
        <chartProps xmlns="https://web.wps.cn/et/2018/main" chartId="{b431f6f6-5231-4c4d-98ca-cbdc67dedc6c}"/>
      </c:ext>
    </c:extLst>
  </c:chart>
  <c:txPr>
    <a:bodyPr/>
    <a:lstStyle/>
    <a:p>
      <a:pPr>
        <a:defRPr lang="en-US"/>
      </a:pPr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AADCE2-F0CE-4137-BEF9-C19C994B38C6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C5B17E-90DC-4C38-B2A0-72364DB8E110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DDF97B2-C65C-4825-9CF8-B970EBFC10E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891EA93-0CF3-4428-B580-A49DF4ED91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2438D7C-DACA-4313-91E5-7AC616145B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3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4.v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14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5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Relationship Id="rId3" Type="http://schemas.openxmlformats.org/officeDocument/2006/relationships/oleObject" Target="../embeddings/oleObject15.bin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6.v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16.bin"/><Relationship Id="rId2" Type="http://schemas.openxmlformats.org/officeDocument/2006/relationships/tags" Target="../tags/tag17.xml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7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17.bin"/><Relationship Id="rId2" Type="http://schemas.openxmlformats.org/officeDocument/2006/relationships/tags" Target="../tags/tag18.xml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8.v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18.bin"/><Relationship Id="rId2" Type="http://schemas.openxmlformats.org/officeDocument/2006/relationships/tags" Target="../tags/tag19.xml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9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19.bin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image" Target="../media/image3.jpeg"/><Relationship Id="rId5" Type="http://schemas.openxmlformats.org/officeDocument/2006/relationships/tags" Target="../tags/tag3.x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0" Type="http://schemas.openxmlformats.org/officeDocument/2006/relationships/vmlDrawing" Target="../drawings/vmlDrawing2.vml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20.bin"/><Relationship Id="rId2" Type="http://schemas.openxmlformats.org/officeDocument/2006/relationships/tags" Target="../tags/tag21.xml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1.vml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21.bin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2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22.bin"/><Relationship Id="rId2" Type="http://schemas.openxmlformats.org/officeDocument/2006/relationships/tags" Target="../tags/tag23.xml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23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6.png"/><Relationship Id="rId4" Type="http://schemas.openxmlformats.org/officeDocument/2006/relationships/image" Target="../media/image14.emf"/><Relationship Id="rId3" Type="http://schemas.openxmlformats.org/officeDocument/2006/relationships/oleObject" Target="../embeddings/oleObject23.bin"/><Relationship Id="rId2" Type="http://schemas.openxmlformats.org/officeDocument/2006/relationships/tags" Target="../tags/tag24.xml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24.vml"/><Relationship Id="rId8" Type="http://schemas.openxmlformats.org/officeDocument/2006/relationships/image" Target="../media/image17.jpeg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24.bin"/><Relationship Id="rId2" Type="http://schemas.openxmlformats.org/officeDocument/2006/relationships/tags" Target="../tags/tag25.xml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5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25.bin"/><Relationship Id="rId2" Type="http://schemas.openxmlformats.org/officeDocument/2006/relationships/tags" Target="../tags/tag26.xml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26.bin"/><Relationship Id="rId2" Type="http://schemas.openxmlformats.org/officeDocument/2006/relationships/tags" Target="../tags/tag27.xm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7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27.bin"/><Relationship Id="rId2" Type="http://schemas.openxmlformats.org/officeDocument/2006/relationships/tags" Target="../tags/tag28.xml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8.vml"/><Relationship Id="rId6" Type="http://schemas.openxmlformats.org/officeDocument/2006/relationships/image" Target="../media/image17.jpeg"/><Relationship Id="rId5" Type="http://schemas.openxmlformats.org/officeDocument/2006/relationships/image" Target="../media/image18.png"/><Relationship Id="rId4" Type="http://schemas.openxmlformats.org/officeDocument/2006/relationships/image" Target="../media/image6.emf"/><Relationship Id="rId3" Type="http://schemas.openxmlformats.org/officeDocument/2006/relationships/oleObject" Target="../embeddings/oleObject28.bin"/><Relationship Id="rId2" Type="http://schemas.openxmlformats.org/officeDocument/2006/relationships/tags" Target="../tags/tag29.xml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9.vml"/><Relationship Id="rId4" Type="http://schemas.openxmlformats.org/officeDocument/2006/relationships/image" Target="../media/image7.emf"/><Relationship Id="rId3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9" Type="http://schemas.openxmlformats.org/officeDocument/2006/relationships/image" Target="../media/image1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image" Target="../media/image3.jpeg"/><Relationship Id="rId5" Type="http://schemas.openxmlformats.org/officeDocument/2006/relationships/tags" Target="../tags/tag32.x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30.bin"/><Relationship Id="rId2" Type="http://schemas.openxmlformats.org/officeDocument/2006/relationships/tags" Target="../tags/tag31.xml"/><Relationship Id="rId10" Type="http://schemas.openxmlformats.org/officeDocument/2006/relationships/vmlDrawing" Target="../drawings/vmlDrawing30.vml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1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1.bin"/><Relationship Id="rId2" Type="http://schemas.openxmlformats.org/officeDocument/2006/relationships/tags" Target="../tags/tag33.xml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2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2.bin"/><Relationship Id="rId2" Type="http://schemas.openxmlformats.org/officeDocument/2006/relationships/tags" Target="../tags/tag34.xml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3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3.bin"/><Relationship Id="rId2" Type="http://schemas.openxmlformats.org/officeDocument/2006/relationships/tags" Target="../tags/tag35.xml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4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4.bin"/><Relationship Id="rId2" Type="http://schemas.openxmlformats.org/officeDocument/2006/relationships/tags" Target="../tags/tag36.xml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5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5.bin"/><Relationship Id="rId2" Type="http://schemas.openxmlformats.org/officeDocument/2006/relationships/tags" Target="../tags/tag37.xml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36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6.bin"/><Relationship Id="rId2" Type="http://schemas.openxmlformats.org/officeDocument/2006/relationships/tags" Target="../tags/tag38.xml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37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7.bin"/><Relationship Id="rId2" Type="http://schemas.openxmlformats.org/officeDocument/2006/relationships/tags" Target="../tags/tag39.xml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38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8.bin"/><Relationship Id="rId2" Type="http://schemas.openxmlformats.org/officeDocument/2006/relationships/tags" Target="../tags/tag40.xml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9.v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39.bin"/><Relationship Id="rId2" Type="http://schemas.openxmlformats.org/officeDocument/2006/relationships/tags" Target="../tags/tag41.xml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0.v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0.bin"/><Relationship Id="rId2" Type="http://schemas.openxmlformats.org/officeDocument/2006/relationships/tags" Target="../tags/tag42.xml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1.v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1.bin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42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14.emf"/><Relationship Id="rId3" Type="http://schemas.openxmlformats.org/officeDocument/2006/relationships/oleObject" Target="../embeddings/oleObject42.bin"/><Relationship Id="rId2" Type="http://schemas.openxmlformats.org/officeDocument/2006/relationships/tags" Target="../tags/tag44.xml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3.v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3.bin"/><Relationship Id="rId2" Type="http://schemas.openxmlformats.org/officeDocument/2006/relationships/tags" Target="../tags/tag45.xml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44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5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5.v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5.bin"/><Relationship Id="rId2" Type="http://schemas.openxmlformats.org/officeDocument/2006/relationships/tags" Target="../tags/tag47.xml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46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7.v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7.bin"/><Relationship Id="rId2" Type="http://schemas.openxmlformats.org/officeDocument/2006/relationships/tags" Target="../tags/tag49.xml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48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9.v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49.bin"/><Relationship Id="rId2" Type="http://schemas.openxmlformats.org/officeDocument/2006/relationships/tags" Target="../tags/tag51.xml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5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0.vml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1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51.bin"/><Relationship Id="rId2" Type="http://schemas.openxmlformats.org/officeDocument/2006/relationships/tags" Target="../tags/tag53.xml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52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6.png"/><Relationship Id="rId4" Type="http://schemas.openxmlformats.org/officeDocument/2006/relationships/image" Target="../media/image6.emf"/><Relationship Id="rId3" Type="http://schemas.openxmlformats.org/officeDocument/2006/relationships/oleObject" Target="../embeddings/oleObject52.bin"/><Relationship Id="rId2" Type="http://schemas.openxmlformats.org/officeDocument/2006/relationships/tags" Target="../tags/tag54.xml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53.vml"/><Relationship Id="rId8" Type="http://schemas.openxmlformats.org/officeDocument/2006/relationships/image" Target="../media/image17.jpeg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53.bin"/><Relationship Id="rId2" Type="http://schemas.openxmlformats.org/officeDocument/2006/relationships/tags" Target="../tags/tag55.xml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54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54.bin"/><Relationship Id="rId2" Type="http://schemas.openxmlformats.org/officeDocument/2006/relationships/tags" Target="../tags/tag56.xml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5.vml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55.bin"/><Relationship Id="rId2" Type="http://schemas.openxmlformats.org/officeDocument/2006/relationships/tags" Target="../tags/tag57.xml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6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56.bin"/><Relationship Id="rId2" Type="http://schemas.openxmlformats.org/officeDocument/2006/relationships/tags" Target="../tags/tag58.xml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7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57.bin"/><Relationship Id="rId2" Type="http://schemas.openxmlformats.org/officeDocument/2006/relationships/tags" Target="../tags/tag59.xml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8.vml"/><Relationship Id="rId6" Type="http://schemas.openxmlformats.org/officeDocument/2006/relationships/image" Target="../media/image17.jpeg"/><Relationship Id="rId5" Type="http://schemas.openxmlformats.org/officeDocument/2006/relationships/image" Target="../media/image18.png"/><Relationship Id="rId4" Type="http://schemas.openxmlformats.org/officeDocument/2006/relationships/image" Target="../media/image6.emf"/><Relationship Id="rId3" Type="http://schemas.openxmlformats.org/officeDocument/2006/relationships/oleObject" Target="../embeddings/oleObject58.bin"/><Relationship Id="rId2" Type="http://schemas.openxmlformats.org/officeDocument/2006/relationships/tags" Target="../tags/tag60.xml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9.vml"/><Relationship Id="rId4" Type="http://schemas.openxmlformats.org/officeDocument/2006/relationships/image" Target="../media/image7.emf"/><Relationship Id="rId3" Type="http://schemas.openxmlformats.org/officeDocument/2006/relationships/oleObject" Target="../embeddings/oleObject59.bin"/><Relationship Id="rId2" Type="http://schemas.openxmlformats.org/officeDocument/2006/relationships/tags" Target="../tags/tag61.xml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6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60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tags" Target="../tags/tag63.xml"/><Relationship Id="rId4" Type="http://schemas.openxmlformats.org/officeDocument/2006/relationships/image" Target="../media/image19.emf"/><Relationship Id="rId3" Type="http://schemas.openxmlformats.org/officeDocument/2006/relationships/oleObject" Target="../embeddings/oleObject60.bin"/><Relationship Id="rId2" Type="http://schemas.openxmlformats.org/officeDocument/2006/relationships/tags" Target="../tags/tag62.xml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1.vml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9.emf"/><Relationship Id="rId3" Type="http://schemas.openxmlformats.org/officeDocument/2006/relationships/oleObject" Target="../embeddings/oleObject61.bin"/><Relationship Id="rId2" Type="http://schemas.openxmlformats.org/officeDocument/2006/relationships/tags" Target="../tags/tag64.xml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2.vml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9.emf"/><Relationship Id="rId3" Type="http://schemas.openxmlformats.org/officeDocument/2006/relationships/oleObject" Target="../embeddings/oleObject62.bin"/><Relationship Id="rId2" Type="http://schemas.openxmlformats.org/officeDocument/2006/relationships/tags" Target="../tags/tag65.xml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3.v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19.emf"/><Relationship Id="rId3" Type="http://schemas.openxmlformats.org/officeDocument/2006/relationships/oleObject" Target="../embeddings/oleObject63.bin"/><Relationship Id="rId2" Type="http://schemas.openxmlformats.org/officeDocument/2006/relationships/tags" Target="../tags/tag66.xml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4.vml"/><Relationship Id="rId6" Type="http://schemas.openxmlformats.org/officeDocument/2006/relationships/image" Target="../media/image8.png"/><Relationship Id="rId5" Type="http://schemas.openxmlformats.org/officeDocument/2006/relationships/tags" Target="../tags/tag68.xml"/><Relationship Id="rId4" Type="http://schemas.openxmlformats.org/officeDocument/2006/relationships/image" Target="../media/image19.emf"/><Relationship Id="rId3" Type="http://schemas.openxmlformats.org/officeDocument/2006/relationships/oleObject" Target="../embeddings/oleObject64.bin"/><Relationship Id="rId2" Type="http://schemas.openxmlformats.org/officeDocument/2006/relationships/tags" Target="../tags/tag67.xml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65.vml"/><Relationship Id="rId5" Type="http://schemas.openxmlformats.org/officeDocument/2006/relationships/image" Target="../media/image8.png"/><Relationship Id="rId4" Type="http://schemas.openxmlformats.org/officeDocument/2006/relationships/image" Target="../media/image19.emf"/><Relationship Id="rId3" Type="http://schemas.openxmlformats.org/officeDocument/2006/relationships/oleObject" Target="../embeddings/oleObject65.bin"/><Relationship Id="rId2" Type="http://schemas.openxmlformats.org/officeDocument/2006/relationships/tags" Target="../tags/tag69.xml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66.vml"/><Relationship Id="rId5" Type="http://schemas.openxmlformats.org/officeDocument/2006/relationships/image" Target="../media/image8.png"/><Relationship Id="rId4" Type="http://schemas.openxmlformats.org/officeDocument/2006/relationships/image" Target="../media/image19.emf"/><Relationship Id="rId3" Type="http://schemas.openxmlformats.org/officeDocument/2006/relationships/oleObject" Target="../embeddings/oleObject66.bin"/><Relationship Id="rId2" Type="http://schemas.openxmlformats.org/officeDocument/2006/relationships/tags" Target="../tags/tag70.xml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7.v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19.emf"/><Relationship Id="rId3" Type="http://schemas.openxmlformats.org/officeDocument/2006/relationships/oleObject" Target="../embeddings/oleObject67.bin"/><Relationship Id="rId2" Type="http://schemas.openxmlformats.org/officeDocument/2006/relationships/tags" Target="../tags/tag71.xml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68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19.emf"/><Relationship Id="rId3" Type="http://schemas.openxmlformats.org/officeDocument/2006/relationships/oleObject" Target="../embeddings/oleObject68.bin"/><Relationship Id="rId2" Type="http://schemas.openxmlformats.org/officeDocument/2006/relationships/tags" Target="../tags/tag72.xml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69.vml"/><Relationship Id="rId5" Type="http://schemas.openxmlformats.org/officeDocument/2006/relationships/image" Target="../media/image8.png"/><Relationship Id="rId4" Type="http://schemas.openxmlformats.org/officeDocument/2006/relationships/image" Target="../media/image20.emf"/><Relationship Id="rId3" Type="http://schemas.openxmlformats.org/officeDocument/2006/relationships/oleObject" Target="../embeddings/oleObject69.bin"/><Relationship Id="rId2" Type="http://schemas.openxmlformats.org/officeDocument/2006/relationships/tags" Target="../tags/tag73.xml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7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70.vml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70.bin"/><Relationship Id="rId2" Type="http://schemas.openxmlformats.org/officeDocument/2006/relationships/tags" Target="../tags/tag74.xml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71.vml"/><Relationship Id="rId4" Type="http://schemas.openxmlformats.org/officeDocument/2006/relationships/image" Target="../media/image20.emf"/><Relationship Id="rId3" Type="http://schemas.openxmlformats.org/officeDocument/2006/relationships/oleObject" Target="../embeddings/oleObject71.bin"/><Relationship Id="rId2" Type="http://schemas.openxmlformats.org/officeDocument/2006/relationships/tags" Target="../tags/tag75.xml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73.vml"/><Relationship Id="rId4" Type="http://schemas.openxmlformats.org/officeDocument/2006/relationships/image" Target="../media/image21.emf"/><Relationship Id="rId3" Type="http://schemas.openxmlformats.org/officeDocument/2006/relationships/oleObject" Target="../embeddings/oleObject73.bin"/><Relationship Id="rId2" Type="http://schemas.openxmlformats.org/officeDocument/2006/relationships/tags" Target="../tags/tag77.xml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8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8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9.vml"/><Relationship Id="rId8" Type="http://schemas.microsoft.com/office/2007/relationships/hdphoto" Target="../media/image10.wdp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9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45280" y="3441494"/>
            <a:ext cx="6690582" cy="812454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rgbClr val="EAAB00"/>
                </a:solidFill>
                <a:latin typeface="Frutiger LT 65 Bold" panose="020B08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145282" y="4386263"/>
            <a:ext cx="6668770" cy="7556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002F5F"/>
                </a:solidFill>
                <a:latin typeface="Frutiger LT 45 Light" panose="020B0403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ZA"/>
          </a:p>
        </p:txBody>
      </p:sp>
      <p:sp>
        <p:nvSpPr>
          <p:cNvPr id="16" name="Parallelogram 15"/>
          <p:cNvSpPr/>
          <p:nvPr/>
        </p:nvSpPr>
        <p:spPr>
          <a:xfrm>
            <a:off x="1215189" y="5849377"/>
            <a:ext cx="797239" cy="627975"/>
          </a:xfrm>
          <a:prstGeom prst="parallelogram">
            <a:avLst>
              <a:gd name="adj" fmla="val 20179"/>
            </a:avLst>
          </a:prstGeom>
          <a:solidFill>
            <a:srgbClr val="002F5F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396" y="6163364"/>
            <a:ext cx="1957582" cy="39568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reen one third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777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pic>
        <p:nvPicPr>
          <p:cNvPr id="17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reen half">
    <p:bg bwMode="grayWhite"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7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788" y="1785600"/>
            <a:ext cx="4388400" cy="3286800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reen two third">
    <p:bg bwMode="grayWhite"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788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  <a:endParaRPr lang="en-US"/>
          </a:p>
        </p:txBody>
      </p:sp>
      <p:pic>
        <p:nvPicPr>
          <p:cNvPr id="17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Left arrow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77788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  <a:endParaRPr lang="en-US">
              <a:solidFill>
                <a:schemeClr val="tx2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4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14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reen left arrow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22E64"/>
              </a:gs>
              <a:gs pos="100000">
                <a:srgbClr val="00173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7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>
            <a:fillRect/>
          </a:stretch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rrow one third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795" imgH="10795" progId="TCLayout.ActiveDocument.1">
                  <p:embed/>
                </p:oleObj>
              </mc:Choice>
              <mc:Fallback>
                <p:oleObj name="think-cell Slide" r:id="rId3" imgW="10795" imgH="1079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77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8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18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reen arrow one third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22E64"/>
              </a:gs>
              <a:gs pos="100000">
                <a:srgbClr val="00173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77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>
            <a:fillRect/>
          </a:stretch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5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rrow half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5225858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9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19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reen arrow half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22E64"/>
              </a:gs>
              <a:gs pos="100000">
                <a:srgbClr val="00173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7789" y="95250"/>
            <a:ext cx="5225859" cy="906463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5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rrow two third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7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6809012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8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18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lowchart: Process 15"/>
          <p:cNvSpPr/>
          <p:nvPr userDrawn="1"/>
        </p:nvSpPr>
        <p:spPr>
          <a:xfrm>
            <a:off x="9266238" y="0"/>
            <a:ext cx="2968625" cy="6858000"/>
          </a:xfrm>
          <a:prstGeom prst="flowChartProcess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5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Parallelogram 16"/>
          <p:cNvSpPr/>
          <p:nvPr userDrawn="1"/>
        </p:nvSpPr>
        <p:spPr>
          <a:xfrm>
            <a:off x="2144713" y="0"/>
            <a:ext cx="8723312" cy="6872288"/>
          </a:xfrm>
          <a:prstGeom prst="parallelogram">
            <a:avLst>
              <a:gd name="adj" fmla="val 2017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5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9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5888" y="6378575"/>
            <a:ext cx="1131887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563" y="-1588"/>
            <a:ext cx="4117976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Parallelogram 23"/>
          <p:cNvSpPr/>
          <p:nvPr userDrawn="1"/>
        </p:nvSpPr>
        <p:spPr>
          <a:xfrm>
            <a:off x="1214438" y="5849938"/>
            <a:ext cx="798512" cy="627062"/>
          </a:xfrm>
          <a:prstGeom prst="parallelogram">
            <a:avLst>
              <a:gd name="adj" fmla="val 20179"/>
            </a:avLst>
          </a:prstGeom>
          <a:solidFill>
            <a:srgbClr val="002F5F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5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5" name="Picture 1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38" y="6097588"/>
            <a:ext cx="1957387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itle 1"/>
          <p:cNvSpPr>
            <a:spLocks noGrp="1"/>
          </p:cNvSpPr>
          <p:nvPr>
            <p:ph type="ctrTitle"/>
          </p:nvPr>
        </p:nvSpPr>
        <p:spPr>
          <a:xfrm>
            <a:off x="3224213" y="3441700"/>
            <a:ext cx="6523037" cy="812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noAutofit/>
          </a:bodyPr>
          <a:lstStyle>
            <a:lvl1pPr>
              <a:defRPr lang="en-US" sz="2800" b="0" dirty="0">
                <a:solidFill>
                  <a:srgbClr val="EAAB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fontAlgn="base">
              <a:spcAft>
                <a:spcPct val="0"/>
              </a:spcAft>
              <a:buClrTx/>
              <a:buSzTx/>
              <a:buFontTx/>
            </a:pPr>
            <a:endParaRPr lang="en-US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35325" y="4386263"/>
            <a:ext cx="65024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>
              <a:defRPr kumimoji="0" lang="en-ZA" sz="2400" b="1" i="0" u="none" strike="noStrike" cap="none" spc="0" normalizeH="0" baseline="0" dirty="0">
                <a:ln>
                  <a:noFill/>
                </a:ln>
                <a:solidFill>
                  <a:srgbClr val="002F5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</a:pPr>
            <a:r>
              <a:rPr lang="en-US"/>
              <a:t>Click to add text</a:t>
            </a:r>
            <a:endParaRPr lang="en-ZA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reen arrow two third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22E64"/>
              </a:gs>
              <a:gs pos="100000">
                <a:srgbClr val="001732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6809012" cy="906463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5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Big statement green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06375" y="3826333"/>
            <a:ext cx="11779250" cy="1606550"/>
          </a:xfrm>
        </p:spPr>
        <p:txBody>
          <a:bodyPr vert="horz" lIns="0" tIns="0" rIns="0" b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  <a:endParaRPr lang="en-US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2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2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206375" y="625475"/>
            <a:ext cx="932688" cy="932688"/>
          </a:xfrm>
          <a:prstGeom prst="rect">
            <a:avLst/>
          </a:prstGeom>
          <a:noFill/>
          <a:ln>
            <a:solidFill>
              <a:srgbClr val="022E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06375" y="3826333"/>
            <a:ext cx="11779250" cy="160655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  <a:endParaRPr lang="en-US"/>
          </a:p>
        </p:txBody>
      </p:sp>
      <p:pic>
        <p:nvPicPr>
          <p:cNvPr id="12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Quote">
    <p:bg>
      <p:bgPr>
        <a:solidFill>
          <a:srgbClr val="0017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795" imgH="10795" progId="TCLayout.ActiveDocument.1">
                  <p:embed/>
                </p:oleObj>
              </mc:Choice>
              <mc:Fallback>
                <p:oleObj name="think-cell Slide" r:id="rId3" imgW="10795" imgH="10795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>
            <a:fillRect/>
          </a:stretch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/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22E6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en-U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9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10355262" cy="906463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2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2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4" name="Straight Connector 13"/>
          <p:cNvCxnSpPr/>
          <p:nvPr userDrawn="1"/>
        </p:nvCxnSpPr>
        <p:spPr>
          <a:xfrm>
            <a:off x="19050" y="1047750"/>
            <a:ext cx="12095163" cy="0"/>
          </a:xfrm>
          <a:prstGeom prst="line">
            <a:avLst/>
          </a:prstGeom>
          <a:noFill/>
          <a:ln w="25400" cap="flat" cmpd="dbl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15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81788"/>
            <a:ext cx="121920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Blank green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8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021826" y="1630185"/>
            <a:ext cx="6963799" cy="3392129"/>
          </a:xfrm>
        </p:spPr>
        <p:txBody>
          <a:bodyPr anchor="ctr"/>
          <a:lstStyle>
            <a:lvl1pPr>
              <a:defRPr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1" name="Title 6"/>
          <p:cNvSpPr txBox="1"/>
          <p:nvPr userDrawn="1"/>
        </p:nvSpPr>
        <p:spPr>
          <a:xfrm>
            <a:off x="206375" y="2973076"/>
            <a:ext cx="3302186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isclaimer</a:t>
            </a:r>
            <a:endParaRPr lang="en-US" sz="5100" b="1">
              <a:solidFill>
                <a:srgbClr val="022E6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265193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4" b="1851"/>
          <a:stretch>
            <a:fillRect/>
          </a:stretch>
        </p:blipFill>
        <p:spPr bwMode="auto">
          <a:xfrm>
            <a:off x="0" y="0"/>
            <a:ext cx="12192000" cy="668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81788"/>
            <a:ext cx="121920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" name="Group 4"/>
            <p:cNvGrpSpPr/>
            <p:nvPr userDrawn="1"/>
          </p:nvGrpSpPr>
          <p:grpSpPr>
            <a:xfrm>
              <a:off x="-600" y="622800"/>
              <a:ext cx="12193200" cy="5339850"/>
              <a:chOff x="-600" y="622800"/>
              <a:chExt cx="12193200" cy="533985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885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1148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1411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1673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193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222431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251187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27994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30870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33745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366213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394970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42372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45248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-600" y="48123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-600" y="509996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-600" y="538752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-600" y="567509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-600" y="59626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339100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3" name="Slide edges"/>
            <p:cNvSpPr/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 userDrawn="1"/>
          </p:nvSpPr>
          <p:spPr bwMode="auto">
            <a:xfrm>
              <a:off x="206375" y="5962650"/>
              <a:ext cx="11779250" cy="589556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 userDrawn="1"/>
          </p:nvSpPr>
          <p:spPr bwMode="auto">
            <a:xfrm>
              <a:off x="206375" y="1411170"/>
              <a:ext cx="11779250" cy="52558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206375" y="5883114"/>
              <a:ext cx="1177925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9" name="Live area"/>
            <p:cNvSpPr/>
            <p:nvPr userDrawn="1"/>
          </p:nvSpPr>
          <p:spPr>
            <a:xfrm>
              <a:off x="206375" y="1936750"/>
              <a:ext cx="11779250" cy="40259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60" name="Footnote example"/>
            <p:cNvSpPr txBox="1"/>
            <p:nvPr userDrawn="1"/>
          </p:nvSpPr>
          <p:spPr>
            <a:xfrm>
              <a:off x="206375" y="6155165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1. xxxx  2. xxxx  3. List footnotes in numerical order. Footnote numbers are not bracketed. Use 10pt font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3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14"/>
          <p:cNvCxnSpPr/>
          <p:nvPr userDrawn="1"/>
        </p:nvCxnSpPr>
        <p:spPr>
          <a:xfrm>
            <a:off x="19050" y="1047750"/>
            <a:ext cx="12095163" cy="0"/>
          </a:xfrm>
          <a:prstGeom prst="line">
            <a:avLst/>
          </a:prstGeom>
          <a:noFill/>
          <a:ln w="25400" cap="flat" cmpd="dbl" algn="ctr">
            <a:solidFill>
              <a:srgbClr val="ED7D31"/>
            </a:solidFill>
            <a:prstDash val="solid"/>
            <a:miter lim="800000"/>
          </a:ln>
          <a:effectLst/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lowchart: Process 15"/>
          <p:cNvSpPr/>
          <p:nvPr userDrawn="1"/>
        </p:nvSpPr>
        <p:spPr>
          <a:xfrm>
            <a:off x="9266238" y="0"/>
            <a:ext cx="2968625" cy="6858000"/>
          </a:xfrm>
          <a:prstGeom prst="flowChartProcess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5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Parallelogram 16"/>
          <p:cNvSpPr/>
          <p:nvPr userDrawn="1"/>
        </p:nvSpPr>
        <p:spPr>
          <a:xfrm>
            <a:off x="2144713" y="0"/>
            <a:ext cx="8723312" cy="6872288"/>
          </a:xfrm>
          <a:prstGeom prst="parallelogram">
            <a:avLst>
              <a:gd name="adj" fmla="val 2017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5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9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5888" y="6378575"/>
            <a:ext cx="1131887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563" y="-1588"/>
            <a:ext cx="4117976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Parallelogram 23"/>
          <p:cNvSpPr/>
          <p:nvPr userDrawn="1"/>
        </p:nvSpPr>
        <p:spPr>
          <a:xfrm>
            <a:off x="1214438" y="5849938"/>
            <a:ext cx="798512" cy="627062"/>
          </a:xfrm>
          <a:prstGeom prst="parallelogram">
            <a:avLst>
              <a:gd name="adj" fmla="val 20179"/>
            </a:avLst>
          </a:prstGeom>
          <a:solidFill>
            <a:srgbClr val="002F5F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5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5" name="Picture 1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38" y="6097588"/>
            <a:ext cx="1957387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itle 1"/>
          <p:cNvSpPr>
            <a:spLocks noGrp="1"/>
          </p:cNvSpPr>
          <p:nvPr>
            <p:ph type="ctrTitle"/>
          </p:nvPr>
        </p:nvSpPr>
        <p:spPr>
          <a:xfrm>
            <a:off x="3224213" y="3441700"/>
            <a:ext cx="6523037" cy="812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noAutofit/>
          </a:bodyPr>
          <a:lstStyle>
            <a:lvl1pPr>
              <a:defRPr lang="en-US" sz="2800" b="0" dirty="0">
                <a:solidFill>
                  <a:srgbClr val="EAAB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fontAlgn="base">
              <a:spcAft>
                <a:spcPct val="0"/>
              </a:spcAft>
              <a:buClrTx/>
              <a:buSzTx/>
              <a:buFontTx/>
            </a:pPr>
            <a:endParaRPr lang="en-US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35325" y="4386263"/>
            <a:ext cx="65024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>
              <a:defRPr kumimoji="0" lang="en-ZA" sz="2400" b="1" i="0" u="none" strike="noStrike" cap="none" spc="0" normalizeH="0" baseline="0" dirty="0">
                <a:ln>
                  <a:noFill/>
                </a:ln>
                <a:solidFill>
                  <a:srgbClr val="002F5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</a:pPr>
            <a:r>
              <a:rPr lang="en-US"/>
              <a:t>Click to add text</a:t>
            </a:r>
            <a:endParaRPr lang="en-ZA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10355262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0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 userDrawn="1"/>
        </p:nvCxnSpPr>
        <p:spPr>
          <a:xfrm>
            <a:off x="19050" y="1047750"/>
            <a:ext cx="12095163" cy="0"/>
          </a:xfrm>
          <a:prstGeom prst="line">
            <a:avLst/>
          </a:prstGeom>
          <a:noFill/>
          <a:ln w="25400" cap="flat" cmpd="dbl" algn="ctr">
            <a:solidFill>
              <a:srgbClr val="ED7D31"/>
            </a:solidFill>
            <a:prstDash val="solid"/>
            <a:miter lim="800000"/>
          </a:ln>
          <a:effectLst/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06375" y="1936750"/>
            <a:ext cx="11779250" cy="40259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10355262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9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19050" y="1047750"/>
            <a:ext cx="12095163" cy="0"/>
          </a:xfrm>
          <a:prstGeom prst="line">
            <a:avLst/>
          </a:prstGeom>
          <a:noFill/>
          <a:ln w="25400" cap="flat" cmpd="dbl" algn="ctr">
            <a:solidFill>
              <a:srgbClr val="ED7D31"/>
            </a:solidFill>
            <a:prstDash val="solid"/>
            <a:miter lim="800000"/>
          </a:ln>
          <a:effectLst/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E7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7788" y="2158987"/>
            <a:ext cx="3744000" cy="541687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buNone/>
              <a:defRPr sz="16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endParaRPr lang="en-US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77788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3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2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  <a:endParaRPr lang="en-US"/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022E6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06375" y="3826800"/>
            <a:ext cx="11779250" cy="2041200"/>
          </a:xfrm>
        </p:spPr>
        <p:txBody>
          <a:bodyPr vert="horz" lIns="0" tIns="0" rIns="0" bIns="0" anchor="t">
            <a:noAutofit/>
          </a:bodyPr>
          <a:lstStyle>
            <a:lvl1pPr>
              <a:defRPr sz="54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206375" y="3680016"/>
            <a:ext cx="11982212" cy="0"/>
          </a:xfrm>
          <a:prstGeom prst="line">
            <a:avLst/>
          </a:prstGeom>
          <a:ln w="19050" cmpd="sng">
            <a:solidFill>
              <a:srgbClr val="022E6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White one third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777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4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14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Green highlight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7789" y="95250"/>
            <a:ext cx="6828741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6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16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Four column green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7789" y="95250"/>
            <a:ext cx="8653795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7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17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Green one third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7788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06375" y="1936750"/>
            <a:ext cx="11779250" cy="40259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10355262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0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 userDrawn="1"/>
        </p:nvCxnSpPr>
        <p:spPr>
          <a:xfrm>
            <a:off x="19050" y="1047750"/>
            <a:ext cx="12095163" cy="0"/>
          </a:xfrm>
          <a:prstGeom prst="line">
            <a:avLst/>
          </a:prstGeom>
          <a:noFill/>
          <a:ln w="25400" cap="flat" cmpd="dbl" algn="ctr">
            <a:solidFill>
              <a:srgbClr val="ED7D31"/>
            </a:solidFill>
            <a:prstDash val="solid"/>
            <a:miter lim="800000"/>
          </a:ln>
          <a:effectLst/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Green half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788" y="1785600"/>
            <a:ext cx="4388400" cy="3286800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Green two third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  <a:endParaRPr lang="en-US"/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788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7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Left arrow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795" imgH="10795" progId="TCLayout.ActiveDocument.1">
                  <p:embed/>
                </p:oleObj>
              </mc:Choice>
              <mc:Fallback>
                <p:oleObj name="think-cell Slide" r:id="rId3" imgW="10795" imgH="1079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77788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  <a:endParaRPr lang="en-US">
              <a:solidFill>
                <a:schemeClr val="tx2"/>
              </a:solidFill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6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16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22E64"/>
              </a:gs>
              <a:gs pos="100000">
                <a:srgbClr val="00173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788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>
            <a:fillRect/>
          </a:stretch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Arrow one third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7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4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14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22E64"/>
              </a:gs>
              <a:gs pos="100000">
                <a:srgbClr val="00173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788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>
            <a:fillRect/>
          </a:stretch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6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Arrow half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5300034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5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16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22E64"/>
              </a:gs>
              <a:gs pos="100000">
                <a:srgbClr val="00173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5300034" cy="906463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6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Arrow two third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6806708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7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17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22E64"/>
              </a:gs>
              <a:gs pos="100000">
                <a:srgbClr val="001732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6806708" cy="906463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15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E7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77788" y="1544274"/>
            <a:ext cx="3452400" cy="1495794"/>
          </a:xfrm>
          <a:noFill/>
        </p:spPr>
        <p:txBody>
          <a:bodyPr vert="horz" wrap="square" lIns="91440" tIns="0" rIns="320040" bIns="0" anchor="b">
            <a:noAutofit/>
          </a:bodyPr>
          <a:lstStyle>
            <a:lvl1pPr>
              <a:defRPr sz="3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2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Big statement green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06375" y="3826333"/>
            <a:ext cx="11779250" cy="1606550"/>
          </a:xfrm>
        </p:spPr>
        <p:txBody>
          <a:bodyPr vert="horz" lIns="0" tIns="0" rIns="0" b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3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13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206375" y="625475"/>
            <a:ext cx="932688" cy="932688"/>
          </a:xfrm>
          <a:prstGeom prst="rect">
            <a:avLst/>
          </a:prstGeom>
          <a:noFill/>
          <a:ln>
            <a:solidFill>
              <a:srgbClr val="022E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06375" y="3826333"/>
            <a:ext cx="11779250" cy="160655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  <a:endParaRPr lang="en-US"/>
          </a:p>
        </p:txBody>
      </p:sp>
      <p:pic>
        <p:nvPicPr>
          <p:cNvPr id="12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Quote">
    <p:bg>
      <p:bgPr>
        <a:solidFill>
          <a:srgbClr val="0017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>
            <a:fillRect/>
          </a:stretch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/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22E6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en-U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9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77788" y="95250"/>
            <a:ext cx="10355262" cy="906463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2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2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4" name="Straight Connector 13"/>
          <p:cNvCxnSpPr/>
          <p:nvPr userDrawn="1"/>
        </p:nvCxnSpPr>
        <p:spPr>
          <a:xfrm>
            <a:off x="19050" y="1047750"/>
            <a:ext cx="12095163" cy="0"/>
          </a:xfrm>
          <a:prstGeom prst="line">
            <a:avLst/>
          </a:prstGeom>
          <a:noFill/>
          <a:ln w="25400" cap="flat" cmpd="dbl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15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81788"/>
            <a:ext cx="121920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. Table of contents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7787" y="2570560"/>
            <a:ext cx="3157781" cy="1716880"/>
          </a:xfrm>
          <a:prstGeom prst="rect">
            <a:avLst/>
          </a:prstGeom>
          <a:noFill/>
        </p:spPr>
        <p:txBody>
          <a:bodyPr wrap="square" lIns="9144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  <a:endParaRPr lang="en-US" sz="5400" b="1">
              <a:solidFill>
                <a:srgbClr val="022E6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4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15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D. Blank green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8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021826" y="1630185"/>
            <a:ext cx="6963799" cy="3392129"/>
          </a:xfrm>
        </p:spPr>
        <p:txBody>
          <a:bodyPr anchor="ctr"/>
          <a:lstStyle>
            <a:lvl1pPr>
              <a:defRPr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7" name="Title 6"/>
          <p:cNvSpPr txBox="1"/>
          <p:nvPr/>
        </p:nvSpPr>
        <p:spPr>
          <a:xfrm>
            <a:off x="206375" y="2973076"/>
            <a:ext cx="3302186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isclaimer</a:t>
            </a:r>
            <a:endParaRPr lang="en-US" sz="5100" b="1">
              <a:solidFill>
                <a:srgbClr val="022E6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4265193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4" b="1851"/>
          <a:stretch>
            <a:fillRect/>
          </a:stretch>
        </p:blipFill>
        <p:spPr bwMode="auto">
          <a:xfrm>
            <a:off x="0" y="0"/>
            <a:ext cx="12192000" cy="668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81788"/>
            <a:ext cx="121920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1" name="Group 50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2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3" name="Group 52"/>
            <p:cNvGrpSpPr/>
            <p:nvPr userDrawn="1"/>
          </p:nvGrpSpPr>
          <p:grpSpPr>
            <a:xfrm>
              <a:off x="-600" y="622800"/>
              <a:ext cx="12193200" cy="5339850"/>
              <a:chOff x="-600" y="622800"/>
              <a:chExt cx="12193200" cy="5339850"/>
            </a:xfrm>
          </p:grpSpPr>
          <p:cxnSp>
            <p:nvCxnSpPr>
              <p:cNvPr id="78" name="Straight Connector 77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88559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114838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14111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167396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19367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222431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251187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279944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30870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337457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366213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394970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423727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-600" y="452483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/>
            </p:nvCxnSpPr>
            <p:spPr>
              <a:xfrm>
                <a:off x="-600" y="48123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/>
            </p:nvCxnSpPr>
            <p:spPr>
              <a:xfrm>
                <a:off x="-600" y="509996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/>
            </p:nvCxnSpPr>
            <p:spPr>
              <a:xfrm>
                <a:off x="-600" y="538752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/>
            </p:nvCxnSpPr>
            <p:spPr>
              <a:xfrm>
                <a:off x="-600" y="567509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/>
            </p:nvCxnSpPr>
            <p:spPr>
              <a:xfrm>
                <a:off x="-600" y="596265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utter space"/>
            <p:cNvGrpSpPr/>
            <p:nvPr userDrawn="1"/>
          </p:nvGrpSpPr>
          <p:grpSpPr>
            <a:xfrm>
              <a:off x="1277000" y="623550"/>
              <a:ext cx="9638000" cy="5339100"/>
              <a:chOff x="1277000" y="623550"/>
              <a:chExt cx="9638000" cy="5537047"/>
            </a:xfrm>
          </p:grpSpPr>
          <p:sp>
            <p:nvSpPr>
              <p:cNvPr id="67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3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4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5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6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7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5" name="Slide edges"/>
            <p:cNvSpPr/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 userDrawn="1"/>
          </p:nvSpPr>
          <p:spPr bwMode="auto">
            <a:xfrm>
              <a:off x="206375" y="5962650"/>
              <a:ext cx="11779250" cy="589556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 userDrawn="1"/>
          </p:nvSpPr>
          <p:spPr bwMode="auto">
            <a:xfrm>
              <a:off x="206375" y="1411170"/>
              <a:ext cx="11779250" cy="52558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9" name="Five column measure"/>
            <p:cNvGrpSpPr/>
            <p:nvPr userDrawn="1"/>
          </p:nvGrpSpPr>
          <p:grpSpPr>
            <a:xfrm>
              <a:off x="206375" y="5883114"/>
              <a:ext cx="11779250" cy="79536"/>
              <a:chOff x="629400" y="5975122"/>
              <a:chExt cx="10933200" cy="79536"/>
            </a:xfrm>
          </p:grpSpPr>
          <p:sp>
            <p:nvSpPr>
              <p:cNvPr id="62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6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60" name="Live area"/>
            <p:cNvSpPr/>
            <p:nvPr userDrawn="1"/>
          </p:nvSpPr>
          <p:spPr>
            <a:xfrm>
              <a:off x="206375" y="1936750"/>
              <a:ext cx="11779250" cy="40259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61" name="Footnote example"/>
            <p:cNvSpPr txBox="1"/>
            <p:nvPr userDrawn="1"/>
          </p:nvSpPr>
          <p:spPr>
            <a:xfrm>
              <a:off x="206375" y="6155165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1. xxxx  2. xxxx  3. List footnotes in numerical order. Footnote numbers are not bracketed. Use 10pt font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Section header box">
    <p:bg bwMode="grayWhite"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1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2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genda Section Header Overview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74583" y="1115416"/>
            <a:ext cx="235891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  <a:endParaRPr lang="en-US" sz="54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4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14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genda Section Header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1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1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genda Full Width Overview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1"/>
          <p:cNvSpPr txBox="1"/>
          <p:nvPr userDrawn="1"/>
        </p:nvSpPr>
        <p:spPr>
          <a:xfrm>
            <a:off x="630000" y="622800"/>
            <a:ext cx="7189998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  <a:endParaRPr lang="en-US" sz="32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1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1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genda Two-Thirds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7788" y="3206747"/>
            <a:ext cx="2028794" cy="443198"/>
          </a:xfrm>
          <a:prstGeom prst="rect">
            <a:avLst/>
          </a:prstGeom>
          <a:noFill/>
        </p:spPr>
        <p:txBody>
          <a:bodyPr wrap="square" lIns="9144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  <a:endParaRPr lang="en-US" sz="32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22E6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22E6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rgbClr val="022E6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74583" y="1115416"/>
            <a:ext cx="235891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  <a:endParaRPr lang="en-US" b="1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2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22E6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22E6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genda D. Two-Thirds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7788" y="3206747"/>
            <a:ext cx="1958455" cy="443198"/>
          </a:xfrm>
          <a:prstGeom prst="rect">
            <a:avLst/>
          </a:prstGeom>
          <a:noFill/>
        </p:spPr>
        <p:txBody>
          <a:bodyPr wrap="square" lIns="9144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  <a:endParaRPr lang="en-US" sz="32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2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genda D. Table of Contents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7787" y="2570560"/>
            <a:ext cx="3171849" cy="1716880"/>
          </a:xfrm>
          <a:prstGeom prst="rect">
            <a:avLst/>
          </a:prstGeom>
          <a:noFill/>
        </p:spPr>
        <p:txBody>
          <a:bodyPr wrap="square" lIns="9144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  <a:endParaRPr lang="en-US" sz="5400" b="1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2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13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206375" y="1936750"/>
            <a:ext cx="11779250" cy="402590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pic>
        <p:nvPicPr>
          <p:cNvPr id="4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 userDrawn="1"/>
        </p:nvCxnSpPr>
        <p:spPr>
          <a:xfrm>
            <a:off x="19050" y="1047750"/>
            <a:ext cx="12095163" cy="0"/>
          </a:xfrm>
          <a:prstGeom prst="line">
            <a:avLst/>
          </a:prstGeom>
          <a:noFill/>
          <a:ln w="25400" cap="flat" cmpd="dbl" algn="ctr">
            <a:solidFill>
              <a:srgbClr val="ED7D31"/>
            </a:solidFill>
            <a:prstDash val="solid"/>
            <a:miter lim="800000"/>
          </a:ln>
          <a:effectLst/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Section header line">
    <p:bg bwMode="blackWhite"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lIns="0" tIns="0" rIns="0" bIns="0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  <a:endParaRPr lang="en-US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0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0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Bank_A4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pic>
        <p:nvPicPr>
          <p:cNvPr id="4" name="Picture 2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988" y="109538"/>
            <a:ext cx="1579562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 userDrawn="1"/>
        </p:nvCxnSpPr>
        <p:spPr>
          <a:xfrm>
            <a:off x="19050" y="1047750"/>
            <a:ext cx="12095163" cy="0"/>
          </a:xfrm>
          <a:prstGeom prst="line">
            <a:avLst/>
          </a:prstGeom>
          <a:noFill/>
          <a:ln w="25400" cap="flat" cmpd="dbl" algn="ctr">
            <a:solidFill>
              <a:srgbClr val="ED7D31"/>
            </a:solidFill>
            <a:prstDash val="solid"/>
            <a:miter lim="800000"/>
          </a:ln>
          <a:effectLst/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F433DAFA-91E5-5041-8A6F-F1954D78DFD6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18056B8F-DFAE-E646-BC01-203891103107}" type="slidenum">
              <a:rPr lang="en-US" smtClean="0"/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936381"/>
            <a:ext cx="10515600" cy="3802783"/>
          </a:xfrm>
          <a:prstGeom prst="rect">
            <a:avLst/>
          </a:prstGeom>
        </p:spPr>
        <p:txBody>
          <a:bodyPr/>
          <a:lstStyle>
            <a:lvl1pPr>
              <a:defRPr>
                <a:latin typeface="Frutiger LT 45 Light" panose="020B0403030504020204" pitchFamily="34" charset="0"/>
              </a:defRPr>
            </a:lvl1pPr>
            <a:lvl2pPr>
              <a:defRPr>
                <a:latin typeface="Frutiger LT 45 Light" panose="020B0403030504020204" pitchFamily="34" charset="0"/>
              </a:defRPr>
            </a:lvl2pPr>
            <a:lvl3pPr>
              <a:defRPr>
                <a:latin typeface="Frutiger LT 45 Light" panose="020B0403030504020204" pitchFamily="34" charset="0"/>
              </a:defRPr>
            </a:lvl3pPr>
            <a:lvl4pPr>
              <a:defRPr>
                <a:latin typeface="Frutiger LT 45 Light" panose="020B0403030504020204" pitchFamily="34" charset="0"/>
              </a:defRPr>
            </a:lvl4pPr>
            <a:lvl5pPr>
              <a:defRPr>
                <a:latin typeface="Frutiger LT 45 Light" panose="020B0403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0B5CD-230D-41EA-8C44-E0031D6C1835}" type="slidenum">
              <a:rPr lang="en-ZA" smtClean="0"/>
            </a:fld>
            <a:endParaRPr lang="en-ZA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First Bank_A4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69" y="1510"/>
          <a:ext cx="1868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69" y="1510"/>
                        <a:ext cx="1868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15829" y="5846135"/>
            <a:ext cx="646044" cy="365125"/>
          </a:xfrm>
        </p:spPr>
        <p:txBody>
          <a:bodyPr/>
          <a:lstStyle/>
          <a:p>
            <a:fld id="{C473C255-33BE-45CE-9A8A-18DE1DD723B9}" type="slidenum">
              <a:rPr lang="en-ZA" smtClean="0"/>
            </a:fld>
            <a:endParaRPr lang="en-ZA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393444" y="3003181"/>
            <a:ext cx="5923281" cy="11182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Frutiger LT 65 Bold" panose="020B0803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0B5CD-230D-41EA-8C44-E0031D6C1835}" type="slidenum">
              <a:rPr lang="en-ZA" smtClean="0"/>
            </a:fld>
            <a:endParaRPr lang="en-Z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White one third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1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1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reen highlight">
    <p:bg>
      <p:bgPr>
        <a:gradFill flip="none" rotWithShape="1">
          <a:gsLst>
            <a:gs pos="0">
              <a:srgbClr val="022E64"/>
            </a:gs>
            <a:gs pos="100000">
              <a:srgbClr val="00173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4 by Boston Consulting Group. All rights reserved.</a:t>
            </a:r>
            <a:endParaRPr lang="en-US" sz="7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7789" y="95250"/>
            <a:ext cx="6809011" cy="906463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10313988" y="109538"/>
            <a:ext cx="1579561" cy="635000"/>
            <a:chOff x="10313988" y="109538"/>
            <a:chExt cx="1579561" cy="635000"/>
          </a:xfrm>
        </p:grpSpPr>
        <p:pic>
          <p:nvPicPr>
            <p:cNvPr id="15" name="Picture 21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17"/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1.png"/><Relationship Id="rId7" Type="http://schemas.openxmlformats.org/officeDocument/2006/relationships/image" Target="../media/image5.png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.xml"/><Relationship Id="rId8" Type="http://schemas.openxmlformats.org/officeDocument/2006/relationships/slideLayout" Target="../slideLayouts/slideLayout9.xml"/><Relationship Id="rId76" Type="http://schemas.openxmlformats.org/officeDocument/2006/relationships/theme" Target="../theme/theme2.xml"/><Relationship Id="rId75" Type="http://schemas.openxmlformats.org/officeDocument/2006/relationships/vmlDrawing" Target="../drawings/vmlDrawing72.vml"/><Relationship Id="rId74" Type="http://schemas.openxmlformats.org/officeDocument/2006/relationships/image" Target="../media/image17.jpeg"/><Relationship Id="rId73" Type="http://schemas.openxmlformats.org/officeDocument/2006/relationships/image" Target="../media/image19.emf"/><Relationship Id="rId72" Type="http://schemas.openxmlformats.org/officeDocument/2006/relationships/oleObject" Target="../embeddings/oleObject72.bin"/><Relationship Id="rId71" Type="http://schemas.openxmlformats.org/officeDocument/2006/relationships/tags" Target="../tags/tag76.xml"/><Relationship Id="rId70" Type="http://schemas.openxmlformats.org/officeDocument/2006/relationships/slideLayout" Target="../slideLayouts/slideLayout71.xml"/><Relationship Id="rId7" Type="http://schemas.openxmlformats.org/officeDocument/2006/relationships/slideLayout" Target="../slideLayouts/slideLayout8.xml"/><Relationship Id="rId69" Type="http://schemas.openxmlformats.org/officeDocument/2006/relationships/slideLayout" Target="../slideLayouts/slideLayout70.xml"/><Relationship Id="rId68" Type="http://schemas.openxmlformats.org/officeDocument/2006/relationships/slideLayout" Target="../slideLayouts/slideLayout69.xml"/><Relationship Id="rId67" Type="http://schemas.openxmlformats.org/officeDocument/2006/relationships/slideLayout" Target="../slideLayouts/slideLayout68.xml"/><Relationship Id="rId66" Type="http://schemas.openxmlformats.org/officeDocument/2006/relationships/slideLayout" Target="../slideLayouts/slideLayout67.xml"/><Relationship Id="rId65" Type="http://schemas.openxmlformats.org/officeDocument/2006/relationships/slideLayout" Target="../slideLayouts/slideLayout66.xml"/><Relationship Id="rId64" Type="http://schemas.openxmlformats.org/officeDocument/2006/relationships/slideLayout" Target="../slideLayouts/slideLayout65.xml"/><Relationship Id="rId63" Type="http://schemas.openxmlformats.org/officeDocument/2006/relationships/slideLayout" Target="../slideLayouts/slideLayout64.xml"/><Relationship Id="rId62" Type="http://schemas.openxmlformats.org/officeDocument/2006/relationships/slideLayout" Target="../slideLayouts/slideLayout63.xml"/><Relationship Id="rId61" Type="http://schemas.openxmlformats.org/officeDocument/2006/relationships/slideLayout" Target="../slideLayouts/slideLayout62.xml"/><Relationship Id="rId60" Type="http://schemas.openxmlformats.org/officeDocument/2006/relationships/slideLayout" Target="../slideLayouts/slideLayout61.xml"/><Relationship Id="rId6" Type="http://schemas.openxmlformats.org/officeDocument/2006/relationships/slideLayout" Target="../slideLayouts/slideLayout7.xml"/><Relationship Id="rId59" Type="http://schemas.openxmlformats.org/officeDocument/2006/relationships/slideLayout" Target="../slideLayouts/slideLayout60.xml"/><Relationship Id="rId58" Type="http://schemas.openxmlformats.org/officeDocument/2006/relationships/slideLayout" Target="../slideLayouts/slideLayout59.xml"/><Relationship Id="rId57" Type="http://schemas.openxmlformats.org/officeDocument/2006/relationships/slideLayout" Target="../slideLayouts/slideLayout58.xml"/><Relationship Id="rId56" Type="http://schemas.openxmlformats.org/officeDocument/2006/relationships/slideLayout" Target="../slideLayouts/slideLayout57.xml"/><Relationship Id="rId55" Type="http://schemas.openxmlformats.org/officeDocument/2006/relationships/slideLayout" Target="../slideLayouts/slideLayout56.xml"/><Relationship Id="rId54" Type="http://schemas.openxmlformats.org/officeDocument/2006/relationships/slideLayout" Target="../slideLayouts/slideLayout55.xml"/><Relationship Id="rId53" Type="http://schemas.openxmlformats.org/officeDocument/2006/relationships/slideLayout" Target="../slideLayouts/slideLayout54.xml"/><Relationship Id="rId52" Type="http://schemas.openxmlformats.org/officeDocument/2006/relationships/slideLayout" Target="../slideLayouts/slideLayout53.xml"/><Relationship Id="rId51" Type="http://schemas.openxmlformats.org/officeDocument/2006/relationships/slideLayout" Target="../slideLayouts/slideLayout52.xml"/><Relationship Id="rId50" Type="http://schemas.openxmlformats.org/officeDocument/2006/relationships/slideLayout" Target="../slideLayouts/slideLayout51.xml"/><Relationship Id="rId5" Type="http://schemas.openxmlformats.org/officeDocument/2006/relationships/slideLayout" Target="../slideLayouts/slideLayout6.xml"/><Relationship Id="rId49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48.xml"/><Relationship Id="rId46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46.xml"/><Relationship Id="rId44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44.xml"/><Relationship Id="rId42" Type="http://schemas.openxmlformats.org/officeDocument/2006/relationships/slideLayout" Target="../slideLayouts/slideLayout43.xml"/><Relationship Id="rId41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5.xml"/><Relationship Id="rId39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1.xml"/><Relationship Id="rId3" Type="http://schemas.openxmlformats.org/officeDocument/2006/relationships/slideLayout" Target="../slideLayouts/slideLayout4.xml"/><Relationship Id="rId29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1.xml"/><Relationship Id="rId2" Type="http://schemas.openxmlformats.org/officeDocument/2006/relationships/slideLayout" Target="../slideLayouts/slideLayout3.xml"/><Relationship Id="rId19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1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image" Target="../media/image17.jpeg"/><Relationship Id="rId8" Type="http://schemas.openxmlformats.org/officeDocument/2006/relationships/image" Target="../media/image8.png"/><Relationship Id="rId7" Type="http://schemas.openxmlformats.org/officeDocument/2006/relationships/image" Target="../media/image2.emf"/><Relationship Id="rId6" Type="http://schemas.openxmlformats.org/officeDocument/2006/relationships/oleObject" Target="../embeddings/oleObject74.bin"/><Relationship Id="rId5" Type="http://schemas.openxmlformats.org/officeDocument/2006/relationships/tags" Target="../tags/tag78.xml"/><Relationship Id="rId4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3.xml"/><Relationship Id="rId11" Type="http://schemas.openxmlformats.org/officeDocument/2006/relationships/theme" Target="../theme/theme3.xml"/><Relationship Id="rId10" Type="http://schemas.openxmlformats.org/officeDocument/2006/relationships/vmlDrawing" Target="../drawings/vmlDrawing74.vml"/><Relationship Id="rId1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</a:fld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Process 7"/>
          <p:cNvSpPr/>
          <p:nvPr/>
        </p:nvSpPr>
        <p:spPr>
          <a:xfrm>
            <a:off x="9265920" y="-1"/>
            <a:ext cx="2969150" cy="6858000"/>
          </a:xfrm>
          <a:prstGeom prst="flowChartProcess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Parallelogram 8"/>
          <p:cNvSpPr/>
          <p:nvPr/>
        </p:nvSpPr>
        <p:spPr>
          <a:xfrm>
            <a:off x="2143807" y="0"/>
            <a:ext cx="8724303" cy="6872032"/>
          </a:xfrm>
          <a:prstGeom prst="parallelogram">
            <a:avLst>
              <a:gd name="adj" fmla="val 2017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5525" y="6378788"/>
            <a:ext cx="1131368" cy="22395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516" y="-2117"/>
            <a:ext cx="4117681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396" y="6163364"/>
            <a:ext cx="1957582" cy="3956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891540" rtl="0" eaLnBrk="1" latinLnBrk="0" hangingPunct="1">
        <a:lnSpc>
          <a:spcPct val="90000"/>
        </a:lnSpc>
        <a:spcBef>
          <a:spcPct val="0"/>
        </a:spcBef>
        <a:buNone/>
        <a:defRPr sz="429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2885" indent="-222885" algn="l" defTabSz="891540" rtl="0" eaLnBrk="1" latinLnBrk="0" hangingPunct="1">
        <a:lnSpc>
          <a:spcPct val="90000"/>
        </a:lnSpc>
        <a:spcBef>
          <a:spcPts val="975"/>
        </a:spcBef>
        <a:buFont typeface="Arial" panose="020B0604020202020204" pitchFamily="34" charset="0"/>
        <a:buChar char="•"/>
        <a:defRPr sz="273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1442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56019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200596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45173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89750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34327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78904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1pPr>
      <a:lvl2pPr marL="44577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2pPr>
      <a:lvl3pPr marL="89154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3pPr>
      <a:lvl4pPr marL="133731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178308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22885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12039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56616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72" imgW="12700" imgH="12700" progId="TCLayout.ActiveDocument.1">
                  <p:embed/>
                </p:oleObj>
              </mc:Choice>
              <mc:Fallback>
                <p:oleObj name="think-cell Slide" r:id="rId72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06375" y="1936750"/>
            <a:ext cx="11779250" cy="4025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Level six</a:t>
            </a:r>
            <a:endParaRPr lang="en-US"/>
          </a:p>
          <a:p>
            <a:pPr lvl="6"/>
            <a:r>
              <a:rPr lang="en-US"/>
              <a:t>Level seven</a:t>
            </a:r>
            <a:endParaRPr lang="en-US"/>
          </a:p>
          <a:p>
            <a:pPr lvl="7"/>
            <a:r>
              <a:rPr lang="en-US"/>
              <a:t>Level eight</a:t>
            </a:r>
            <a:endParaRPr lang="en-US"/>
          </a:p>
          <a:p>
            <a:pPr lvl="8"/>
            <a:r>
              <a:rPr lang="en-US"/>
              <a:t>Level nine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7788" y="95250"/>
            <a:ext cx="10355262" cy="90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marL="0" marR="0" lvl="0" indent="0" eaLnBrk="0" fontAlgn="base" hangingPunct="0">
              <a:spcAft>
                <a:spcPct val="0"/>
              </a:spcAft>
              <a:buClrTx/>
              <a:buSzTx/>
              <a:buFontTx/>
            </a:pPr>
            <a:r>
              <a:rPr lang="en-US"/>
              <a:t>Click to add title</a:t>
            </a:r>
            <a:endParaRPr lang="en-US"/>
          </a:p>
        </p:txBody>
      </p:sp>
      <p:pic>
        <p:nvPicPr>
          <p:cNvPr id="15" name="Picture 8"/>
          <p:cNvPicPr>
            <a:picLocks noChangeAspect="1" noChangeArrowheads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81788"/>
            <a:ext cx="121920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78" r:id="rId28"/>
    <p:sldLayoutId id="2147483679" r:id="rId29"/>
    <p:sldLayoutId id="2147483680" r:id="rId30"/>
    <p:sldLayoutId id="2147483681" r:id="rId31"/>
    <p:sldLayoutId id="2147483682" r:id="rId32"/>
    <p:sldLayoutId id="2147483683" r:id="rId33"/>
    <p:sldLayoutId id="2147483684" r:id="rId34"/>
    <p:sldLayoutId id="2147483685" r:id="rId35"/>
    <p:sldLayoutId id="2147483686" r:id="rId36"/>
    <p:sldLayoutId id="2147483687" r:id="rId37"/>
    <p:sldLayoutId id="2147483688" r:id="rId38"/>
    <p:sldLayoutId id="2147483689" r:id="rId39"/>
    <p:sldLayoutId id="2147483690" r:id="rId40"/>
    <p:sldLayoutId id="2147483691" r:id="rId41"/>
    <p:sldLayoutId id="2147483692" r:id="rId42"/>
    <p:sldLayoutId id="2147483693" r:id="rId43"/>
    <p:sldLayoutId id="2147483694" r:id="rId44"/>
    <p:sldLayoutId id="2147483695" r:id="rId45"/>
    <p:sldLayoutId id="2147483696" r:id="rId46"/>
    <p:sldLayoutId id="2147483697" r:id="rId47"/>
    <p:sldLayoutId id="2147483698" r:id="rId48"/>
    <p:sldLayoutId id="2147483699" r:id="rId49"/>
    <p:sldLayoutId id="2147483700" r:id="rId50"/>
    <p:sldLayoutId id="2147483701" r:id="rId51"/>
    <p:sldLayoutId id="2147483702" r:id="rId52"/>
    <p:sldLayoutId id="2147483703" r:id="rId53"/>
    <p:sldLayoutId id="2147483704" r:id="rId54"/>
    <p:sldLayoutId id="2147483705" r:id="rId55"/>
    <p:sldLayoutId id="2147483706" r:id="rId56"/>
    <p:sldLayoutId id="2147483707" r:id="rId57"/>
    <p:sldLayoutId id="2147483708" r:id="rId58"/>
    <p:sldLayoutId id="2147483709" r:id="rId59"/>
    <p:sldLayoutId id="2147483710" r:id="rId60"/>
    <p:sldLayoutId id="2147483711" r:id="rId61"/>
    <p:sldLayoutId id="2147483712" r:id="rId62"/>
    <p:sldLayoutId id="2147483713" r:id="rId63"/>
    <p:sldLayoutId id="2147483714" r:id="rId64"/>
    <p:sldLayoutId id="2147483715" r:id="rId65"/>
    <p:sldLayoutId id="2147483716" r:id="rId66"/>
    <p:sldLayoutId id="2147483717" r:id="rId67"/>
    <p:sldLayoutId id="2147483718" r:id="rId68"/>
    <p:sldLayoutId id="2147483719" r:id="rId69"/>
    <p:sldLayoutId id="2147483720" r:id="rId70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3200" b="1" i="0" u="none" strike="noStrike" kern="1200" cap="none" spc="0" normalizeH="0" baseline="0" dirty="0">
          <a:ln>
            <a:noFill/>
          </a:ln>
          <a:solidFill>
            <a:srgbClr val="002060"/>
          </a:solidFill>
          <a:effectLst/>
          <a:uLnTx/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22E64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1pPr>
      <a:lvl2pPr marL="284480" indent="-17272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22E64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2pPr>
      <a:lvl3pPr marL="511175" indent="-16573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22E64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22E64"/>
        </a:buClr>
        <a:buFont typeface="Arial" panose="020B0604020202020204" pitchFamily="34" charset="0"/>
        <a:buChar char="​"/>
        <a:defRPr lang="en-US" sz="1600" kern="1200">
          <a:solidFill>
            <a:srgbClr val="022E64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22E64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22E64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22E64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22E64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22E64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22E64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22E64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6" imgW="8255" imgH="8255" progId="TCLayout.ActiveDocument.1">
                  <p:embed/>
                </p:oleObj>
              </mc:Choice>
              <mc:Fallback>
                <p:oleObj name="think-cell Slide" r:id="rId6" imgW="8255" imgH="825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8706" y="95303"/>
            <a:ext cx="10354450" cy="9070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3710" y="6315964"/>
            <a:ext cx="593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ysClr val="windowText" lastClr="000000"/>
                </a:solidFill>
              </a:defRPr>
            </a:lvl1pPr>
          </a:lstStyle>
          <a:p>
            <a:fld id="{5930B5CD-230D-41EA-8C44-E0031D6C1835}" type="slidenum">
              <a:rPr lang="en-ZA" smtClean="0"/>
            </a:fld>
            <a:endParaRPr lang="en-ZA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2891" y="176923"/>
            <a:ext cx="1662468" cy="5014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81089"/>
            <a:ext cx="12192000" cy="219497"/>
          </a:xfrm>
          <a:prstGeom prst="rect">
            <a:avLst/>
          </a:prstGeom>
        </p:spPr>
      </p:pic>
      <p:cxnSp>
        <p:nvCxnSpPr>
          <p:cNvPr id="23" name="Straight Connector 22"/>
          <p:cNvCxnSpPr/>
          <p:nvPr/>
        </p:nvCxnSpPr>
        <p:spPr>
          <a:xfrm>
            <a:off x="19506" y="1047357"/>
            <a:ext cx="12094970" cy="0"/>
          </a:xfrm>
          <a:prstGeom prst="line">
            <a:avLst/>
          </a:prstGeom>
          <a:ln w="25400" cmpd="dbl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002060"/>
          </a:solidFill>
          <a:latin typeface="Frutiger LT 55 Roman" panose="020B060303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rgbClr val="032F5E"/>
          </a:solidFill>
          <a:latin typeface="Frutiger LT 45 Light" panose="020B040303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rgbClr val="032F5E"/>
          </a:solidFill>
          <a:latin typeface="Frutiger LT 45 Light" panose="020B040303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rgbClr val="032F5E"/>
          </a:solidFill>
          <a:latin typeface="Frutiger LT 45 Light" panose="020B040303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32F5E"/>
          </a:solidFill>
          <a:latin typeface="Frutiger LT 45 Light" panose="020B040303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32F5E"/>
          </a:solidFill>
          <a:latin typeface="Frutiger LT 45 Light" panose="020B040303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75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75.bin"/><Relationship Id="rId1" Type="http://schemas.openxmlformats.org/officeDocument/2006/relationships/tags" Target="../tags/tag79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139.xml"/><Relationship Id="rId8" Type="http://schemas.openxmlformats.org/officeDocument/2006/relationships/tags" Target="../tags/tag138.xml"/><Relationship Id="rId7" Type="http://schemas.openxmlformats.org/officeDocument/2006/relationships/tags" Target="../tags/tag137.xml"/><Relationship Id="rId6" Type="http://schemas.openxmlformats.org/officeDocument/2006/relationships/tags" Target="../tags/tag136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4.bin"/><Relationship Id="rId3" Type="http://schemas.openxmlformats.org/officeDocument/2006/relationships/tags" Target="../tags/tag135.xml"/><Relationship Id="rId2" Type="http://schemas.openxmlformats.org/officeDocument/2006/relationships/chart" Target="../charts/chart4.xml"/><Relationship Id="rId19" Type="http://schemas.openxmlformats.org/officeDocument/2006/relationships/vmlDrawing" Target="../drawings/vmlDrawing84.vml"/><Relationship Id="rId18" Type="http://schemas.openxmlformats.org/officeDocument/2006/relationships/slideLayout" Target="../slideLayouts/slideLayout70.xml"/><Relationship Id="rId17" Type="http://schemas.openxmlformats.org/officeDocument/2006/relationships/tags" Target="../tags/tag147.xml"/><Relationship Id="rId16" Type="http://schemas.openxmlformats.org/officeDocument/2006/relationships/tags" Target="../tags/tag146.xml"/><Relationship Id="rId15" Type="http://schemas.openxmlformats.org/officeDocument/2006/relationships/tags" Target="../tags/tag145.xml"/><Relationship Id="rId14" Type="http://schemas.openxmlformats.org/officeDocument/2006/relationships/tags" Target="../tags/tag144.xml"/><Relationship Id="rId13" Type="http://schemas.openxmlformats.org/officeDocument/2006/relationships/tags" Target="../tags/tag143.xml"/><Relationship Id="rId12" Type="http://schemas.openxmlformats.org/officeDocument/2006/relationships/tags" Target="../tags/tag142.xml"/><Relationship Id="rId11" Type="http://schemas.openxmlformats.org/officeDocument/2006/relationships/tags" Target="../tags/tag141.xml"/><Relationship Id="rId10" Type="http://schemas.openxmlformats.org/officeDocument/2006/relationships/tags" Target="../tags/tag140.xml"/><Relationship Id="rId1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tags" Target="../tags/tag151.xml"/><Relationship Id="rId8" Type="http://schemas.openxmlformats.org/officeDocument/2006/relationships/tags" Target="../tags/tag150.xml"/><Relationship Id="rId7" Type="http://schemas.openxmlformats.org/officeDocument/2006/relationships/tags" Target="../tags/tag149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85.bin"/><Relationship Id="rId4" Type="http://schemas.openxmlformats.org/officeDocument/2006/relationships/tags" Target="../tags/tag148.xml"/><Relationship Id="rId3" Type="http://schemas.openxmlformats.org/officeDocument/2006/relationships/chart" Target="../charts/chart7.xml"/><Relationship Id="rId29" Type="http://schemas.openxmlformats.org/officeDocument/2006/relationships/vmlDrawing" Target="../drawings/vmlDrawing85.vml"/><Relationship Id="rId28" Type="http://schemas.openxmlformats.org/officeDocument/2006/relationships/slideLayout" Target="../slideLayouts/slideLayout70.xml"/><Relationship Id="rId27" Type="http://schemas.openxmlformats.org/officeDocument/2006/relationships/tags" Target="../tags/tag169.xml"/><Relationship Id="rId26" Type="http://schemas.openxmlformats.org/officeDocument/2006/relationships/tags" Target="../tags/tag168.xml"/><Relationship Id="rId25" Type="http://schemas.openxmlformats.org/officeDocument/2006/relationships/tags" Target="../tags/tag167.xml"/><Relationship Id="rId24" Type="http://schemas.openxmlformats.org/officeDocument/2006/relationships/tags" Target="../tags/tag166.xml"/><Relationship Id="rId23" Type="http://schemas.openxmlformats.org/officeDocument/2006/relationships/tags" Target="../tags/tag165.xml"/><Relationship Id="rId22" Type="http://schemas.openxmlformats.org/officeDocument/2006/relationships/tags" Target="../tags/tag164.xml"/><Relationship Id="rId21" Type="http://schemas.openxmlformats.org/officeDocument/2006/relationships/tags" Target="../tags/tag163.xml"/><Relationship Id="rId20" Type="http://schemas.openxmlformats.org/officeDocument/2006/relationships/tags" Target="../tags/tag162.xml"/><Relationship Id="rId2" Type="http://schemas.openxmlformats.org/officeDocument/2006/relationships/chart" Target="../charts/chart6.xml"/><Relationship Id="rId19" Type="http://schemas.openxmlformats.org/officeDocument/2006/relationships/tags" Target="../tags/tag161.xml"/><Relationship Id="rId18" Type="http://schemas.openxmlformats.org/officeDocument/2006/relationships/tags" Target="../tags/tag160.xml"/><Relationship Id="rId17" Type="http://schemas.openxmlformats.org/officeDocument/2006/relationships/tags" Target="../tags/tag159.xml"/><Relationship Id="rId16" Type="http://schemas.openxmlformats.org/officeDocument/2006/relationships/tags" Target="../tags/tag158.xml"/><Relationship Id="rId15" Type="http://schemas.openxmlformats.org/officeDocument/2006/relationships/tags" Target="../tags/tag157.xml"/><Relationship Id="rId14" Type="http://schemas.openxmlformats.org/officeDocument/2006/relationships/tags" Target="../tags/tag156.xml"/><Relationship Id="rId13" Type="http://schemas.openxmlformats.org/officeDocument/2006/relationships/tags" Target="../tags/tag155.xml"/><Relationship Id="rId12" Type="http://schemas.openxmlformats.org/officeDocument/2006/relationships/tags" Target="../tags/tag154.xml"/><Relationship Id="rId11" Type="http://schemas.openxmlformats.org/officeDocument/2006/relationships/tags" Target="../tags/tag153.xml"/><Relationship Id="rId10" Type="http://schemas.openxmlformats.org/officeDocument/2006/relationships/tags" Target="../tags/tag152.xml"/><Relationship Id="rId1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174.xml"/><Relationship Id="rId8" Type="http://schemas.openxmlformats.org/officeDocument/2006/relationships/tags" Target="../tags/tag173.xml"/><Relationship Id="rId7" Type="http://schemas.openxmlformats.org/officeDocument/2006/relationships/tags" Target="../tags/tag172.xml"/><Relationship Id="rId6" Type="http://schemas.openxmlformats.org/officeDocument/2006/relationships/tags" Target="../tags/tag171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6.bin"/><Relationship Id="rId3" Type="http://schemas.openxmlformats.org/officeDocument/2006/relationships/tags" Target="../tags/tag170.xml"/><Relationship Id="rId2" Type="http://schemas.openxmlformats.org/officeDocument/2006/relationships/chart" Target="../charts/chart9.xml"/><Relationship Id="rId19" Type="http://schemas.openxmlformats.org/officeDocument/2006/relationships/vmlDrawing" Target="../drawings/vmlDrawing86.vml"/><Relationship Id="rId18" Type="http://schemas.openxmlformats.org/officeDocument/2006/relationships/slideLayout" Target="../slideLayouts/slideLayout70.xml"/><Relationship Id="rId17" Type="http://schemas.openxmlformats.org/officeDocument/2006/relationships/tags" Target="../tags/tag182.xml"/><Relationship Id="rId16" Type="http://schemas.openxmlformats.org/officeDocument/2006/relationships/tags" Target="../tags/tag181.xml"/><Relationship Id="rId15" Type="http://schemas.openxmlformats.org/officeDocument/2006/relationships/tags" Target="../tags/tag180.xml"/><Relationship Id="rId14" Type="http://schemas.openxmlformats.org/officeDocument/2006/relationships/tags" Target="../tags/tag179.xml"/><Relationship Id="rId13" Type="http://schemas.openxmlformats.org/officeDocument/2006/relationships/tags" Target="../tags/tag178.xml"/><Relationship Id="rId12" Type="http://schemas.openxmlformats.org/officeDocument/2006/relationships/tags" Target="../tags/tag177.xml"/><Relationship Id="rId11" Type="http://schemas.openxmlformats.org/officeDocument/2006/relationships/tags" Target="../tags/tag176.xml"/><Relationship Id="rId10" Type="http://schemas.openxmlformats.org/officeDocument/2006/relationships/tags" Target="../tags/tag175.xml"/><Relationship Id="rId1" Type="http://schemas.openxmlformats.org/officeDocument/2006/relationships/chart" Target="../charts/char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7.vml"/><Relationship Id="rId7" Type="http://schemas.openxmlformats.org/officeDocument/2006/relationships/slideLayout" Target="../slideLayouts/slideLayout70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87.bin"/><Relationship Id="rId1" Type="http://schemas.openxmlformats.org/officeDocument/2006/relationships/tags" Target="../tags/tag18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8.vml"/><Relationship Id="rId7" Type="http://schemas.openxmlformats.org/officeDocument/2006/relationships/slideLayout" Target="../slideLayouts/slideLayout70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88.bin"/><Relationship Id="rId1" Type="http://schemas.openxmlformats.org/officeDocument/2006/relationships/tags" Target="../tags/tag184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9.vml"/><Relationship Id="rId6" Type="http://schemas.openxmlformats.org/officeDocument/2006/relationships/slideLayout" Target="../slideLayouts/slideLayout70.xml"/><Relationship Id="rId5" Type="http://schemas.openxmlformats.org/officeDocument/2006/relationships/image" Target="../media/image30.png"/><Relationship Id="rId4" Type="http://schemas.openxmlformats.org/officeDocument/2006/relationships/image" Target="../media/image26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89.bin"/><Relationship Id="rId1" Type="http://schemas.openxmlformats.org/officeDocument/2006/relationships/tags" Target="../tags/tag185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image" Target="../media/image62.png"/><Relationship Id="rId8" Type="http://schemas.openxmlformats.org/officeDocument/2006/relationships/image" Target="../media/image61.png"/><Relationship Id="rId7" Type="http://schemas.openxmlformats.org/officeDocument/2006/relationships/image" Target="../media/image60.png"/><Relationship Id="rId6" Type="http://schemas.openxmlformats.org/officeDocument/2006/relationships/image" Target="../media/image59.png"/><Relationship Id="rId5" Type="http://schemas.openxmlformats.org/officeDocument/2006/relationships/image" Target="../media/image58.jpeg"/><Relationship Id="rId4" Type="http://schemas.openxmlformats.org/officeDocument/2006/relationships/image" Target="../media/image57.png"/><Relationship Id="rId3" Type="http://schemas.openxmlformats.org/officeDocument/2006/relationships/image" Target="../media/image2.emf"/><Relationship Id="rId2" Type="http://schemas.openxmlformats.org/officeDocument/2006/relationships/oleObject" Target="../embeddings/oleObject90.bin"/><Relationship Id="rId15" Type="http://schemas.openxmlformats.org/officeDocument/2006/relationships/vmlDrawing" Target="../drawings/vmlDrawing90.vml"/><Relationship Id="rId14" Type="http://schemas.openxmlformats.org/officeDocument/2006/relationships/slideLayout" Target="../slideLayouts/slideLayout70.xml"/><Relationship Id="rId13" Type="http://schemas.openxmlformats.org/officeDocument/2006/relationships/image" Target="../media/image66.png"/><Relationship Id="rId12" Type="http://schemas.openxmlformats.org/officeDocument/2006/relationships/image" Target="../media/image65.png"/><Relationship Id="rId11" Type="http://schemas.openxmlformats.org/officeDocument/2006/relationships/image" Target="../media/image64.png"/><Relationship Id="rId10" Type="http://schemas.openxmlformats.org/officeDocument/2006/relationships/image" Target="../media/image63.png"/><Relationship Id="rId1" Type="http://schemas.openxmlformats.org/officeDocument/2006/relationships/tags" Target="../tags/tag186.xml"/></Relationships>
</file>

<file path=ppt/slides/_rels/slide1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91.vml"/><Relationship Id="rId5" Type="http://schemas.openxmlformats.org/officeDocument/2006/relationships/slideLayout" Target="../slideLayouts/slideLayout70.xml"/><Relationship Id="rId4" Type="http://schemas.openxmlformats.org/officeDocument/2006/relationships/image" Target="../media/image8.png"/><Relationship Id="rId3" Type="http://schemas.openxmlformats.org/officeDocument/2006/relationships/image" Target="../media/image2.emf"/><Relationship Id="rId2" Type="http://schemas.openxmlformats.org/officeDocument/2006/relationships/oleObject" Target="../embeddings/oleObject91.bin"/><Relationship Id="rId1" Type="http://schemas.openxmlformats.org/officeDocument/2006/relationships/tags" Target="../tags/tag187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image" Target="../media/image72.svg"/><Relationship Id="rId8" Type="http://schemas.openxmlformats.org/officeDocument/2006/relationships/image" Target="../media/image71.png"/><Relationship Id="rId7" Type="http://schemas.openxmlformats.org/officeDocument/2006/relationships/image" Target="../media/image70.svg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Relationship Id="rId3" Type="http://schemas.openxmlformats.org/officeDocument/2006/relationships/image" Target="../media/image22.emf"/><Relationship Id="rId23" Type="http://schemas.openxmlformats.org/officeDocument/2006/relationships/notesSlide" Target="../notesSlides/notesSlide3.xml"/><Relationship Id="rId22" Type="http://schemas.openxmlformats.org/officeDocument/2006/relationships/vmlDrawing" Target="../drawings/vmlDrawing92.vml"/><Relationship Id="rId21" Type="http://schemas.openxmlformats.org/officeDocument/2006/relationships/slideLayout" Target="../slideLayouts/slideLayout70.xml"/><Relationship Id="rId20" Type="http://schemas.openxmlformats.org/officeDocument/2006/relationships/image" Target="../media/image83.png"/><Relationship Id="rId2" Type="http://schemas.openxmlformats.org/officeDocument/2006/relationships/oleObject" Target="../embeddings/oleObject92.bin"/><Relationship Id="rId19" Type="http://schemas.openxmlformats.org/officeDocument/2006/relationships/image" Target="../media/image82.svg"/><Relationship Id="rId18" Type="http://schemas.openxmlformats.org/officeDocument/2006/relationships/image" Target="../media/image81.png"/><Relationship Id="rId17" Type="http://schemas.openxmlformats.org/officeDocument/2006/relationships/image" Target="../media/image80.svg"/><Relationship Id="rId16" Type="http://schemas.openxmlformats.org/officeDocument/2006/relationships/image" Target="../media/image79.png"/><Relationship Id="rId15" Type="http://schemas.openxmlformats.org/officeDocument/2006/relationships/image" Target="../media/image78.svg"/><Relationship Id="rId14" Type="http://schemas.openxmlformats.org/officeDocument/2006/relationships/image" Target="../media/image77.png"/><Relationship Id="rId13" Type="http://schemas.openxmlformats.org/officeDocument/2006/relationships/image" Target="../media/image76.svg"/><Relationship Id="rId12" Type="http://schemas.openxmlformats.org/officeDocument/2006/relationships/image" Target="../media/image75.png"/><Relationship Id="rId11" Type="http://schemas.openxmlformats.org/officeDocument/2006/relationships/image" Target="../media/image74.svg"/><Relationship Id="rId10" Type="http://schemas.openxmlformats.org/officeDocument/2006/relationships/image" Target="../media/image73.png"/><Relationship Id="rId1" Type="http://schemas.openxmlformats.org/officeDocument/2006/relationships/tags" Target="../tags/tag188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image" Target="../media/image88.png"/><Relationship Id="rId8" Type="http://schemas.openxmlformats.org/officeDocument/2006/relationships/image" Target="../media/image87.png"/><Relationship Id="rId7" Type="http://schemas.openxmlformats.org/officeDocument/2006/relationships/image" Target="../media/image86.png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.png"/><Relationship Id="rId3" Type="http://schemas.openxmlformats.org/officeDocument/2006/relationships/image" Target="../media/image2.emf"/><Relationship Id="rId2" Type="http://schemas.openxmlformats.org/officeDocument/2006/relationships/oleObject" Target="../embeddings/oleObject93.bin"/><Relationship Id="rId12" Type="http://schemas.openxmlformats.org/officeDocument/2006/relationships/vmlDrawing" Target="../drawings/vmlDrawing93.vml"/><Relationship Id="rId11" Type="http://schemas.openxmlformats.org/officeDocument/2006/relationships/slideLayout" Target="../slideLayouts/slideLayout70.xml"/><Relationship Id="rId10" Type="http://schemas.openxmlformats.org/officeDocument/2006/relationships/image" Target="../media/image89.png"/><Relationship Id="rId1" Type="http://schemas.openxmlformats.org/officeDocument/2006/relationships/tags" Target="../tags/tag189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28.png"/><Relationship Id="rId8" Type="http://schemas.openxmlformats.org/officeDocument/2006/relationships/image" Target="../media/image27.png"/><Relationship Id="rId7" Type="http://schemas.openxmlformats.org/officeDocument/2006/relationships/image" Target="../media/image26.png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76.bin"/><Relationship Id="rId13" Type="http://schemas.openxmlformats.org/officeDocument/2006/relationships/vmlDrawing" Target="../drawings/vmlDrawing76.vml"/><Relationship Id="rId12" Type="http://schemas.openxmlformats.org/officeDocument/2006/relationships/slideLayout" Target="../slideLayouts/slideLayout73.xml"/><Relationship Id="rId11" Type="http://schemas.openxmlformats.org/officeDocument/2006/relationships/image" Target="../media/image30.png"/><Relationship Id="rId10" Type="http://schemas.openxmlformats.org/officeDocument/2006/relationships/image" Target="../media/image29.png"/><Relationship Id="rId1" Type="http://schemas.openxmlformats.org/officeDocument/2006/relationships/tags" Target="../tags/tag80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94.vml"/><Relationship Id="rId8" Type="http://schemas.openxmlformats.org/officeDocument/2006/relationships/slideLayout" Target="../slideLayouts/slideLayout70.xml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90.jpe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94.bin"/><Relationship Id="rId1" Type="http://schemas.openxmlformats.org/officeDocument/2006/relationships/tags" Target="../tags/tag190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7.vml"/><Relationship Id="rId6" Type="http://schemas.openxmlformats.org/officeDocument/2006/relationships/slideLayout" Target="../slideLayouts/slideLayout70.xml"/><Relationship Id="rId5" Type="http://schemas.openxmlformats.org/officeDocument/2006/relationships/image" Target="../media/image28.png"/><Relationship Id="rId4" Type="http://schemas.openxmlformats.org/officeDocument/2006/relationships/image" Target="../media/image23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77.bin"/><Relationship Id="rId1" Type="http://schemas.openxmlformats.org/officeDocument/2006/relationships/tags" Target="../tags/tag81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0.xml"/><Relationship Id="rId8" Type="http://schemas.openxmlformats.org/officeDocument/2006/relationships/image" Target="../media/image35.png"/><Relationship Id="rId7" Type="http://schemas.openxmlformats.org/officeDocument/2006/relationships/image" Target="../media/image34.png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78.bin"/><Relationship Id="rId11" Type="http://schemas.openxmlformats.org/officeDocument/2006/relationships/notesSlide" Target="../notesSlides/notesSlide1.xml"/><Relationship Id="rId10" Type="http://schemas.openxmlformats.org/officeDocument/2006/relationships/vmlDrawing" Target="../drawings/vmlDrawing78.vml"/><Relationship Id="rId1" Type="http://schemas.openxmlformats.org/officeDocument/2006/relationships/tags" Target="../tags/tag82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87.xml"/><Relationship Id="rId8" Type="http://schemas.openxmlformats.org/officeDocument/2006/relationships/tags" Target="../tags/tag86.xml"/><Relationship Id="rId7" Type="http://schemas.openxmlformats.org/officeDocument/2006/relationships/tags" Target="../tags/tag85.xml"/><Relationship Id="rId6" Type="http://schemas.openxmlformats.org/officeDocument/2006/relationships/tags" Target="../tags/tag84.xml"/><Relationship Id="rId55" Type="http://schemas.openxmlformats.org/officeDocument/2006/relationships/notesSlide" Target="../notesSlides/notesSlide2.xml"/><Relationship Id="rId54" Type="http://schemas.openxmlformats.org/officeDocument/2006/relationships/vmlDrawing" Target="../drawings/vmlDrawing79.vml"/><Relationship Id="rId53" Type="http://schemas.openxmlformats.org/officeDocument/2006/relationships/slideLayout" Target="../slideLayouts/slideLayout70.xml"/><Relationship Id="rId52" Type="http://schemas.openxmlformats.org/officeDocument/2006/relationships/tags" Target="../tags/tag130.xml"/><Relationship Id="rId51" Type="http://schemas.openxmlformats.org/officeDocument/2006/relationships/tags" Target="../tags/tag129.xml"/><Relationship Id="rId50" Type="http://schemas.openxmlformats.org/officeDocument/2006/relationships/tags" Target="../tags/tag128.xml"/><Relationship Id="rId5" Type="http://schemas.openxmlformats.org/officeDocument/2006/relationships/image" Target="../media/image22.emf"/><Relationship Id="rId49" Type="http://schemas.openxmlformats.org/officeDocument/2006/relationships/tags" Target="../tags/tag127.xml"/><Relationship Id="rId48" Type="http://schemas.openxmlformats.org/officeDocument/2006/relationships/tags" Target="../tags/tag126.xml"/><Relationship Id="rId47" Type="http://schemas.openxmlformats.org/officeDocument/2006/relationships/tags" Target="../tags/tag125.xml"/><Relationship Id="rId46" Type="http://schemas.openxmlformats.org/officeDocument/2006/relationships/tags" Target="../tags/tag124.xml"/><Relationship Id="rId45" Type="http://schemas.openxmlformats.org/officeDocument/2006/relationships/tags" Target="../tags/tag123.xml"/><Relationship Id="rId44" Type="http://schemas.openxmlformats.org/officeDocument/2006/relationships/tags" Target="../tags/tag122.xml"/><Relationship Id="rId43" Type="http://schemas.openxmlformats.org/officeDocument/2006/relationships/tags" Target="../tags/tag121.xml"/><Relationship Id="rId42" Type="http://schemas.openxmlformats.org/officeDocument/2006/relationships/tags" Target="../tags/tag120.xml"/><Relationship Id="rId41" Type="http://schemas.openxmlformats.org/officeDocument/2006/relationships/tags" Target="../tags/tag119.xml"/><Relationship Id="rId40" Type="http://schemas.openxmlformats.org/officeDocument/2006/relationships/tags" Target="../tags/tag118.xml"/><Relationship Id="rId4" Type="http://schemas.openxmlformats.org/officeDocument/2006/relationships/oleObject" Target="../embeddings/oleObject79.bin"/><Relationship Id="rId39" Type="http://schemas.openxmlformats.org/officeDocument/2006/relationships/tags" Target="../tags/tag117.xml"/><Relationship Id="rId38" Type="http://schemas.openxmlformats.org/officeDocument/2006/relationships/tags" Target="../tags/tag116.xml"/><Relationship Id="rId37" Type="http://schemas.openxmlformats.org/officeDocument/2006/relationships/tags" Target="../tags/tag115.xml"/><Relationship Id="rId36" Type="http://schemas.openxmlformats.org/officeDocument/2006/relationships/tags" Target="../tags/tag114.xml"/><Relationship Id="rId35" Type="http://schemas.openxmlformats.org/officeDocument/2006/relationships/tags" Target="../tags/tag113.xml"/><Relationship Id="rId34" Type="http://schemas.openxmlformats.org/officeDocument/2006/relationships/tags" Target="../tags/tag112.xml"/><Relationship Id="rId33" Type="http://schemas.openxmlformats.org/officeDocument/2006/relationships/tags" Target="../tags/tag111.xml"/><Relationship Id="rId32" Type="http://schemas.openxmlformats.org/officeDocument/2006/relationships/tags" Target="../tags/tag110.xml"/><Relationship Id="rId31" Type="http://schemas.openxmlformats.org/officeDocument/2006/relationships/tags" Target="../tags/tag109.xml"/><Relationship Id="rId30" Type="http://schemas.openxmlformats.org/officeDocument/2006/relationships/tags" Target="../tags/tag108.xml"/><Relationship Id="rId3" Type="http://schemas.openxmlformats.org/officeDocument/2006/relationships/tags" Target="../tags/tag83.xml"/><Relationship Id="rId29" Type="http://schemas.openxmlformats.org/officeDocument/2006/relationships/tags" Target="../tags/tag107.xml"/><Relationship Id="rId28" Type="http://schemas.openxmlformats.org/officeDocument/2006/relationships/tags" Target="../tags/tag106.xml"/><Relationship Id="rId27" Type="http://schemas.openxmlformats.org/officeDocument/2006/relationships/tags" Target="../tags/tag105.xml"/><Relationship Id="rId26" Type="http://schemas.openxmlformats.org/officeDocument/2006/relationships/tags" Target="../tags/tag104.xml"/><Relationship Id="rId25" Type="http://schemas.openxmlformats.org/officeDocument/2006/relationships/tags" Target="../tags/tag103.xml"/><Relationship Id="rId24" Type="http://schemas.openxmlformats.org/officeDocument/2006/relationships/tags" Target="../tags/tag102.xml"/><Relationship Id="rId23" Type="http://schemas.openxmlformats.org/officeDocument/2006/relationships/tags" Target="../tags/tag101.xml"/><Relationship Id="rId22" Type="http://schemas.openxmlformats.org/officeDocument/2006/relationships/tags" Target="../tags/tag100.xml"/><Relationship Id="rId21" Type="http://schemas.openxmlformats.org/officeDocument/2006/relationships/tags" Target="../tags/tag99.xml"/><Relationship Id="rId20" Type="http://schemas.openxmlformats.org/officeDocument/2006/relationships/tags" Target="../tags/tag98.xml"/><Relationship Id="rId2" Type="http://schemas.openxmlformats.org/officeDocument/2006/relationships/chart" Target="../charts/chart2.xml"/><Relationship Id="rId19" Type="http://schemas.openxmlformats.org/officeDocument/2006/relationships/tags" Target="../tags/tag97.xml"/><Relationship Id="rId18" Type="http://schemas.openxmlformats.org/officeDocument/2006/relationships/tags" Target="../tags/tag96.xml"/><Relationship Id="rId17" Type="http://schemas.openxmlformats.org/officeDocument/2006/relationships/tags" Target="../tags/tag95.xml"/><Relationship Id="rId16" Type="http://schemas.openxmlformats.org/officeDocument/2006/relationships/tags" Target="../tags/tag94.xml"/><Relationship Id="rId15" Type="http://schemas.openxmlformats.org/officeDocument/2006/relationships/tags" Target="../tags/tag93.xml"/><Relationship Id="rId14" Type="http://schemas.openxmlformats.org/officeDocument/2006/relationships/tags" Target="../tags/tag92.xml"/><Relationship Id="rId13" Type="http://schemas.openxmlformats.org/officeDocument/2006/relationships/tags" Target="../tags/tag91.xml"/><Relationship Id="rId12" Type="http://schemas.openxmlformats.org/officeDocument/2006/relationships/tags" Target="../tags/tag90.xml"/><Relationship Id="rId11" Type="http://schemas.openxmlformats.org/officeDocument/2006/relationships/tags" Target="../tags/tag89.xml"/><Relationship Id="rId10" Type="http://schemas.openxmlformats.org/officeDocument/2006/relationships/tags" Target="../tags/tag88.xml"/><Relationship Id="rId1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41.svg"/><Relationship Id="rId8" Type="http://schemas.openxmlformats.org/officeDocument/2006/relationships/image" Target="../media/image40.png"/><Relationship Id="rId7" Type="http://schemas.openxmlformats.org/officeDocument/2006/relationships/image" Target="../media/image39.svg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80.bin"/><Relationship Id="rId15" Type="http://schemas.openxmlformats.org/officeDocument/2006/relationships/vmlDrawing" Target="../drawings/vmlDrawing80.vml"/><Relationship Id="rId14" Type="http://schemas.openxmlformats.org/officeDocument/2006/relationships/slideLayout" Target="../slideLayouts/slideLayout70.xml"/><Relationship Id="rId13" Type="http://schemas.openxmlformats.org/officeDocument/2006/relationships/image" Target="../media/image45.svg"/><Relationship Id="rId12" Type="http://schemas.openxmlformats.org/officeDocument/2006/relationships/image" Target="../media/image44.png"/><Relationship Id="rId11" Type="http://schemas.openxmlformats.org/officeDocument/2006/relationships/image" Target="../media/image43.svg"/><Relationship Id="rId10" Type="http://schemas.openxmlformats.org/officeDocument/2006/relationships/image" Target="../media/image42.png"/><Relationship Id="rId1" Type="http://schemas.openxmlformats.org/officeDocument/2006/relationships/tags" Target="../tags/tag131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1.vml"/><Relationship Id="rId6" Type="http://schemas.openxmlformats.org/officeDocument/2006/relationships/slideLayout" Target="../slideLayouts/slideLayout70.xml"/><Relationship Id="rId5" Type="http://schemas.openxmlformats.org/officeDocument/2006/relationships/image" Target="../media/image27.png"/><Relationship Id="rId4" Type="http://schemas.openxmlformats.org/officeDocument/2006/relationships/image" Target="../media/image24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81.bin"/><Relationship Id="rId1" Type="http://schemas.openxmlformats.org/officeDocument/2006/relationships/tags" Target="../tags/tag132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0.xml"/><Relationship Id="rId8" Type="http://schemas.openxmlformats.org/officeDocument/2006/relationships/image" Target="../media/image50.png"/><Relationship Id="rId7" Type="http://schemas.openxmlformats.org/officeDocument/2006/relationships/image" Target="../media/image49.png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82.bin"/><Relationship Id="rId10" Type="http://schemas.openxmlformats.org/officeDocument/2006/relationships/vmlDrawing" Target="../drawings/vmlDrawing82.vml"/><Relationship Id="rId1" Type="http://schemas.openxmlformats.org/officeDocument/2006/relationships/tags" Target="../tags/tag133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3.vml"/><Relationship Id="rId6" Type="http://schemas.openxmlformats.org/officeDocument/2006/relationships/slideLayout" Target="../slideLayouts/slideLayout70.xml"/><Relationship Id="rId5" Type="http://schemas.openxmlformats.org/officeDocument/2006/relationships/image" Target="../media/image29.png"/><Relationship Id="rId4" Type="http://schemas.openxmlformats.org/officeDocument/2006/relationships/image" Target="../media/image25.png"/><Relationship Id="rId3" Type="http://schemas.openxmlformats.org/officeDocument/2006/relationships/image" Target="../media/image22.emf"/><Relationship Id="rId2" Type="http://schemas.openxmlformats.org/officeDocument/2006/relationships/oleObject" Target="../embeddings/oleObject83.bin"/><Relationship Id="rId1" Type="http://schemas.openxmlformats.org/officeDocument/2006/relationships/tags" Target="../tags/tag1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8255" imgH="8255" progId="TCLayout.ActiveDocument.1">
                  <p:embed/>
                </p:oleObj>
              </mc:Choice>
              <mc:Fallback>
                <p:oleObj name="think-cell Slide" r:id="rId2" imgW="8255" imgH="825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321009" y="2624231"/>
            <a:ext cx="6726506" cy="1435368"/>
          </a:xfrm>
        </p:spPr>
        <p:txBody>
          <a:bodyPr vert="horz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Deepening the Role of Leasing in Stimulating Inclusive Growth and Economic Development In Nigeria</a:t>
            </a:r>
            <a:endParaRPr lang="en-US" b="1" dirty="0">
              <a:solidFill>
                <a:srgbClr val="FFC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" name="Subtitle 2"/>
          <p:cNvSpPr txBox="1"/>
          <p:nvPr/>
        </p:nvSpPr>
        <p:spPr>
          <a:xfrm>
            <a:off x="10484285" y="6433458"/>
            <a:ext cx="1707715" cy="280493"/>
          </a:xfrm>
          <a:prstGeom prst="rect">
            <a:avLst/>
          </a:prstGeom>
        </p:spPr>
        <p:txBody>
          <a:bodyPr>
            <a:noAutofit/>
          </a:bodyPr>
          <a:lstStyle>
            <a:lvl1pPr marL="222885" indent="-222885" algn="l" defTabSz="891540" rtl="0" eaLnBrk="1" latinLnBrk="0" hangingPunct="1">
              <a:lnSpc>
                <a:spcPct val="90000"/>
              </a:lnSpc>
              <a:spcBef>
                <a:spcPts val="975"/>
              </a:spcBef>
              <a:buFont typeface="Arial" panose="020B0604020202020204" pitchFamily="34" charset="0"/>
              <a:buChar char="•"/>
              <a:defRPr sz="27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8655" indent="-222885" algn="l" defTabSz="891540" rtl="0" eaLnBrk="1" latinLnBrk="0" hangingPunct="1">
              <a:lnSpc>
                <a:spcPct val="90000"/>
              </a:lnSpc>
              <a:spcBef>
                <a:spcPts val="490"/>
              </a:spcBef>
              <a:buFont typeface="Arial" panose="020B0604020202020204" pitchFamily="34" charset="0"/>
              <a:buChar char="•"/>
              <a:defRPr sz="23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4425" indent="-222885" algn="l" defTabSz="891540" rtl="0" eaLnBrk="1" latinLnBrk="0" hangingPunct="1">
              <a:lnSpc>
                <a:spcPct val="90000"/>
              </a:lnSpc>
              <a:spcBef>
                <a:spcPts val="490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0195" indent="-222885" algn="l" defTabSz="891540" rtl="0" eaLnBrk="1" latinLnBrk="0" hangingPunct="1">
              <a:lnSpc>
                <a:spcPct val="90000"/>
              </a:lnSpc>
              <a:spcBef>
                <a:spcPts val="490"/>
              </a:spcBef>
              <a:buFont typeface="Arial" panose="020B0604020202020204" pitchFamily="34" charset="0"/>
              <a:buChar char="•"/>
              <a:defRPr sz="17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05965" indent="-222885" algn="l" defTabSz="891540" rtl="0" eaLnBrk="1" latinLnBrk="0" hangingPunct="1">
              <a:lnSpc>
                <a:spcPct val="90000"/>
              </a:lnSpc>
              <a:spcBef>
                <a:spcPts val="490"/>
              </a:spcBef>
              <a:buFont typeface="Arial" panose="020B0604020202020204" pitchFamily="34" charset="0"/>
              <a:buChar char="•"/>
              <a:defRPr sz="17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1735" indent="-222885" algn="l" defTabSz="891540" rtl="0" eaLnBrk="1" latinLnBrk="0" hangingPunct="1">
              <a:lnSpc>
                <a:spcPct val="90000"/>
              </a:lnSpc>
              <a:spcBef>
                <a:spcPts val="490"/>
              </a:spcBef>
              <a:buFont typeface="Arial" panose="020B0604020202020204" pitchFamily="34" charset="0"/>
              <a:buChar char="•"/>
              <a:defRPr sz="17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97505" indent="-222885" algn="l" defTabSz="891540" rtl="0" eaLnBrk="1" latinLnBrk="0" hangingPunct="1">
              <a:lnSpc>
                <a:spcPct val="90000"/>
              </a:lnSpc>
              <a:spcBef>
                <a:spcPts val="490"/>
              </a:spcBef>
              <a:buFont typeface="Arial" panose="020B0604020202020204" pitchFamily="34" charset="0"/>
              <a:buChar char="•"/>
              <a:defRPr sz="17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3275" indent="-222885" algn="l" defTabSz="891540" rtl="0" eaLnBrk="1" latinLnBrk="0" hangingPunct="1">
              <a:lnSpc>
                <a:spcPct val="90000"/>
              </a:lnSpc>
              <a:spcBef>
                <a:spcPts val="490"/>
              </a:spcBef>
              <a:buFont typeface="Arial" panose="020B0604020202020204" pitchFamily="34" charset="0"/>
              <a:buChar char="•"/>
              <a:defRPr sz="17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9045" indent="-222885" algn="l" defTabSz="891540" rtl="0" eaLnBrk="1" latinLnBrk="0" hangingPunct="1">
              <a:lnSpc>
                <a:spcPct val="90000"/>
              </a:lnSpc>
              <a:spcBef>
                <a:spcPts val="490"/>
              </a:spcBef>
              <a:buFont typeface="Arial" panose="020B0604020202020204" pitchFamily="34" charset="0"/>
              <a:buChar char="•"/>
              <a:defRPr sz="17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91540" rtl="0" eaLnBrk="1" fontAlgn="auto" latinLnBrk="0" hangingPunct="1">
              <a:lnSpc>
                <a:spcPct val="90000"/>
              </a:lnSpc>
              <a:spcBef>
                <a:spcPts val="9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EAAB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November 2025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EAAB0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16043" y="0"/>
            <a:ext cx="15881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L USE ONLY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itle 1"/>
          <p:cNvSpPr txBox="1"/>
          <p:nvPr/>
        </p:nvSpPr>
        <p:spPr>
          <a:xfrm>
            <a:off x="6515144" y="4073291"/>
            <a:ext cx="3430522" cy="5100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8915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EAAB00"/>
                </a:solidFill>
                <a:latin typeface="Frutiger LT 65 Bold" panose="020B0803030504020204" pitchFamily="34" charset="0"/>
                <a:ea typeface="+mj-ea"/>
                <a:cs typeface="+mj-cs"/>
              </a:defRPr>
            </a:lvl1pPr>
          </a:lstStyle>
          <a:p>
            <a:pPr marL="0" marR="0" lvl="0" indent="0" defTabSz="89154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Arial" panose="020B0604020202020204" pitchFamily="34" charset="0"/>
              </a:rPr>
              <a:t>23</a:t>
            </a:r>
            <a:r>
              <a:rPr kumimoji="0" lang="en-US" sz="2000" b="1" i="0" u="none" strike="noStrike" kern="1200" cap="none" spc="0" normalizeH="0" baseline="3000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Arial" panose="020B0604020202020204" pitchFamily="34" charset="0"/>
              </a:rPr>
              <a:t>r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Arial" panose="020B0604020202020204" pitchFamily="34" charset="0"/>
              </a:rPr>
              <a:t> National  Lease Conferenc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 Light" panose="020F0302020204030204"/>
              <a:ea typeface="+mj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/>
          <p:cNvSpPr/>
          <p:nvPr/>
        </p:nvSpPr>
        <p:spPr>
          <a:xfrm>
            <a:off x="91436" y="1169015"/>
            <a:ext cx="11987284" cy="5422854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igeria’s oil and gas sector is a dominant driver of the economy. Anticipated expansion in this sector presents significant opportunities for the leasing industry</a:t>
            </a:r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42" name="Chart 41"/>
          <p:cNvGraphicFramePr/>
          <p:nvPr>
            <p:custDataLst>
              <p:tags r:id="rId6"/>
            </p:custDataLst>
          </p:nvPr>
        </p:nvGraphicFramePr>
        <p:xfrm>
          <a:off x="200025" y="2076450"/>
          <a:ext cx="3355975" cy="1455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cxnSp>
        <p:nvCxnSpPr>
          <p:cNvPr id="46" name="Straight Connector 45"/>
          <p:cNvCxnSpPr/>
          <p:nvPr>
            <p:custDataLst>
              <p:tags r:id="rId7"/>
            </p:custDataLst>
          </p:nvPr>
        </p:nvCxnSpPr>
        <p:spPr bwMode="gray">
          <a:xfrm flipV="1">
            <a:off x="812799" y="1697038"/>
            <a:ext cx="2127250" cy="455613"/>
          </a:xfrm>
          <a:prstGeom prst="line">
            <a:avLst/>
          </a:prstGeom>
          <a:ln w="9525" cap="flat" cmpd="sng" algn="ctr">
            <a:solidFill>
              <a:srgbClr val="A5A5A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50875" y="3500438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A7429BD6-D373-447A-A8EE-48585D1A03E4}" type="datetime'''''''2''''''''02''''''''''''''2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14500" y="3500438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DFD596BB-D9C8-4B42-ADC5-F1C9668C0732}" type="datetime'''''2''''''''0''''''''''''''''''''''''''2''''''3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778125" y="3500438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3216AF43-C546-4C6F-B7AD-B01F4D4F4182}" type="datetime'''''''''''''''''''2''''''0''''''''''''''''2''''''4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15950" y="2387600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0421A2D3-4D51-417A-A642-E0378D0AC6FB}" type="datetime'8''''''''''''''''9''''''''''''''''''3''.8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86050" y="1931988"/>
            <a:ext cx="509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99D74213-B926-46C8-A9E2-CD1F4EE0A061}" type="datetime'1,38''0''''''''''.''8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22425" y="2168525"/>
            <a:ext cx="509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578A1603-E9EA-4D82-BE5E-893E18044C84}" type="datetime'''1'''''''''',''''''1''2''''''7.7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549400" y="1781175"/>
            <a:ext cx="654050" cy="285750"/>
          </a:xfrm>
          <a:prstGeom prst="ellipse">
            <a:avLst/>
          </a:prstGeom>
          <a:solidFill>
            <a:srgbClr val="022E64"/>
          </a:solidFill>
          <a:ln w="9525" cmpd="sng" algn="ctr">
            <a:solidFill>
              <a:srgbClr val="022E64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1859D8FE-88B4-4FB8-BF44-F3A58717BAFA}" type="datetime'+''''''''''''''''2''4''''''''''''.''''''''''3''%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82575" y="1198761"/>
            <a:ext cx="3190875" cy="307777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Oil/ Gas Leasing Volume (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NGN’m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4" name="Straight Connector 63"/>
          <p:cNvCxnSpPr/>
          <p:nvPr/>
        </p:nvCxnSpPr>
        <p:spPr>
          <a:xfrm>
            <a:off x="3870538" y="1242773"/>
            <a:ext cx="0" cy="508556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72594" y="6382365"/>
            <a:ext cx="6106438" cy="276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ource: 2024 ELAN Lease volume story, International Trade Administration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032462" y="1342277"/>
            <a:ext cx="8046258" cy="50855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igeria remains a leading African oil producer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ecognise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for its high-value, low-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ulphu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crude oil and significant liquefied natural gas (LNG) exports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s a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ominan</a:t>
            </a:r>
            <a:r>
              <a:rPr lang="en-US" sz="16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 contributor to the national economy, 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he Oil and Gas sector</a:t>
            </a:r>
            <a:r>
              <a:rPr lang="en-US" sz="16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s also the leading driver of the leasing industry growth,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accounting for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bout 26.7% of total lease volumes in 2024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sector’s growth is driven by increase in exploration and production activities</a:t>
            </a:r>
            <a:r>
              <a:rPr lang="en-US" sz="16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. Both e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xist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players and new entrants increasingly rely on equipment leasing due to capital intensiveness of the sector, rapid technological advancement, and greater financial flexibility offered by leasing in assets acquisition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ooking ahead,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the sector is poised for s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nificant expansion</a:t>
            </a:r>
            <a:r>
              <a:rPr lang="en-US" sz="16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, driven by rising local and export demand, continued investment, technological innovation, and Nigeria’s ongoing energy transition initiatives (CNG, Solar)</a:t>
            </a:r>
            <a:endParaRPr lang="en-US" sz="16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ith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duction levels </a:t>
            </a:r>
            <a:r>
              <a:rPr lang="en-US" sz="16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xpected to grow abov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5million barrels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per day and increased adoption of advance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echnologies,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the demand for leased equipment is set to increase in the coming years.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47" name="Chart 46"/>
          <p:cNvGraphicFramePr/>
          <p:nvPr>
            <p:custDataLst>
              <p:tags r:id="rId15"/>
            </p:custDataLst>
          </p:nvPr>
        </p:nvGraphicFramePr>
        <p:xfrm>
          <a:off x="246063" y="4010025"/>
          <a:ext cx="2808287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20938" y="4473575"/>
            <a:ext cx="7032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51183DD1-55DE-49C2-AB8A-3E61DC85425C}" type="datetime'Oil'''' ''a''''''nd'''' ''''''''G''a''''''''s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6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63550" y="6013450"/>
            <a:ext cx="4175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E7A631EC-A2C6-4CB6-80BE-A79CCFD1FF4A}" type="datetime'''''Ot''''''h''''''''''e''''rs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22907" y="3956050"/>
            <a:ext cx="3400856" cy="307777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Distribution of Lease Volume by sector (2024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ctangle 106"/>
          <p:cNvSpPr/>
          <p:nvPr/>
        </p:nvSpPr>
        <p:spPr>
          <a:xfrm>
            <a:off x="91436" y="1169015"/>
            <a:ext cx="11987284" cy="5422854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igeria’s thriving transportation and logistics sector presents significant opportunities for leasing sector growth</a:t>
            </a:r>
            <a:endParaRPr lang="en-US" sz="2000" dirty="0"/>
          </a:p>
        </p:txBody>
      </p:sp>
      <p:cxnSp>
        <p:nvCxnSpPr>
          <p:cNvPr id="64" name="Straight Connector 63"/>
          <p:cNvCxnSpPr/>
          <p:nvPr/>
        </p:nvCxnSpPr>
        <p:spPr>
          <a:xfrm>
            <a:off x="3849688" y="1670050"/>
            <a:ext cx="0" cy="2160588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2594" y="6282157"/>
            <a:ext cx="6106438" cy="276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ource: 2024 ELAN Lease volume story, International Trade Administration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23478" y="4217175"/>
            <a:ext cx="11908816" cy="20467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igeria’s Transport and logistics sector has experienced significant growth, valued at about NGN120 billion in 2024, with a 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jected compound annual growth rate (CAGR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of 4% by 2029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vestment in rail and port infrastructures alongside </a:t>
            </a:r>
            <a:r>
              <a:rPr lang="en-US" sz="1600" noProof="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ise of e-commerce and strong cross-border trade has significantly bolstered sectoral growth. In 2024, lease volumes in the sector reached 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G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18bn, representing 22.9% of total lease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is surge in lease volumes 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eflect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ccelerating e-commerce, infrastructure expansion and rising equipment and operational cost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outlook remains positive for this sector, driven by steady market growth, technological adoption, e-commerce expansion, infrastructural investments, and increased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oreign direct investment. This presents opportunities for the leasing industry in the coming year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11" name="Chart 110"/>
          <p:cNvGraphicFramePr/>
          <p:nvPr>
            <p:custDataLst>
              <p:tags r:id="rId7"/>
            </p:custDataLst>
          </p:nvPr>
        </p:nvGraphicFramePr>
        <p:xfrm>
          <a:off x="71438" y="2198688"/>
          <a:ext cx="3543300" cy="1719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cxnSp>
        <p:nvCxnSpPr>
          <p:cNvPr id="25" name="Straight Connector 24"/>
          <p:cNvCxnSpPr/>
          <p:nvPr>
            <p:custDataLst>
              <p:tags r:id="rId8"/>
            </p:custDataLst>
          </p:nvPr>
        </p:nvCxnSpPr>
        <p:spPr bwMode="gray">
          <a:xfrm flipV="1">
            <a:off x="715963" y="1851025"/>
            <a:ext cx="2252663" cy="1154113"/>
          </a:xfrm>
          <a:prstGeom prst="line">
            <a:avLst/>
          </a:prstGeom>
          <a:ln w="9525" cap="flat" cmpd="sng" algn="ctr">
            <a:solidFill>
              <a:srgbClr val="A5A5A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4038" y="3886200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B544FF38-16E0-4CD4-9ED0-BBFB9A0B5A18}" type="datetime'''''''''''''''''''''''''''''2''0''''''''''22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679575" y="3886200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811D3F38-3F6F-4A82-ABEE-9F8C12188228}" type="datetime'''''''20''2''''''''''3''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06700" y="3886200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48987E3A-576D-403E-B63B-C2465708AA9D}" type="datetime'''''''2''''''''''''''''''''0''''''''''24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58800" y="3208338"/>
            <a:ext cx="3159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FC367ABB-6699-44A4-AC6C-08B3BFC9433F}" type="datetime'''''''3''''''''''''''''''0''''.''9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84338" y="2767013"/>
            <a:ext cx="3159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FD3D879A-399C-4C62-9283-0190905166C8}" type="datetime'''65''.''''''0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771775" y="2054225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9BE6BB49-8C7F-4F6B-88B7-0F219C87A98B}" type="datetime'1''1''''''''''''''''''9''''''''''.''''9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514475" y="2284413"/>
            <a:ext cx="654050" cy="285750"/>
          </a:xfrm>
          <a:prstGeom prst="ellipse">
            <a:avLst/>
          </a:prstGeom>
          <a:solidFill>
            <a:srgbClr val="022E64"/>
          </a:solidFill>
          <a:ln w="9525" cmpd="sng" algn="ctr">
            <a:solidFill>
              <a:srgbClr val="022E64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2B0667B2-42C6-4524-A939-33CD87355E44}" type="datetime'+''''''''''''''''9''''''''''''''''7.''''''''''''0''''%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73042" y="1327150"/>
            <a:ext cx="3190875" cy="307777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Logistics Total Market size (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NGN’b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2" name="Chart 111"/>
          <p:cNvGraphicFramePr/>
          <p:nvPr>
            <p:custDataLst>
              <p:tags r:id="rId16"/>
            </p:custDataLst>
          </p:nvPr>
        </p:nvGraphicFramePr>
        <p:xfrm>
          <a:off x="4116388" y="2411413"/>
          <a:ext cx="3768725" cy="1506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5" name="Straight Connector 64"/>
          <p:cNvCxnSpPr/>
          <p:nvPr>
            <p:custDataLst>
              <p:tags r:id="rId17"/>
            </p:custDataLst>
          </p:nvPr>
        </p:nvCxnSpPr>
        <p:spPr bwMode="gray">
          <a:xfrm flipV="1">
            <a:off x="4799013" y="2016125"/>
            <a:ext cx="2401888" cy="476250"/>
          </a:xfrm>
          <a:prstGeom prst="line">
            <a:avLst/>
          </a:prstGeom>
          <a:ln w="9525" cap="flat" cmpd="sng" algn="ctr">
            <a:solidFill>
              <a:srgbClr val="A5A5A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637088" y="3886200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77B70D0D-FC4A-424B-9252-E83B0C5CDA87}" type="datetime'''''''''''''''''2''''''''''''''0''''''2''''''''2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9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838825" y="3886200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C433341D-9C89-4AC5-85D9-FE29DD9710B9}" type="datetime'''2''''''''''''''''''''''''0''''''''2''''''''3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038975" y="3886200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CBBA05E3-33B8-4495-94E4-F77009D84E84}" type="datetime'''''''''''''''''2''''''''''''''''''''02''''''''''''4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602163" y="2743200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51E9C898-137F-417C-B6BE-E6A620E74E96}" type="datetime'''7''''''''6''''''''''1''''''''''.9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2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803900" y="2498725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4C11EDC4-C556-41EB-8B60-250B80223A3E}" type="datetime'''9''''''''''7''''''''''''''''''''7''''''''''.1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3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946900" y="2266950"/>
            <a:ext cx="5095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A02C8D44-9C55-4A76-B985-8128A59C4A14}" type="datetime'1,''''''''''''''''''''''1''''''''8''''''1''''''.''''5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672138" y="2111375"/>
            <a:ext cx="654050" cy="285750"/>
          </a:xfrm>
          <a:prstGeom prst="ellipse">
            <a:avLst/>
          </a:prstGeom>
          <a:solidFill>
            <a:srgbClr val="022E64"/>
          </a:solidFill>
          <a:ln w="9525" cmpd="sng" algn="ctr">
            <a:solidFill>
              <a:srgbClr val="022E64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3BFBF1CE-7C5D-4C58-A5BC-6513C598FFD9}" type="datetime'''''''+''''24''''''''.''5''''''''''''''''''''''''''''%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188445" y="1328738"/>
            <a:ext cx="3396630" cy="307777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Transport/Logistics Leasing Volume (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NGN’m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9" name="Straight Connector 88"/>
          <p:cNvCxnSpPr/>
          <p:nvPr/>
        </p:nvCxnSpPr>
        <p:spPr>
          <a:xfrm>
            <a:off x="8051104" y="1679575"/>
            <a:ext cx="0" cy="2159000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4" name="Chart 113"/>
          <p:cNvGraphicFramePr/>
          <p:nvPr>
            <p:custDataLst>
              <p:tags r:id="rId25"/>
            </p:custDataLst>
          </p:nvPr>
        </p:nvGraphicFramePr>
        <p:xfrm>
          <a:off x="8466138" y="1520825"/>
          <a:ext cx="2808287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3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536238" y="1887538"/>
            <a:ext cx="14128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46292FC1-4497-4109-B028-639531A50C8B}" type="datetime'Tra''nsp''o''''rt'''''' a''nd ''''Lo''''''g''i''''''''s''tics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4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789988" y="3621088"/>
            <a:ext cx="4175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1B22551B-9F42-44B6-96EB-B51C747C2260}" type="datetime'''O''''''t''h''''''''''e''''''''''''r''s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8355253" y="1352550"/>
            <a:ext cx="3400856" cy="307975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Distribution of Lease Volume by sector (2024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igeria’s manufacturing sector continues to rely heavily on equipment leasing to meet its high capital and innovation demands</a:t>
            </a:r>
            <a:endParaRPr lang="en-US" sz="2000" dirty="0"/>
          </a:p>
        </p:txBody>
      </p:sp>
      <p:graphicFrame>
        <p:nvGraphicFramePr>
          <p:cNvPr id="52" name="Chart 51"/>
          <p:cNvGraphicFramePr/>
          <p:nvPr>
            <p:custDataLst>
              <p:tags r:id="rId6"/>
            </p:custDataLst>
          </p:nvPr>
        </p:nvGraphicFramePr>
        <p:xfrm>
          <a:off x="784225" y="2060575"/>
          <a:ext cx="4016375" cy="1746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cxnSp>
        <p:nvCxnSpPr>
          <p:cNvPr id="46" name="Straight Connector 45"/>
          <p:cNvCxnSpPr/>
          <p:nvPr>
            <p:custDataLst>
              <p:tags r:id="rId7"/>
            </p:custDataLst>
          </p:nvPr>
        </p:nvCxnSpPr>
        <p:spPr bwMode="gray">
          <a:xfrm flipV="1">
            <a:off x="1508124" y="1668463"/>
            <a:ext cx="2566988" cy="554038"/>
          </a:xfrm>
          <a:prstGeom prst="line">
            <a:avLst/>
          </a:prstGeom>
          <a:ln w="9525" cap="flat" cmpd="sng" algn="ctr">
            <a:solidFill>
              <a:srgbClr val="A5A5A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46200" y="377507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A7429BD6-D373-447A-A8EE-48585D1A03E4}" type="datetime'''''''2''''''''02''''''''''''''2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628900" y="377507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DFD596BB-D9C8-4B42-ADC5-F1C9668C0732}" type="datetime'''''2''''''''0''''''''''''''''''''''''''2''''''3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913188" y="377507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3216AF43-C546-4C6F-B7AD-B01F4D4F4182}" type="datetime'''''''''''''''''''2''''''0''''''''''''''''2''''''4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311275" y="2470150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EB4A09A8-AE55-4C41-9E87-6D8E948B2267}" type="datetime'''''''''''''4''7''6''.''''''8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593975" y="2189163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7ADB3C7F-268B-465E-9B92-7F7424211083}" type="datetime'''''''''''''''''6''''0''''''''7''.''''''''''''''''''8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878263" y="1916113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89DB7AF3-04E0-408C-BA8D-1D5178386568}" type="datetime'''''''''''734''''.''3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463800" y="1801813"/>
            <a:ext cx="654050" cy="285750"/>
          </a:xfrm>
          <a:prstGeom prst="ellipse">
            <a:avLst/>
          </a:prstGeom>
          <a:solidFill>
            <a:srgbClr val="022E64"/>
          </a:solidFill>
          <a:ln w="9525" cmpd="sng" algn="ctr">
            <a:solidFill>
              <a:srgbClr val="022E64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8358E28C-ED30-4601-A0E9-C4FD4163B6B8}" type="datetime'''''''''''''''''''''''''''''''+24''''.''''''''1''%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195387" y="1213875"/>
            <a:ext cx="3190875" cy="307777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Manufacturing Leasing Volume (#’m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4" name="Straight Connector 63"/>
          <p:cNvCxnSpPr/>
          <p:nvPr/>
        </p:nvCxnSpPr>
        <p:spPr>
          <a:xfrm>
            <a:off x="6112227" y="1566808"/>
            <a:ext cx="0" cy="2160000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72594" y="6419943"/>
            <a:ext cx="6106438" cy="276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ource: 2024 ELAN Lease volume story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4272750"/>
            <a:ext cx="12119406" cy="21510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manufacturing sector in Nigeria has experienced a remarkable transformation recent years, driven by government initiatives, economic expansion, and technological innovation. Key industries include automotives, consumer goods, chemicals, and pharmaceutical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ue to the high capital intensiveness and rising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echnological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requirements, manufacturing companies rely heavily on equipment leasing. The leasing volumes in this sector accounted for over 14% of Nigeria’s total lease volumes in 2024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ntinue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 i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vestment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in industrialization and a focus on export-oriented manufacturing presents opportunities for </a:t>
            </a:r>
            <a:r>
              <a:rPr lang="en-US" sz="1600" noProof="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leasing industry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43" name="Chart 42"/>
          <p:cNvGraphicFramePr/>
          <p:nvPr>
            <p:custDataLst>
              <p:tags r:id="rId15"/>
            </p:custDataLst>
          </p:nvPr>
        </p:nvGraphicFramePr>
        <p:xfrm>
          <a:off x="7542213" y="1377950"/>
          <a:ext cx="2808287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339263" y="1579563"/>
            <a:ext cx="9112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anufactur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135938" y="3643313"/>
            <a:ext cx="4175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7D2DAE07-50AC-4101-A833-7FF61F21386F}" type="datetime'''O''''''''''''t''h''e''''''''''''''''''r''s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102345" y="1208088"/>
            <a:ext cx="3400425" cy="307975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Distribution of Lease Volume by sector (2024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1332" y="1138452"/>
            <a:ext cx="12100564" cy="5490995"/>
          </a:xfrm>
          <a:prstGeom prst="rect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cross key sectors, leasing presents strategic opportunities to bridge financing gaps, enable technology adoption and drive sectoral growth in Nigeria </a:t>
            </a:r>
            <a:r>
              <a:rPr lang="en-US" sz="12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… (1/2)</a:t>
            </a:r>
            <a:endParaRPr lang="en-US" sz="2000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8830835" y="1390388"/>
            <a:ext cx="0" cy="508556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2242832" y="1503494"/>
            <a:ext cx="6480000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ransportation and Logistics</a:t>
            </a: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rapid growth of e-commerce, doorstep deliveries and haulage services has highlighted gaps in transport fleet operational efficienci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ransportation companies therefore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need to rely on leasing modern logistics </a:t>
            </a:r>
            <a:r>
              <a:rPr kumimoji="0" lang="en-US" sz="16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quipmen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 to bridge existing gaps, reduce capital outlay, and scale operatio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981162" y="1503493"/>
            <a:ext cx="2977845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cale fleet leasing solutions (cars, motorcycles and trucks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xplore B2B partnerships with aggregators or logistics startup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3858" y="1234235"/>
            <a:ext cx="11987284" cy="5395212"/>
          </a:xfrm>
          <a:prstGeom prst="rect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2118977" y="1390388"/>
            <a:ext cx="0" cy="508556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0" name="Group 19"/>
          <p:cNvGrpSpPr/>
          <p:nvPr/>
        </p:nvGrpSpPr>
        <p:grpSpPr>
          <a:xfrm>
            <a:off x="527332" y="1724921"/>
            <a:ext cx="914400" cy="914400"/>
            <a:chOff x="-2425464" y="4551335"/>
            <a:chExt cx="914400" cy="914400"/>
          </a:xfrm>
        </p:grpSpPr>
        <p:sp>
          <p:nvSpPr>
            <p:cNvPr id="21" name="Oval 20"/>
            <p:cNvSpPr/>
            <p:nvPr/>
          </p:nvSpPr>
          <p:spPr>
            <a:xfrm>
              <a:off x="-2425464" y="4551335"/>
              <a:ext cx="914400" cy="914400"/>
            </a:xfrm>
            <a:prstGeom prst="ellipse">
              <a:avLst/>
            </a:prstGeom>
            <a:solidFill>
              <a:srgbClr val="022E64"/>
            </a:solidFill>
            <a:ln w="9525" cap="rnd" cmpd="sng" algn="ctr">
              <a:solidFill>
                <a:srgbClr val="022E6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-2231302" y="4738535"/>
              <a:ext cx="540000" cy="540000"/>
            </a:xfrm>
            <a:prstGeom prst="rect">
              <a:avLst/>
            </a:prstGeom>
          </p:spPr>
        </p:pic>
      </p:grpSp>
      <p:sp>
        <p:nvSpPr>
          <p:cNvPr id="10" name="TextBox 9"/>
          <p:cNvSpPr txBox="1"/>
          <p:nvPr/>
        </p:nvSpPr>
        <p:spPr>
          <a:xfrm>
            <a:off x="112889" y="1099705"/>
            <a:ext cx="1872000" cy="338554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Key sector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240017" y="1099705"/>
            <a:ext cx="2484000" cy="338554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pportunities for Leasing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6492" y="1099705"/>
            <a:ext cx="3335055" cy="338554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ctoral Gaps and Emerging Trend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262722" y="3373009"/>
            <a:ext cx="6480000" cy="15506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il and Gas</a:t>
            </a: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igeria’s energy diversification 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y create significant equipment financing gaps particularly for high-cost exploration, and renewable energy infrastructu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ing therefore offers access to capital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intensive equipment, while maintaining financial flexibility  and support sectoral growt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947066" y="3357132"/>
            <a:ext cx="2977845" cy="15842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ffer specialized leasing packages for gas plants and drilling rig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llaborate with renewable energy startups to support asset acquisi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262722" y="4993127"/>
            <a:ext cx="6480000" cy="1636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eal Estate</a:t>
            </a: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real estate and construction market faces significant challenges from high equipment costs, project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delays, and upfront capital burde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ing of construction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machinery is increasingly being adopted as a practical solution, helping developers manage cash flows, accelerate project delivery, and mitigate financial risk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929170" y="4986095"/>
            <a:ext cx="2995742" cy="16288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vide short to mid-term finance or operational leases to construction firm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arget contractors who require fast equipment access without having outright purchas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504243" y="5049973"/>
            <a:ext cx="914400" cy="914400"/>
            <a:chOff x="-1884326" y="4421522"/>
            <a:chExt cx="914400" cy="914400"/>
          </a:xfrm>
        </p:grpSpPr>
        <p:sp>
          <p:nvSpPr>
            <p:cNvPr id="32" name="Oval 31"/>
            <p:cNvSpPr/>
            <p:nvPr/>
          </p:nvSpPr>
          <p:spPr>
            <a:xfrm>
              <a:off x="-1884326" y="4421522"/>
              <a:ext cx="914400" cy="914400"/>
            </a:xfrm>
            <a:prstGeom prst="ellipse">
              <a:avLst/>
            </a:prstGeom>
            <a:solidFill>
              <a:srgbClr val="022E64"/>
            </a:solidFill>
            <a:ln w="9525" cap="rnd" cmpd="sng" algn="ctr">
              <a:solidFill>
                <a:srgbClr val="022E6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5">
              <a:lum bright="70000" contrast="-70000"/>
            </a:blip>
            <a:stretch>
              <a:fillRect/>
            </a:stretch>
          </p:blipFill>
          <p:spPr>
            <a:xfrm>
              <a:off x="-1683656" y="4621247"/>
              <a:ext cx="540000" cy="540000"/>
            </a:xfrm>
            <a:prstGeom prst="rect">
              <a:avLst/>
            </a:prstGeom>
          </p:spPr>
        </p:pic>
      </p:grpSp>
      <p:sp>
        <p:nvSpPr>
          <p:cNvPr id="43" name="TextBox 42"/>
          <p:cNvSpPr txBox="1"/>
          <p:nvPr/>
        </p:nvSpPr>
        <p:spPr>
          <a:xfrm>
            <a:off x="381463" y="2610926"/>
            <a:ext cx="1251246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ransport and Logistic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93623" y="4421522"/>
            <a:ext cx="125485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il and Ga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526510" y="3481308"/>
            <a:ext cx="914400" cy="914400"/>
            <a:chOff x="721494" y="4742929"/>
            <a:chExt cx="914400" cy="914400"/>
          </a:xfrm>
        </p:grpSpPr>
        <p:sp>
          <p:nvSpPr>
            <p:cNvPr id="47" name="Oval 46"/>
            <p:cNvSpPr/>
            <p:nvPr/>
          </p:nvSpPr>
          <p:spPr>
            <a:xfrm>
              <a:off x="721494" y="4742929"/>
              <a:ext cx="914400" cy="914400"/>
            </a:xfrm>
            <a:prstGeom prst="ellipse">
              <a:avLst/>
            </a:prstGeom>
            <a:solidFill>
              <a:srgbClr val="022E64"/>
            </a:solidFill>
            <a:ln w="9525" cap="rnd" cmpd="sng" algn="ctr">
              <a:solidFill>
                <a:srgbClr val="022E6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6">
              <a:lum bright="70000" contrast="-70000"/>
            </a:blip>
            <a:stretch>
              <a:fillRect/>
            </a:stretch>
          </p:blipFill>
          <p:spPr>
            <a:xfrm>
              <a:off x="929696" y="4941418"/>
              <a:ext cx="540000" cy="540000"/>
            </a:xfrm>
            <a:prstGeom prst="rect">
              <a:avLst/>
            </a:prstGeom>
          </p:spPr>
        </p:pic>
      </p:grpSp>
      <p:sp>
        <p:nvSpPr>
          <p:cNvPr id="51" name="TextBox 50"/>
          <p:cNvSpPr txBox="1"/>
          <p:nvPr/>
        </p:nvSpPr>
        <p:spPr>
          <a:xfrm>
            <a:off x="310627" y="5989423"/>
            <a:ext cx="136312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eal Estate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cross key sectors, leasing presents strategic opportunities to bridge financing gaps, enable technology adoption and drive sectoral growth in Nigeria </a:t>
            </a:r>
            <a:r>
              <a:rPr lang="en-US" sz="12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… (2/2)</a:t>
            </a:r>
            <a:endParaRPr lang="en-US" sz="2000" b="0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8830835" y="1390388"/>
            <a:ext cx="0" cy="508556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2242832" y="1503495"/>
            <a:ext cx="6480000" cy="13273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reen and Sustainable Leasing</a:t>
            </a: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igeria’s transition towards a greener and digital economy presents significant leasing opportunities across multiple sectors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reen leasing solutions, including solar systems,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nergy-efficient vehicles,  and sustainable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machinery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nables companies to reduce operational costs without heavy upfront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investm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981162" y="1503494"/>
            <a:ext cx="2977845" cy="13273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ffer solar equipment leasing package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artner with renewable energy startups for scal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3858" y="1234235"/>
            <a:ext cx="11987284" cy="5395212"/>
          </a:xfrm>
          <a:prstGeom prst="rect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2118977" y="1390388"/>
            <a:ext cx="0" cy="508556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12889" y="1099705"/>
            <a:ext cx="1872000" cy="338554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Key sector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240017" y="1099705"/>
            <a:ext cx="2484000" cy="338554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pportunities for Leasing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6492" y="1099705"/>
            <a:ext cx="3335055" cy="338554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ctoral Gaps and Emerging trend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237670" y="2896119"/>
            <a:ext cx="6480000" cy="20274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nufacturing</a:t>
            </a: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adoption of digital technologies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is transforming manufacturing sector efficiently, However, most of these tech assets are imported and capital intensive, making them less accessible to startups/MSM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ing therefore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offers a practical pathway to bridge these financing gaps, and facilitate technology adoption in the secto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Rectangle 29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947066" y="2896118"/>
            <a:ext cx="2977845" cy="2027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evelop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customizable lease packages for SMEs/MSMEs</a:t>
            </a:r>
            <a:endParaRPr kumimoji="0" lang="en-US" sz="1600" b="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troduce subscription-based models for high-tech,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short-life seasonal equipm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ffer leasing solutions to  emerging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sectors - healthcare and pharmaceutical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225144" y="4993127"/>
            <a:ext cx="6480000" cy="14828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defRPr/>
            </a:pPr>
            <a:r>
              <a:rPr lang="en-US" sz="1600" b="1" u="sng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elecommunications</a:t>
            </a: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Telco industry requires significant capital investment for expansion.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merging technologies like AI and edge computing are enhancing service delivery, improving operational efficiency, and enabling new application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ing can support capital intensive technology adoption, allowing telcos to modernize infrastructure and expand services at a reduced cost.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 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929170" y="4986095"/>
            <a:ext cx="2995742" cy="14761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ffe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ing solutions for technology upgrad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ffer portable network solutions for events, rural deployments and disaster scenario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524264" y="3173024"/>
            <a:ext cx="914400" cy="914400"/>
          </a:xfrm>
          <a:prstGeom prst="ellipse">
            <a:avLst/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50858" y="4112474"/>
            <a:ext cx="172270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nufacturing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Oval 2"/>
          <p:cNvSpPr/>
          <p:nvPr/>
        </p:nvSpPr>
        <p:spPr>
          <a:xfrm>
            <a:off x="541953" y="1636748"/>
            <a:ext cx="914400" cy="914400"/>
          </a:xfrm>
          <a:prstGeom prst="ellipse">
            <a:avLst/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742623" y="1836473"/>
            <a:ext cx="540000" cy="540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70490" y="2557596"/>
            <a:ext cx="125485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nerg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708139" y="3332972"/>
            <a:ext cx="540000" cy="54000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556937" y="4865833"/>
            <a:ext cx="914400" cy="914400"/>
          </a:xfrm>
          <a:prstGeom prst="ellipse">
            <a:avLst/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83531" y="5805283"/>
            <a:ext cx="172270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elecommunication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742623" y="5018896"/>
            <a:ext cx="540000" cy="540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3331924" y="2869288"/>
            <a:ext cx="8379912" cy="20910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26113" y="3446807"/>
            <a:ext cx="8911191" cy="873886"/>
          </a:xfrm>
          <a:prstGeom prst="rect">
            <a:avLst/>
          </a:prstGeom>
          <a:solidFill>
            <a:schemeClr val="bg1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FirstBank Advantage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2329841" y="1352810"/>
            <a:ext cx="0" cy="508556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026113" y="3705080"/>
            <a:ext cx="541749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04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05084" y="2983750"/>
            <a:ext cx="1800000" cy="1800000"/>
            <a:chOff x="78705" y="5089750"/>
            <a:chExt cx="1080000" cy="108000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705" y="5089750"/>
              <a:ext cx="1080000" cy="108000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9219" y="5395750"/>
              <a:ext cx="468000" cy="468000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8255" imgH="8255" progId="TCLayout.ActiveDocument.1">
                  <p:embed/>
                </p:oleObj>
              </mc:Choice>
              <mc:Fallback>
                <p:oleObj name="think-cell Slide" r:id="rId2" imgW="8255" imgH="825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/>
          <p:nvPr/>
        </p:nvSpPr>
        <p:spPr>
          <a:xfrm>
            <a:off x="47425" y="115786"/>
            <a:ext cx="10275757" cy="826358"/>
          </a:xfrm>
          <a:prstGeom prst="rect">
            <a:avLst/>
          </a:prstGeom>
        </p:spPr>
        <p:txBody>
          <a:bodyPr vert="horz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Frutiger LT 55 Roman" panose="020B0603030504020204" pitchFamily="34" charset="0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Bank is a leading Pan-African Bank with presence in three continents – Africa, Europe and Asia</a:t>
            </a:r>
            <a:endParaRPr lang="en-US" sz="2000" dirty="0">
              <a:solidFill>
                <a:srgbClr val="FF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84275" y="1924055"/>
            <a:ext cx="9823451" cy="4667251"/>
            <a:chOff x="1184275" y="1289050"/>
            <a:chExt cx="9823451" cy="4667251"/>
          </a:xfrm>
          <a:solidFill>
            <a:schemeClr val="bg1">
              <a:lumMod val="85000"/>
            </a:schemeClr>
          </a:solidFill>
        </p:grpSpPr>
        <p:sp>
          <p:nvSpPr>
            <p:cNvPr id="53" name="Freeform 5"/>
            <p:cNvSpPr/>
            <p:nvPr/>
          </p:nvSpPr>
          <p:spPr bwMode="auto">
            <a:xfrm>
              <a:off x="5797551" y="338455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" name="Freeform 6"/>
            <p:cNvSpPr/>
            <p:nvPr/>
          </p:nvSpPr>
          <p:spPr bwMode="auto">
            <a:xfrm>
              <a:off x="5797551" y="34559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" name="Freeform 7"/>
            <p:cNvSpPr/>
            <p:nvPr/>
          </p:nvSpPr>
          <p:spPr bwMode="auto">
            <a:xfrm>
              <a:off x="5867401" y="33845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" name="Freeform 8"/>
            <p:cNvSpPr/>
            <p:nvPr/>
          </p:nvSpPr>
          <p:spPr bwMode="auto">
            <a:xfrm>
              <a:off x="5867401" y="34559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" name="Freeform 9"/>
            <p:cNvSpPr/>
            <p:nvPr/>
          </p:nvSpPr>
          <p:spPr bwMode="auto">
            <a:xfrm>
              <a:off x="5937251" y="33845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" name="Freeform 10"/>
            <p:cNvSpPr/>
            <p:nvPr/>
          </p:nvSpPr>
          <p:spPr bwMode="auto">
            <a:xfrm>
              <a:off x="5937251" y="34559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" name="Freeform 11"/>
            <p:cNvSpPr/>
            <p:nvPr/>
          </p:nvSpPr>
          <p:spPr bwMode="auto">
            <a:xfrm>
              <a:off x="6008688" y="338455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" name="Freeform 12"/>
            <p:cNvSpPr/>
            <p:nvPr/>
          </p:nvSpPr>
          <p:spPr bwMode="auto">
            <a:xfrm>
              <a:off x="6008688" y="34559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2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" name="Freeform 13"/>
            <p:cNvSpPr/>
            <p:nvPr/>
          </p:nvSpPr>
          <p:spPr bwMode="auto">
            <a:xfrm>
              <a:off x="6076951" y="338455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" name="Freeform 14"/>
            <p:cNvSpPr/>
            <p:nvPr/>
          </p:nvSpPr>
          <p:spPr bwMode="auto">
            <a:xfrm>
              <a:off x="6076951" y="34559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" name="Freeform 15"/>
            <p:cNvSpPr/>
            <p:nvPr/>
          </p:nvSpPr>
          <p:spPr bwMode="auto">
            <a:xfrm>
              <a:off x="5797551" y="352583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" name="Freeform 16"/>
            <p:cNvSpPr/>
            <p:nvPr/>
          </p:nvSpPr>
          <p:spPr bwMode="auto">
            <a:xfrm>
              <a:off x="5797551" y="35972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" name="Freeform 17"/>
            <p:cNvSpPr/>
            <p:nvPr/>
          </p:nvSpPr>
          <p:spPr bwMode="auto">
            <a:xfrm>
              <a:off x="5867401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3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" name="Freeform 18"/>
            <p:cNvSpPr/>
            <p:nvPr/>
          </p:nvSpPr>
          <p:spPr bwMode="auto">
            <a:xfrm>
              <a:off x="5867401" y="35972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" name="Freeform 19"/>
            <p:cNvSpPr/>
            <p:nvPr/>
          </p:nvSpPr>
          <p:spPr bwMode="auto">
            <a:xfrm>
              <a:off x="5937251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4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" name="Freeform 20"/>
            <p:cNvSpPr/>
            <p:nvPr/>
          </p:nvSpPr>
          <p:spPr bwMode="auto">
            <a:xfrm>
              <a:off x="5937251" y="35972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" name="Freeform 21"/>
            <p:cNvSpPr/>
            <p:nvPr/>
          </p:nvSpPr>
          <p:spPr bwMode="auto">
            <a:xfrm>
              <a:off x="6008688" y="3525838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7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3 w 153"/>
                <a:gd name="T43" fmla="*/ 23 h 155"/>
                <a:gd name="T44" fmla="*/ 34 w 153"/>
                <a:gd name="T45" fmla="*/ 13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" name="Freeform 22"/>
            <p:cNvSpPr/>
            <p:nvPr/>
          </p:nvSpPr>
          <p:spPr bwMode="auto">
            <a:xfrm>
              <a:off x="6008688" y="3597275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" name="Freeform 23"/>
            <p:cNvSpPr/>
            <p:nvPr/>
          </p:nvSpPr>
          <p:spPr bwMode="auto">
            <a:xfrm>
              <a:off x="6076951" y="352583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" name="Freeform 24"/>
            <p:cNvSpPr/>
            <p:nvPr/>
          </p:nvSpPr>
          <p:spPr bwMode="auto">
            <a:xfrm>
              <a:off x="6076951" y="35972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" name="Freeform 25"/>
            <p:cNvSpPr/>
            <p:nvPr/>
          </p:nvSpPr>
          <p:spPr bwMode="auto">
            <a:xfrm>
              <a:off x="5797551" y="3663950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" name="Freeform 26"/>
            <p:cNvSpPr/>
            <p:nvPr/>
          </p:nvSpPr>
          <p:spPr bwMode="auto">
            <a:xfrm>
              <a:off x="5797551" y="373380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" name="Freeform 27"/>
            <p:cNvSpPr/>
            <p:nvPr/>
          </p:nvSpPr>
          <p:spPr bwMode="auto">
            <a:xfrm>
              <a:off x="5867401" y="36639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" name="Freeform 28"/>
            <p:cNvSpPr/>
            <p:nvPr/>
          </p:nvSpPr>
          <p:spPr bwMode="auto">
            <a:xfrm>
              <a:off x="5867401" y="37338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" name="Freeform 29"/>
            <p:cNvSpPr/>
            <p:nvPr/>
          </p:nvSpPr>
          <p:spPr bwMode="auto">
            <a:xfrm>
              <a:off x="5937251" y="36639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" name="Freeform 30"/>
            <p:cNvSpPr/>
            <p:nvPr/>
          </p:nvSpPr>
          <p:spPr bwMode="auto">
            <a:xfrm>
              <a:off x="5937251" y="37338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" name="Freeform 31"/>
            <p:cNvSpPr/>
            <p:nvPr/>
          </p:nvSpPr>
          <p:spPr bwMode="auto">
            <a:xfrm>
              <a:off x="6008688" y="3663950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" name="Freeform 32"/>
            <p:cNvSpPr/>
            <p:nvPr/>
          </p:nvSpPr>
          <p:spPr bwMode="auto">
            <a:xfrm>
              <a:off x="6008688" y="373380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6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" name="Freeform 33"/>
            <p:cNvSpPr/>
            <p:nvPr/>
          </p:nvSpPr>
          <p:spPr bwMode="auto">
            <a:xfrm>
              <a:off x="6076951" y="3663950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" name="Freeform 34"/>
            <p:cNvSpPr/>
            <p:nvPr/>
          </p:nvSpPr>
          <p:spPr bwMode="auto">
            <a:xfrm>
              <a:off x="6076951" y="373380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" name="Freeform 35"/>
            <p:cNvSpPr/>
            <p:nvPr/>
          </p:nvSpPr>
          <p:spPr bwMode="auto">
            <a:xfrm>
              <a:off x="5797551" y="380523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" name="Freeform 36"/>
            <p:cNvSpPr/>
            <p:nvPr/>
          </p:nvSpPr>
          <p:spPr bwMode="auto">
            <a:xfrm>
              <a:off x="5797551" y="38750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" name="Freeform 37"/>
            <p:cNvSpPr/>
            <p:nvPr/>
          </p:nvSpPr>
          <p:spPr bwMode="auto">
            <a:xfrm>
              <a:off x="5867401" y="38052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" name="Freeform 38"/>
            <p:cNvSpPr/>
            <p:nvPr/>
          </p:nvSpPr>
          <p:spPr bwMode="auto">
            <a:xfrm>
              <a:off x="5867401" y="38750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" name="Freeform 39"/>
            <p:cNvSpPr/>
            <p:nvPr/>
          </p:nvSpPr>
          <p:spPr bwMode="auto">
            <a:xfrm>
              <a:off x="5937251" y="38052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" name="Freeform 40"/>
            <p:cNvSpPr/>
            <p:nvPr/>
          </p:nvSpPr>
          <p:spPr bwMode="auto">
            <a:xfrm>
              <a:off x="5937251" y="38750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" name="Freeform 41"/>
            <p:cNvSpPr/>
            <p:nvPr/>
          </p:nvSpPr>
          <p:spPr bwMode="auto">
            <a:xfrm>
              <a:off x="6008688" y="380523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" name="Freeform 42"/>
            <p:cNvSpPr/>
            <p:nvPr/>
          </p:nvSpPr>
          <p:spPr bwMode="auto">
            <a:xfrm>
              <a:off x="6008688" y="387508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3 w 153"/>
                <a:gd name="T43" fmla="*/ 23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" name="Freeform 43"/>
            <p:cNvSpPr/>
            <p:nvPr/>
          </p:nvSpPr>
          <p:spPr bwMode="auto">
            <a:xfrm>
              <a:off x="6076951" y="380523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" name="Freeform 44"/>
            <p:cNvSpPr/>
            <p:nvPr/>
          </p:nvSpPr>
          <p:spPr bwMode="auto">
            <a:xfrm>
              <a:off x="6076951" y="38750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3 w 153"/>
                <a:gd name="T43" fmla="*/ 23 h 153"/>
                <a:gd name="T44" fmla="*/ 34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" name="Freeform 45"/>
            <p:cNvSpPr/>
            <p:nvPr/>
          </p:nvSpPr>
          <p:spPr bwMode="auto">
            <a:xfrm>
              <a:off x="5448301" y="33845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3 h 155"/>
                <a:gd name="T20" fmla="*/ 53 w 154"/>
                <a:gd name="T21" fmla="*/ 151 h 155"/>
                <a:gd name="T22" fmla="*/ 40 w 154"/>
                <a:gd name="T23" fmla="*/ 145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" name="Freeform 46"/>
            <p:cNvSpPr/>
            <p:nvPr/>
          </p:nvSpPr>
          <p:spPr bwMode="auto">
            <a:xfrm>
              <a:off x="5448301" y="34559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2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" name="Freeform 47"/>
            <p:cNvSpPr/>
            <p:nvPr/>
          </p:nvSpPr>
          <p:spPr bwMode="auto">
            <a:xfrm>
              <a:off x="5518151" y="33845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" name="Freeform 48"/>
            <p:cNvSpPr/>
            <p:nvPr/>
          </p:nvSpPr>
          <p:spPr bwMode="auto">
            <a:xfrm>
              <a:off x="5518151" y="34559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" name="Freeform 49"/>
            <p:cNvSpPr/>
            <p:nvPr/>
          </p:nvSpPr>
          <p:spPr bwMode="auto">
            <a:xfrm>
              <a:off x="5588001" y="338455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" name="Freeform 50"/>
            <p:cNvSpPr/>
            <p:nvPr/>
          </p:nvSpPr>
          <p:spPr bwMode="auto">
            <a:xfrm>
              <a:off x="5588001" y="34559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2 w 153"/>
                <a:gd name="T9" fmla="*/ 131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3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" name="Freeform 51"/>
            <p:cNvSpPr/>
            <p:nvPr/>
          </p:nvSpPr>
          <p:spPr bwMode="auto">
            <a:xfrm>
              <a:off x="5657851" y="33845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3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" name="Freeform 52"/>
            <p:cNvSpPr/>
            <p:nvPr/>
          </p:nvSpPr>
          <p:spPr bwMode="auto">
            <a:xfrm>
              <a:off x="5657851" y="34559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" name="Freeform 53"/>
            <p:cNvSpPr/>
            <p:nvPr/>
          </p:nvSpPr>
          <p:spPr bwMode="auto">
            <a:xfrm>
              <a:off x="5727701" y="33845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" name="Freeform 54"/>
            <p:cNvSpPr/>
            <p:nvPr/>
          </p:nvSpPr>
          <p:spPr bwMode="auto">
            <a:xfrm>
              <a:off x="5727701" y="34559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0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19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" name="Freeform 55"/>
            <p:cNvSpPr/>
            <p:nvPr/>
          </p:nvSpPr>
          <p:spPr bwMode="auto">
            <a:xfrm>
              <a:off x="5448301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3 w 154"/>
                <a:gd name="T21" fmla="*/ 151 h 155"/>
                <a:gd name="T22" fmla="*/ 40 w 154"/>
                <a:gd name="T23" fmla="*/ 144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1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" name="Freeform 56"/>
            <p:cNvSpPr/>
            <p:nvPr/>
          </p:nvSpPr>
          <p:spPr bwMode="auto">
            <a:xfrm>
              <a:off x="5448301" y="35972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" name="Freeform 57"/>
            <p:cNvSpPr/>
            <p:nvPr/>
          </p:nvSpPr>
          <p:spPr bwMode="auto">
            <a:xfrm>
              <a:off x="5518151" y="352583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6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" name="Freeform 58"/>
            <p:cNvSpPr/>
            <p:nvPr/>
          </p:nvSpPr>
          <p:spPr bwMode="auto">
            <a:xfrm>
              <a:off x="5518151" y="35972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" name="Freeform 59"/>
            <p:cNvSpPr/>
            <p:nvPr/>
          </p:nvSpPr>
          <p:spPr bwMode="auto">
            <a:xfrm>
              <a:off x="5588001" y="352583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7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3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" name="Freeform 60"/>
            <p:cNvSpPr/>
            <p:nvPr/>
          </p:nvSpPr>
          <p:spPr bwMode="auto">
            <a:xfrm>
              <a:off x="5588001" y="35972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9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" name="Freeform 61"/>
            <p:cNvSpPr/>
            <p:nvPr/>
          </p:nvSpPr>
          <p:spPr bwMode="auto">
            <a:xfrm>
              <a:off x="5657851" y="352583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6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3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" name="Freeform 62"/>
            <p:cNvSpPr/>
            <p:nvPr/>
          </p:nvSpPr>
          <p:spPr bwMode="auto">
            <a:xfrm>
              <a:off x="5657851" y="35972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3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" name="Freeform 63"/>
            <p:cNvSpPr/>
            <p:nvPr/>
          </p:nvSpPr>
          <p:spPr bwMode="auto">
            <a:xfrm>
              <a:off x="5727701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7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" name="Freeform 64"/>
            <p:cNvSpPr/>
            <p:nvPr/>
          </p:nvSpPr>
          <p:spPr bwMode="auto">
            <a:xfrm>
              <a:off x="5727701" y="35972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0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" name="Freeform 65"/>
            <p:cNvSpPr/>
            <p:nvPr/>
          </p:nvSpPr>
          <p:spPr bwMode="auto">
            <a:xfrm>
              <a:off x="5448301" y="36639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" name="Freeform 66"/>
            <p:cNvSpPr/>
            <p:nvPr/>
          </p:nvSpPr>
          <p:spPr bwMode="auto">
            <a:xfrm>
              <a:off x="5448301" y="37338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" name="Freeform 67"/>
            <p:cNvSpPr/>
            <p:nvPr/>
          </p:nvSpPr>
          <p:spPr bwMode="auto">
            <a:xfrm>
              <a:off x="5518151" y="366395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" name="Freeform 68"/>
            <p:cNvSpPr/>
            <p:nvPr/>
          </p:nvSpPr>
          <p:spPr bwMode="auto">
            <a:xfrm>
              <a:off x="5518151" y="37338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" name="Freeform 69"/>
            <p:cNvSpPr/>
            <p:nvPr/>
          </p:nvSpPr>
          <p:spPr bwMode="auto">
            <a:xfrm>
              <a:off x="5588001" y="3663950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7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" name="Freeform 70"/>
            <p:cNvSpPr/>
            <p:nvPr/>
          </p:nvSpPr>
          <p:spPr bwMode="auto">
            <a:xfrm>
              <a:off x="5588001" y="373380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6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7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" name="Freeform 71"/>
            <p:cNvSpPr/>
            <p:nvPr/>
          </p:nvSpPr>
          <p:spPr bwMode="auto">
            <a:xfrm>
              <a:off x="5657851" y="366395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3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" name="Freeform 72"/>
            <p:cNvSpPr/>
            <p:nvPr/>
          </p:nvSpPr>
          <p:spPr bwMode="auto">
            <a:xfrm>
              <a:off x="5657851" y="37338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" name="Freeform 73"/>
            <p:cNvSpPr/>
            <p:nvPr/>
          </p:nvSpPr>
          <p:spPr bwMode="auto">
            <a:xfrm>
              <a:off x="5727701" y="36639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" name="Freeform 74"/>
            <p:cNvSpPr/>
            <p:nvPr/>
          </p:nvSpPr>
          <p:spPr bwMode="auto">
            <a:xfrm>
              <a:off x="5727701" y="37338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" name="Freeform 75"/>
            <p:cNvSpPr/>
            <p:nvPr/>
          </p:nvSpPr>
          <p:spPr bwMode="auto">
            <a:xfrm>
              <a:off x="5237163" y="338455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" name="Freeform 76"/>
            <p:cNvSpPr/>
            <p:nvPr/>
          </p:nvSpPr>
          <p:spPr bwMode="auto">
            <a:xfrm>
              <a:off x="5237163" y="34559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" name="Freeform 77"/>
            <p:cNvSpPr/>
            <p:nvPr/>
          </p:nvSpPr>
          <p:spPr bwMode="auto">
            <a:xfrm>
              <a:off x="5307013" y="338455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" name="Freeform 78"/>
            <p:cNvSpPr/>
            <p:nvPr/>
          </p:nvSpPr>
          <p:spPr bwMode="auto">
            <a:xfrm>
              <a:off x="5307013" y="34559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" name="Freeform 79"/>
            <p:cNvSpPr/>
            <p:nvPr/>
          </p:nvSpPr>
          <p:spPr bwMode="auto">
            <a:xfrm>
              <a:off x="5376863" y="338455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7 w 153"/>
                <a:gd name="T13" fmla="*/ 148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" name="Freeform 80"/>
            <p:cNvSpPr/>
            <p:nvPr/>
          </p:nvSpPr>
          <p:spPr bwMode="auto">
            <a:xfrm>
              <a:off x="5376863" y="34559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19 w 153"/>
                <a:gd name="T11" fmla="*/ 141 h 154"/>
                <a:gd name="T12" fmla="*/ 107 w 153"/>
                <a:gd name="T13" fmla="*/ 148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" name="Freeform 81"/>
            <p:cNvSpPr/>
            <p:nvPr/>
          </p:nvSpPr>
          <p:spPr bwMode="auto">
            <a:xfrm>
              <a:off x="5237163" y="352583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" name="Freeform 82"/>
            <p:cNvSpPr/>
            <p:nvPr/>
          </p:nvSpPr>
          <p:spPr bwMode="auto">
            <a:xfrm>
              <a:off x="5237163" y="35972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" name="Freeform 83"/>
            <p:cNvSpPr/>
            <p:nvPr/>
          </p:nvSpPr>
          <p:spPr bwMode="auto">
            <a:xfrm>
              <a:off x="5307013" y="3525838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" name="Freeform 84"/>
            <p:cNvSpPr/>
            <p:nvPr/>
          </p:nvSpPr>
          <p:spPr bwMode="auto">
            <a:xfrm>
              <a:off x="5307013" y="359727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" name="Freeform 85"/>
            <p:cNvSpPr/>
            <p:nvPr/>
          </p:nvSpPr>
          <p:spPr bwMode="auto">
            <a:xfrm>
              <a:off x="5376863" y="3525838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7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7 w 153"/>
                <a:gd name="T13" fmla="*/ 148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" name="Freeform 86"/>
            <p:cNvSpPr/>
            <p:nvPr/>
          </p:nvSpPr>
          <p:spPr bwMode="auto">
            <a:xfrm>
              <a:off x="5376863" y="3597275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7 w 153"/>
                <a:gd name="T13" fmla="*/ 149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" name="Freeform 87"/>
            <p:cNvSpPr/>
            <p:nvPr/>
          </p:nvSpPr>
          <p:spPr bwMode="auto">
            <a:xfrm>
              <a:off x="5237163" y="3663950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" name="Freeform 88"/>
            <p:cNvSpPr/>
            <p:nvPr/>
          </p:nvSpPr>
          <p:spPr bwMode="auto">
            <a:xfrm>
              <a:off x="5237163" y="373380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" name="Freeform 89"/>
            <p:cNvSpPr/>
            <p:nvPr/>
          </p:nvSpPr>
          <p:spPr bwMode="auto">
            <a:xfrm>
              <a:off x="5307013" y="3663950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" name="Freeform 90"/>
            <p:cNvSpPr/>
            <p:nvPr/>
          </p:nvSpPr>
          <p:spPr bwMode="auto">
            <a:xfrm>
              <a:off x="5307013" y="3733800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" name="Freeform 91"/>
            <p:cNvSpPr/>
            <p:nvPr/>
          </p:nvSpPr>
          <p:spPr bwMode="auto">
            <a:xfrm>
              <a:off x="5376863" y="3663950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19 w 153"/>
                <a:gd name="T11" fmla="*/ 141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" name="Freeform 92"/>
            <p:cNvSpPr/>
            <p:nvPr/>
          </p:nvSpPr>
          <p:spPr bwMode="auto">
            <a:xfrm>
              <a:off x="5376863" y="373380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6 h 154"/>
                <a:gd name="T6" fmla="*/ 141 w 153"/>
                <a:gd name="T7" fmla="*/ 120 h 154"/>
                <a:gd name="T8" fmla="*/ 131 w 153"/>
                <a:gd name="T9" fmla="*/ 131 h 154"/>
                <a:gd name="T10" fmla="*/ 119 w 153"/>
                <a:gd name="T11" fmla="*/ 141 h 154"/>
                <a:gd name="T12" fmla="*/ 107 w 153"/>
                <a:gd name="T13" fmla="*/ 147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" name="Freeform 93"/>
            <p:cNvSpPr/>
            <p:nvPr/>
          </p:nvSpPr>
          <p:spPr bwMode="auto">
            <a:xfrm>
              <a:off x="4887913" y="33845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70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" name="Freeform 94"/>
            <p:cNvSpPr/>
            <p:nvPr/>
          </p:nvSpPr>
          <p:spPr bwMode="auto">
            <a:xfrm>
              <a:off x="4887913" y="34559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" name="Freeform 95"/>
            <p:cNvSpPr/>
            <p:nvPr/>
          </p:nvSpPr>
          <p:spPr bwMode="auto">
            <a:xfrm>
              <a:off x="4956176" y="33845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" name="Freeform 96"/>
            <p:cNvSpPr/>
            <p:nvPr/>
          </p:nvSpPr>
          <p:spPr bwMode="auto">
            <a:xfrm>
              <a:off x="4956176" y="34559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2 h 154"/>
                <a:gd name="T4" fmla="*/ 149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" name="Freeform 97"/>
            <p:cNvSpPr/>
            <p:nvPr/>
          </p:nvSpPr>
          <p:spPr bwMode="auto">
            <a:xfrm>
              <a:off x="5027613" y="33845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7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" name="Freeform 98"/>
            <p:cNvSpPr/>
            <p:nvPr/>
          </p:nvSpPr>
          <p:spPr bwMode="auto">
            <a:xfrm>
              <a:off x="5027613" y="34559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" name="Freeform 99"/>
            <p:cNvSpPr/>
            <p:nvPr/>
          </p:nvSpPr>
          <p:spPr bwMode="auto">
            <a:xfrm>
              <a:off x="5097463" y="33845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3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7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" name="Freeform 100"/>
            <p:cNvSpPr/>
            <p:nvPr/>
          </p:nvSpPr>
          <p:spPr bwMode="auto">
            <a:xfrm>
              <a:off x="5097463" y="34559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19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" name="Freeform 101"/>
            <p:cNvSpPr/>
            <p:nvPr/>
          </p:nvSpPr>
          <p:spPr bwMode="auto">
            <a:xfrm>
              <a:off x="5167313" y="338455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" name="Freeform 102"/>
            <p:cNvSpPr/>
            <p:nvPr/>
          </p:nvSpPr>
          <p:spPr bwMode="auto">
            <a:xfrm>
              <a:off x="5167313" y="34559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" name="Freeform 103"/>
            <p:cNvSpPr/>
            <p:nvPr/>
          </p:nvSpPr>
          <p:spPr bwMode="auto">
            <a:xfrm>
              <a:off x="4887913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" name="Freeform 104"/>
            <p:cNvSpPr/>
            <p:nvPr/>
          </p:nvSpPr>
          <p:spPr bwMode="auto">
            <a:xfrm>
              <a:off x="4887913" y="35972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" name="Freeform 105"/>
            <p:cNvSpPr/>
            <p:nvPr/>
          </p:nvSpPr>
          <p:spPr bwMode="auto">
            <a:xfrm>
              <a:off x="4821238" y="33845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5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5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" name="Freeform 106"/>
            <p:cNvSpPr/>
            <p:nvPr/>
          </p:nvSpPr>
          <p:spPr bwMode="auto">
            <a:xfrm>
              <a:off x="4821238" y="34559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0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5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4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5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" name="Freeform 107"/>
            <p:cNvSpPr/>
            <p:nvPr/>
          </p:nvSpPr>
          <p:spPr bwMode="auto">
            <a:xfrm>
              <a:off x="4741863" y="34559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" name="Freeform 108"/>
            <p:cNvSpPr/>
            <p:nvPr/>
          </p:nvSpPr>
          <p:spPr bwMode="auto">
            <a:xfrm>
              <a:off x="4821238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5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5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" name="Freeform 109"/>
            <p:cNvSpPr/>
            <p:nvPr/>
          </p:nvSpPr>
          <p:spPr bwMode="auto">
            <a:xfrm>
              <a:off x="4821238" y="35972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4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5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" name="Freeform 110"/>
            <p:cNvSpPr/>
            <p:nvPr/>
          </p:nvSpPr>
          <p:spPr bwMode="auto">
            <a:xfrm>
              <a:off x="4956176" y="352583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6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" name="Freeform 111"/>
            <p:cNvSpPr/>
            <p:nvPr/>
          </p:nvSpPr>
          <p:spPr bwMode="auto">
            <a:xfrm>
              <a:off x="4956176" y="35972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" name="Freeform 112"/>
            <p:cNvSpPr/>
            <p:nvPr/>
          </p:nvSpPr>
          <p:spPr bwMode="auto">
            <a:xfrm>
              <a:off x="5027613" y="352583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7 h 155"/>
                <a:gd name="T60" fmla="*/ 136 w 155"/>
                <a:gd name="T61" fmla="*/ 28 h 155"/>
                <a:gd name="T62" fmla="*/ 144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" name="Freeform 113"/>
            <p:cNvSpPr/>
            <p:nvPr/>
          </p:nvSpPr>
          <p:spPr bwMode="auto">
            <a:xfrm>
              <a:off x="5027613" y="35972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" name="Freeform 114"/>
            <p:cNvSpPr/>
            <p:nvPr/>
          </p:nvSpPr>
          <p:spPr bwMode="auto">
            <a:xfrm>
              <a:off x="5097463" y="352583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7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4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3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8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7 h 155"/>
                <a:gd name="T60" fmla="*/ 138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" name="Freeform 115"/>
            <p:cNvSpPr/>
            <p:nvPr/>
          </p:nvSpPr>
          <p:spPr bwMode="auto">
            <a:xfrm>
              <a:off x="5097463" y="35972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8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" name="Freeform 116"/>
            <p:cNvSpPr/>
            <p:nvPr/>
          </p:nvSpPr>
          <p:spPr bwMode="auto">
            <a:xfrm>
              <a:off x="5167313" y="352583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7 h 155"/>
                <a:gd name="T6" fmla="*/ 141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" name="Freeform 117"/>
            <p:cNvSpPr/>
            <p:nvPr/>
          </p:nvSpPr>
          <p:spPr bwMode="auto">
            <a:xfrm>
              <a:off x="5167313" y="35972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" name="Freeform 118"/>
            <p:cNvSpPr/>
            <p:nvPr/>
          </p:nvSpPr>
          <p:spPr bwMode="auto">
            <a:xfrm>
              <a:off x="4887913" y="36639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" name="Freeform 119"/>
            <p:cNvSpPr/>
            <p:nvPr/>
          </p:nvSpPr>
          <p:spPr bwMode="auto">
            <a:xfrm>
              <a:off x="4887913" y="37338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" name="Freeform 120"/>
            <p:cNvSpPr/>
            <p:nvPr/>
          </p:nvSpPr>
          <p:spPr bwMode="auto">
            <a:xfrm>
              <a:off x="4956176" y="366395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" name="Freeform 121"/>
            <p:cNvSpPr/>
            <p:nvPr/>
          </p:nvSpPr>
          <p:spPr bwMode="auto">
            <a:xfrm>
              <a:off x="4956176" y="37338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" name="Freeform 122"/>
            <p:cNvSpPr/>
            <p:nvPr/>
          </p:nvSpPr>
          <p:spPr bwMode="auto">
            <a:xfrm>
              <a:off x="5027613" y="366395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" name="Freeform 123"/>
            <p:cNvSpPr/>
            <p:nvPr/>
          </p:nvSpPr>
          <p:spPr bwMode="auto">
            <a:xfrm>
              <a:off x="5027613" y="37338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" name="Freeform 124"/>
            <p:cNvSpPr/>
            <p:nvPr/>
          </p:nvSpPr>
          <p:spPr bwMode="auto">
            <a:xfrm>
              <a:off x="5097463" y="366395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" name="Freeform 125"/>
            <p:cNvSpPr/>
            <p:nvPr/>
          </p:nvSpPr>
          <p:spPr bwMode="auto">
            <a:xfrm>
              <a:off x="5097463" y="37338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6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" name="Freeform 126"/>
            <p:cNvSpPr/>
            <p:nvPr/>
          </p:nvSpPr>
          <p:spPr bwMode="auto">
            <a:xfrm>
              <a:off x="5167313" y="3663950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" name="Freeform 127"/>
            <p:cNvSpPr/>
            <p:nvPr/>
          </p:nvSpPr>
          <p:spPr bwMode="auto">
            <a:xfrm>
              <a:off x="5167313" y="373380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6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" name="Freeform 128"/>
            <p:cNvSpPr/>
            <p:nvPr/>
          </p:nvSpPr>
          <p:spPr bwMode="auto">
            <a:xfrm>
              <a:off x="5237163" y="3805238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" name="Freeform 129"/>
            <p:cNvSpPr/>
            <p:nvPr/>
          </p:nvSpPr>
          <p:spPr bwMode="auto">
            <a:xfrm>
              <a:off x="4956176" y="3805238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99 h 154"/>
                <a:gd name="T32" fmla="*/ 1 w 155"/>
                <a:gd name="T33" fmla="*/ 85 h 154"/>
                <a:gd name="T34" fmla="*/ 0 w 155"/>
                <a:gd name="T35" fmla="*/ 76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" name="Freeform 130"/>
            <p:cNvSpPr/>
            <p:nvPr/>
          </p:nvSpPr>
          <p:spPr bwMode="auto">
            <a:xfrm>
              <a:off x="5027613" y="3805238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6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" name="Freeform 131"/>
            <p:cNvSpPr/>
            <p:nvPr/>
          </p:nvSpPr>
          <p:spPr bwMode="auto">
            <a:xfrm>
              <a:off x="5097463" y="3805238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99 h 154"/>
                <a:gd name="T32" fmla="*/ 1 w 155"/>
                <a:gd name="T33" fmla="*/ 85 h 154"/>
                <a:gd name="T34" fmla="*/ 0 w 155"/>
                <a:gd name="T35" fmla="*/ 76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" name="Freeform 132"/>
            <p:cNvSpPr/>
            <p:nvPr/>
          </p:nvSpPr>
          <p:spPr bwMode="auto">
            <a:xfrm>
              <a:off x="5167313" y="3805238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6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" name="Freeform 133"/>
            <p:cNvSpPr/>
            <p:nvPr/>
          </p:nvSpPr>
          <p:spPr bwMode="auto">
            <a:xfrm>
              <a:off x="5448301" y="38052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6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" name="Freeform 134"/>
            <p:cNvSpPr/>
            <p:nvPr/>
          </p:nvSpPr>
          <p:spPr bwMode="auto">
            <a:xfrm>
              <a:off x="5518151" y="38052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" name="Freeform 135"/>
            <p:cNvSpPr/>
            <p:nvPr/>
          </p:nvSpPr>
          <p:spPr bwMode="auto">
            <a:xfrm>
              <a:off x="5588001" y="380523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2 h 154"/>
                <a:gd name="T12" fmla="*/ 107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" name="Freeform 136"/>
            <p:cNvSpPr/>
            <p:nvPr/>
          </p:nvSpPr>
          <p:spPr bwMode="auto">
            <a:xfrm>
              <a:off x="5588001" y="38750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7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3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" name="Freeform 137"/>
            <p:cNvSpPr/>
            <p:nvPr/>
          </p:nvSpPr>
          <p:spPr bwMode="auto">
            <a:xfrm>
              <a:off x="5657851" y="38052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3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" name="Freeform 138"/>
            <p:cNvSpPr/>
            <p:nvPr/>
          </p:nvSpPr>
          <p:spPr bwMode="auto">
            <a:xfrm>
              <a:off x="5657851" y="38750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3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" name="Freeform 139"/>
            <p:cNvSpPr/>
            <p:nvPr/>
          </p:nvSpPr>
          <p:spPr bwMode="auto">
            <a:xfrm>
              <a:off x="5727701" y="38052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2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" name="Freeform 140"/>
            <p:cNvSpPr/>
            <p:nvPr/>
          </p:nvSpPr>
          <p:spPr bwMode="auto">
            <a:xfrm>
              <a:off x="5727701" y="38750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" name="Freeform 141"/>
            <p:cNvSpPr/>
            <p:nvPr/>
          </p:nvSpPr>
          <p:spPr bwMode="auto">
            <a:xfrm>
              <a:off x="5797551" y="3946525"/>
              <a:ext cx="49213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" name="Freeform 142"/>
            <p:cNvSpPr/>
            <p:nvPr/>
          </p:nvSpPr>
          <p:spPr bwMode="auto">
            <a:xfrm>
              <a:off x="5797551" y="4016375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" name="Freeform 143"/>
            <p:cNvSpPr/>
            <p:nvPr/>
          </p:nvSpPr>
          <p:spPr bwMode="auto">
            <a:xfrm>
              <a:off x="5867401" y="394652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2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" name="Freeform 144"/>
            <p:cNvSpPr/>
            <p:nvPr/>
          </p:nvSpPr>
          <p:spPr bwMode="auto">
            <a:xfrm>
              <a:off x="5867401" y="40163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" name="Freeform 145"/>
            <p:cNvSpPr/>
            <p:nvPr/>
          </p:nvSpPr>
          <p:spPr bwMode="auto">
            <a:xfrm>
              <a:off x="5937251" y="394652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" name="Freeform 146"/>
            <p:cNvSpPr/>
            <p:nvPr/>
          </p:nvSpPr>
          <p:spPr bwMode="auto">
            <a:xfrm>
              <a:off x="5937251" y="40163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" name="Freeform 147"/>
            <p:cNvSpPr/>
            <p:nvPr/>
          </p:nvSpPr>
          <p:spPr bwMode="auto">
            <a:xfrm>
              <a:off x="6008688" y="3946525"/>
              <a:ext cx="47625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6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3 h 154"/>
                <a:gd name="T44" fmla="*/ 34 w 153"/>
                <a:gd name="T45" fmla="*/ 12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" name="Freeform 148"/>
            <p:cNvSpPr/>
            <p:nvPr/>
          </p:nvSpPr>
          <p:spPr bwMode="auto">
            <a:xfrm>
              <a:off x="6008688" y="4016375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" name="Freeform 149"/>
            <p:cNvSpPr/>
            <p:nvPr/>
          </p:nvSpPr>
          <p:spPr bwMode="auto">
            <a:xfrm>
              <a:off x="6076951" y="3946525"/>
              <a:ext cx="49213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2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" name="Freeform 150"/>
            <p:cNvSpPr/>
            <p:nvPr/>
          </p:nvSpPr>
          <p:spPr bwMode="auto">
            <a:xfrm>
              <a:off x="6076951" y="4016375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" name="Freeform 151"/>
            <p:cNvSpPr/>
            <p:nvPr/>
          </p:nvSpPr>
          <p:spPr bwMode="auto">
            <a:xfrm>
              <a:off x="5797551" y="408781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" name="Freeform 152"/>
            <p:cNvSpPr/>
            <p:nvPr/>
          </p:nvSpPr>
          <p:spPr bwMode="auto">
            <a:xfrm>
              <a:off x="5797551" y="415766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" name="Freeform 153"/>
            <p:cNvSpPr/>
            <p:nvPr/>
          </p:nvSpPr>
          <p:spPr bwMode="auto">
            <a:xfrm>
              <a:off x="5867401" y="40878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" name="Freeform 154"/>
            <p:cNvSpPr/>
            <p:nvPr/>
          </p:nvSpPr>
          <p:spPr bwMode="auto">
            <a:xfrm>
              <a:off x="5867401" y="4157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" name="Freeform 155"/>
            <p:cNvSpPr/>
            <p:nvPr/>
          </p:nvSpPr>
          <p:spPr bwMode="auto">
            <a:xfrm>
              <a:off x="5937251" y="40878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" name="Freeform 156"/>
            <p:cNvSpPr/>
            <p:nvPr/>
          </p:nvSpPr>
          <p:spPr bwMode="auto">
            <a:xfrm>
              <a:off x="5937251" y="4157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" name="Freeform 157"/>
            <p:cNvSpPr/>
            <p:nvPr/>
          </p:nvSpPr>
          <p:spPr bwMode="auto">
            <a:xfrm>
              <a:off x="6008688" y="4087813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" name="Freeform 158"/>
            <p:cNvSpPr/>
            <p:nvPr/>
          </p:nvSpPr>
          <p:spPr bwMode="auto">
            <a:xfrm>
              <a:off x="6008688" y="415766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" name="Freeform 159"/>
            <p:cNvSpPr/>
            <p:nvPr/>
          </p:nvSpPr>
          <p:spPr bwMode="auto">
            <a:xfrm>
              <a:off x="5588001" y="40163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" name="Freeform 160"/>
            <p:cNvSpPr/>
            <p:nvPr/>
          </p:nvSpPr>
          <p:spPr bwMode="auto">
            <a:xfrm>
              <a:off x="5657851" y="394652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" name="Freeform 161"/>
            <p:cNvSpPr/>
            <p:nvPr/>
          </p:nvSpPr>
          <p:spPr bwMode="auto">
            <a:xfrm>
              <a:off x="5657851" y="40163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" name="Freeform 162"/>
            <p:cNvSpPr/>
            <p:nvPr/>
          </p:nvSpPr>
          <p:spPr bwMode="auto">
            <a:xfrm>
              <a:off x="5729288" y="394652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" name="Freeform 163"/>
            <p:cNvSpPr/>
            <p:nvPr/>
          </p:nvSpPr>
          <p:spPr bwMode="auto">
            <a:xfrm>
              <a:off x="5729288" y="40163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" name="Freeform 164"/>
            <p:cNvSpPr/>
            <p:nvPr/>
          </p:nvSpPr>
          <p:spPr bwMode="auto">
            <a:xfrm>
              <a:off x="5588001" y="40878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" name="Freeform 165"/>
            <p:cNvSpPr/>
            <p:nvPr/>
          </p:nvSpPr>
          <p:spPr bwMode="auto">
            <a:xfrm>
              <a:off x="5657851" y="40878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" name="Freeform 166"/>
            <p:cNvSpPr/>
            <p:nvPr/>
          </p:nvSpPr>
          <p:spPr bwMode="auto">
            <a:xfrm>
              <a:off x="5657851" y="4157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" name="Freeform 167"/>
            <p:cNvSpPr/>
            <p:nvPr/>
          </p:nvSpPr>
          <p:spPr bwMode="auto">
            <a:xfrm>
              <a:off x="5729288" y="40878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" name="Freeform 168"/>
            <p:cNvSpPr/>
            <p:nvPr/>
          </p:nvSpPr>
          <p:spPr bwMode="auto">
            <a:xfrm>
              <a:off x="5729288" y="4157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" name="Freeform 169"/>
            <p:cNvSpPr/>
            <p:nvPr/>
          </p:nvSpPr>
          <p:spPr bwMode="auto">
            <a:xfrm>
              <a:off x="6076951" y="408781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" name="Freeform 170"/>
            <p:cNvSpPr/>
            <p:nvPr/>
          </p:nvSpPr>
          <p:spPr bwMode="auto">
            <a:xfrm>
              <a:off x="6076951" y="415766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" name="Freeform 171"/>
            <p:cNvSpPr/>
            <p:nvPr/>
          </p:nvSpPr>
          <p:spPr bwMode="auto">
            <a:xfrm>
              <a:off x="6146801" y="33845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3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" name="Freeform 172"/>
            <p:cNvSpPr/>
            <p:nvPr/>
          </p:nvSpPr>
          <p:spPr bwMode="auto">
            <a:xfrm>
              <a:off x="6146801" y="34559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19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" name="Freeform 173"/>
            <p:cNvSpPr/>
            <p:nvPr/>
          </p:nvSpPr>
          <p:spPr bwMode="auto">
            <a:xfrm>
              <a:off x="6216651" y="33845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0 w 154"/>
                <a:gd name="T23" fmla="*/ 145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" name="Freeform 174"/>
            <p:cNvSpPr/>
            <p:nvPr/>
          </p:nvSpPr>
          <p:spPr bwMode="auto">
            <a:xfrm>
              <a:off x="6216651" y="34559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" name="Freeform 175"/>
            <p:cNvSpPr/>
            <p:nvPr/>
          </p:nvSpPr>
          <p:spPr bwMode="auto">
            <a:xfrm>
              <a:off x="6286501" y="33845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" name="Freeform 176"/>
            <p:cNvSpPr/>
            <p:nvPr/>
          </p:nvSpPr>
          <p:spPr bwMode="auto">
            <a:xfrm>
              <a:off x="6286501" y="34559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" name="Freeform 177"/>
            <p:cNvSpPr/>
            <p:nvPr/>
          </p:nvSpPr>
          <p:spPr bwMode="auto">
            <a:xfrm>
              <a:off x="6357938" y="338455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" name="Freeform 178"/>
            <p:cNvSpPr/>
            <p:nvPr/>
          </p:nvSpPr>
          <p:spPr bwMode="auto">
            <a:xfrm>
              <a:off x="6357938" y="34559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" name="Freeform 179"/>
            <p:cNvSpPr/>
            <p:nvPr/>
          </p:nvSpPr>
          <p:spPr bwMode="auto">
            <a:xfrm>
              <a:off x="6427788" y="338455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" name="Freeform 180"/>
            <p:cNvSpPr/>
            <p:nvPr/>
          </p:nvSpPr>
          <p:spPr bwMode="auto">
            <a:xfrm>
              <a:off x="6427788" y="34559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" name="Freeform 181"/>
            <p:cNvSpPr/>
            <p:nvPr/>
          </p:nvSpPr>
          <p:spPr bwMode="auto">
            <a:xfrm>
              <a:off x="6146801" y="352583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3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" name="Freeform 182"/>
            <p:cNvSpPr/>
            <p:nvPr/>
          </p:nvSpPr>
          <p:spPr bwMode="auto">
            <a:xfrm>
              <a:off x="6146801" y="35972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" name="Freeform 183"/>
            <p:cNvSpPr/>
            <p:nvPr/>
          </p:nvSpPr>
          <p:spPr bwMode="auto">
            <a:xfrm>
              <a:off x="6216651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4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" name="Freeform 184"/>
            <p:cNvSpPr/>
            <p:nvPr/>
          </p:nvSpPr>
          <p:spPr bwMode="auto">
            <a:xfrm>
              <a:off x="6216651" y="35972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" name="Freeform 185"/>
            <p:cNvSpPr/>
            <p:nvPr/>
          </p:nvSpPr>
          <p:spPr bwMode="auto">
            <a:xfrm>
              <a:off x="6286501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" name="Freeform 186"/>
            <p:cNvSpPr/>
            <p:nvPr/>
          </p:nvSpPr>
          <p:spPr bwMode="auto">
            <a:xfrm>
              <a:off x="6286501" y="35972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" name="Freeform 187"/>
            <p:cNvSpPr/>
            <p:nvPr/>
          </p:nvSpPr>
          <p:spPr bwMode="auto">
            <a:xfrm>
              <a:off x="6357938" y="3525838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8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" name="Freeform 188"/>
            <p:cNvSpPr/>
            <p:nvPr/>
          </p:nvSpPr>
          <p:spPr bwMode="auto">
            <a:xfrm>
              <a:off x="6357938" y="359727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" name="Freeform 189"/>
            <p:cNvSpPr/>
            <p:nvPr/>
          </p:nvSpPr>
          <p:spPr bwMode="auto">
            <a:xfrm>
              <a:off x="6427788" y="3525838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6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" name="Freeform 190"/>
            <p:cNvSpPr/>
            <p:nvPr/>
          </p:nvSpPr>
          <p:spPr bwMode="auto">
            <a:xfrm>
              <a:off x="6427788" y="3597275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" name="Freeform 191"/>
            <p:cNvSpPr/>
            <p:nvPr/>
          </p:nvSpPr>
          <p:spPr bwMode="auto">
            <a:xfrm>
              <a:off x="6146801" y="366395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" name="Freeform 192"/>
            <p:cNvSpPr/>
            <p:nvPr/>
          </p:nvSpPr>
          <p:spPr bwMode="auto">
            <a:xfrm>
              <a:off x="6146801" y="37338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" name="Freeform 193"/>
            <p:cNvSpPr/>
            <p:nvPr/>
          </p:nvSpPr>
          <p:spPr bwMode="auto">
            <a:xfrm>
              <a:off x="6216651" y="36639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" name="Freeform 194"/>
            <p:cNvSpPr/>
            <p:nvPr/>
          </p:nvSpPr>
          <p:spPr bwMode="auto">
            <a:xfrm>
              <a:off x="6216651" y="37338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" name="Freeform 195"/>
            <p:cNvSpPr/>
            <p:nvPr/>
          </p:nvSpPr>
          <p:spPr bwMode="auto">
            <a:xfrm>
              <a:off x="6286501" y="36639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" name="Freeform 196"/>
            <p:cNvSpPr/>
            <p:nvPr/>
          </p:nvSpPr>
          <p:spPr bwMode="auto">
            <a:xfrm>
              <a:off x="6286501" y="37338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" name="Freeform 197"/>
            <p:cNvSpPr/>
            <p:nvPr/>
          </p:nvSpPr>
          <p:spPr bwMode="auto">
            <a:xfrm>
              <a:off x="6357938" y="3663950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" name="Freeform 198"/>
            <p:cNvSpPr/>
            <p:nvPr/>
          </p:nvSpPr>
          <p:spPr bwMode="auto">
            <a:xfrm>
              <a:off x="6357938" y="3733800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8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" name="Freeform 199"/>
            <p:cNvSpPr/>
            <p:nvPr/>
          </p:nvSpPr>
          <p:spPr bwMode="auto">
            <a:xfrm>
              <a:off x="6427788" y="3663950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" name="Freeform 200"/>
            <p:cNvSpPr/>
            <p:nvPr/>
          </p:nvSpPr>
          <p:spPr bwMode="auto">
            <a:xfrm>
              <a:off x="6427788" y="373380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" name="Freeform 201"/>
            <p:cNvSpPr/>
            <p:nvPr/>
          </p:nvSpPr>
          <p:spPr bwMode="auto">
            <a:xfrm>
              <a:off x="6146801" y="38052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10 w 155"/>
                <a:gd name="T29" fmla="*/ 114 h 154"/>
                <a:gd name="T30" fmla="*/ 4 w 155"/>
                <a:gd name="T31" fmla="*/ 101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" name="Freeform 202"/>
            <p:cNvSpPr/>
            <p:nvPr/>
          </p:nvSpPr>
          <p:spPr bwMode="auto">
            <a:xfrm>
              <a:off x="6146801" y="38750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" name="Freeform 203"/>
            <p:cNvSpPr/>
            <p:nvPr/>
          </p:nvSpPr>
          <p:spPr bwMode="auto">
            <a:xfrm>
              <a:off x="6216651" y="38052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" name="Freeform 204"/>
            <p:cNvSpPr/>
            <p:nvPr/>
          </p:nvSpPr>
          <p:spPr bwMode="auto">
            <a:xfrm>
              <a:off x="6216651" y="38750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" name="Freeform 206"/>
            <p:cNvSpPr/>
            <p:nvPr/>
          </p:nvSpPr>
          <p:spPr bwMode="auto">
            <a:xfrm>
              <a:off x="6286501" y="38052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6 w 154"/>
                <a:gd name="T13" fmla="*/ 149 h 154"/>
                <a:gd name="T14" fmla="*/ 93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" name="Freeform 207"/>
            <p:cNvSpPr/>
            <p:nvPr/>
          </p:nvSpPr>
          <p:spPr bwMode="auto">
            <a:xfrm>
              <a:off x="6286501" y="38750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" name="Freeform 208"/>
            <p:cNvSpPr/>
            <p:nvPr/>
          </p:nvSpPr>
          <p:spPr bwMode="auto">
            <a:xfrm>
              <a:off x="6357938" y="3805238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" name="Freeform 209"/>
            <p:cNvSpPr/>
            <p:nvPr/>
          </p:nvSpPr>
          <p:spPr bwMode="auto">
            <a:xfrm>
              <a:off x="6357938" y="387508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" name="Freeform 210"/>
            <p:cNvSpPr/>
            <p:nvPr/>
          </p:nvSpPr>
          <p:spPr bwMode="auto">
            <a:xfrm>
              <a:off x="6427788" y="380523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" name="Freeform 211"/>
            <p:cNvSpPr/>
            <p:nvPr/>
          </p:nvSpPr>
          <p:spPr bwMode="auto">
            <a:xfrm>
              <a:off x="6427788" y="387508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" name="Freeform 212"/>
            <p:cNvSpPr/>
            <p:nvPr/>
          </p:nvSpPr>
          <p:spPr bwMode="auto">
            <a:xfrm>
              <a:off x="6146801" y="3946526"/>
              <a:ext cx="49213" cy="47625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" name="Freeform 213"/>
            <p:cNvSpPr/>
            <p:nvPr/>
          </p:nvSpPr>
          <p:spPr bwMode="auto">
            <a:xfrm>
              <a:off x="6146801" y="4016376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4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" name="Freeform 214"/>
            <p:cNvSpPr/>
            <p:nvPr/>
          </p:nvSpPr>
          <p:spPr bwMode="auto">
            <a:xfrm>
              <a:off x="6216651" y="3946526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" name="Freeform 215"/>
            <p:cNvSpPr/>
            <p:nvPr/>
          </p:nvSpPr>
          <p:spPr bwMode="auto">
            <a:xfrm>
              <a:off x="6216651" y="401637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" name="Freeform 216"/>
            <p:cNvSpPr/>
            <p:nvPr/>
          </p:nvSpPr>
          <p:spPr bwMode="auto">
            <a:xfrm>
              <a:off x="6286501" y="3946526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" name="Freeform 217"/>
            <p:cNvSpPr/>
            <p:nvPr/>
          </p:nvSpPr>
          <p:spPr bwMode="auto">
            <a:xfrm>
              <a:off x="6286501" y="401637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6 w 154"/>
                <a:gd name="T13" fmla="*/ 149 h 154"/>
                <a:gd name="T14" fmla="*/ 93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" name="Freeform 218"/>
            <p:cNvSpPr/>
            <p:nvPr/>
          </p:nvSpPr>
          <p:spPr bwMode="auto">
            <a:xfrm>
              <a:off x="6357938" y="3946526"/>
              <a:ext cx="47625" cy="47625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8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" name="Freeform 219"/>
            <p:cNvSpPr/>
            <p:nvPr/>
          </p:nvSpPr>
          <p:spPr bwMode="auto">
            <a:xfrm>
              <a:off x="6357938" y="4016376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" name="Freeform 220"/>
            <p:cNvSpPr/>
            <p:nvPr/>
          </p:nvSpPr>
          <p:spPr bwMode="auto">
            <a:xfrm>
              <a:off x="6427788" y="3946526"/>
              <a:ext cx="47625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" name="Freeform 221"/>
            <p:cNvSpPr/>
            <p:nvPr/>
          </p:nvSpPr>
          <p:spPr bwMode="auto">
            <a:xfrm>
              <a:off x="6427788" y="4016376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" name="Freeform 222"/>
            <p:cNvSpPr/>
            <p:nvPr/>
          </p:nvSpPr>
          <p:spPr bwMode="auto">
            <a:xfrm>
              <a:off x="6146801" y="408781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" name="Freeform 223"/>
            <p:cNvSpPr/>
            <p:nvPr/>
          </p:nvSpPr>
          <p:spPr bwMode="auto">
            <a:xfrm>
              <a:off x="6146801" y="41576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" name="Freeform 224"/>
            <p:cNvSpPr/>
            <p:nvPr/>
          </p:nvSpPr>
          <p:spPr bwMode="auto">
            <a:xfrm>
              <a:off x="6216651" y="40878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" name="Freeform 225"/>
            <p:cNvSpPr/>
            <p:nvPr/>
          </p:nvSpPr>
          <p:spPr bwMode="auto">
            <a:xfrm>
              <a:off x="6216651" y="4157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" name="Freeform 226"/>
            <p:cNvSpPr/>
            <p:nvPr/>
          </p:nvSpPr>
          <p:spPr bwMode="auto">
            <a:xfrm>
              <a:off x="6286501" y="40878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8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" name="Freeform 227"/>
            <p:cNvSpPr/>
            <p:nvPr/>
          </p:nvSpPr>
          <p:spPr bwMode="auto">
            <a:xfrm>
              <a:off x="6286501" y="4157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" name="Freeform 228"/>
            <p:cNvSpPr/>
            <p:nvPr/>
          </p:nvSpPr>
          <p:spPr bwMode="auto">
            <a:xfrm>
              <a:off x="6357938" y="4087813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" name="Freeform 229"/>
            <p:cNvSpPr/>
            <p:nvPr/>
          </p:nvSpPr>
          <p:spPr bwMode="auto">
            <a:xfrm>
              <a:off x="6357938" y="415766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" name="Freeform 230"/>
            <p:cNvSpPr/>
            <p:nvPr/>
          </p:nvSpPr>
          <p:spPr bwMode="auto">
            <a:xfrm>
              <a:off x="6427788" y="4087813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" name="Freeform 231"/>
            <p:cNvSpPr/>
            <p:nvPr/>
          </p:nvSpPr>
          <p:spPr bwMode="auto">
            <a:xfrm>
              <a:off x="6427788" y="415766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" name="Freeform 232"/>
            <p:cNvSpPr/>
            <p:nvPr/>
          </p:nvSpPr>
          <p:spPr bwMode="auto">
            <a:xfrm>
              <a:off x="6146801" y="42275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4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" name="Freeform 233"/>
            <p:cNvSpPr/>
            <p:nvPr/>
          </p:nvSpPr>
          <p:spPr bwMode="auto">
            <a:xfrm>
              <a:off x="6146801" y="4298951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" name="Freeform 234"/>
            <p:cNvSpPr/>
            <p:nvPr/>
          </p:nvSpPr>
          <p:spPr bwMode="auto">
            <a:xfrm>
              <a:off x="6216651" y="4227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" name="Freeform 235"/>
            <p:cNvSpPr/>
            <p:nvPr/>
          </p:nvSpPr>
          <p:spPr bwMode="auto">
            <a:xfrm>
              <a:off x="6216651" y="42989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" name="Freeform 236"/>
            <p:cNvSpPr/>
            <p:nvPr/>
          </p:nvSpPr>
          <p:spPr bwMode="auto">
            <a:xfrm>
              <a:off x="6286501" y="4227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" name="Freeform 237"/>
            <p:cNvSpPr/>
            <p:nvPr/>
          </p:nvSpPr>
          <p:spPr bwMode="auto">
            <a:xfrm>
              <a:off x="6286501" y="42989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0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" name="Freeform 238"/>
            <p:cNvSpPr/>
            <p:nvPr/>
          </p:nvSpPr>
          <p:spPr bwMode="auto">
            <a:xfrm>
              <a:off x="6357938" y="422751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" name="Freeform 239"/>
            <p:cNvSpPr/>
            <p:nvPr/>
          </p:nvSpPr>
          <p:spPr bwMode="auto">
            <a:xfrm>
              <a:off x="6357938" y="4298951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" name="Freeform 240"/>
            <p:cNvSpPr/>
            <p:nvPr/>
          </p:nvSpPr>
          <p:spPr bwMode="auto">
            <a:xfrm>
              <a:off x="6427788" y="4227513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" name="Freeform 241"/>
            <p:cNvSpPr/>
            <p:nvPr/>
          </p:nvSpPr>
          <p:spPr bwMode="auto">
            <a:xfrm>
              <a:off x="6427788" y="4298951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0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" name="Freeform 242"/>
            <p:cNvSpPr/>
            <p:nvPr/>
          </p:nvSpPr>
          <p:spPr bwMode="auto">
            <a:xfrm>
              <a:off x="6146801" y="4368801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6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" name="Freeform 243"/>
            <p:cNvSpPr/>
            <p:nvPr/>
          </p:nvSpPr>
          <p:spPr bwMode="auto">
            <a:xfrm>
              <a:off x="6146801" y="4440238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10 w 155"/>
                <a:gd name="T29" fmla="*/ 114 h 154"/>
                <a:gd name="T30" fmla="*/ 4 w 155"/>
                <a:gd name="T31" fmla="*/ 101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3" y="92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" name="Freeform 244"/>
            <p:cNvSpPr/>
            <p:nvPr/>
          </p:nvSpPr>
          <p:spPr bwMode="auto">
            <a:xfrm>
              <a:off x="6216651" y="4368801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" name="Freeform 245"/>
            <p:cNvSpPr/>
            <p:nvPr/>
          </p:nvSpPr>
          <p:spPr bwMode="auto">
            <a:xfrm>
              <a:off x="6216651" y="4440238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" name="Freeform 246"/>
            <p:cNvSpPr/>
            <p:nvPr/>
          </p:nvSpPr>
          <p:spPr bwMode="auto">
            <a:xfrm>
              <a:off x="6286501" y="4368801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" name="Freeform 247"/>
            <p:cNvSpPr/>
            <p:nvPr/>
          </p:nvSpPr>
          <p:spPr bwMode="auto">
            <a:xfrm>
              <a:off x="6286501" y="4440238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6 w 154"/>
                <a:gd name="T13" fmla="*/ 149 h 154"/>
                <a:gd name="T14" fmla="*/ 93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" name="Freeform 248"/>
            <p:cNvSpPr/>
            <p:nvPr/>
          </p:nvSpPr>
          <p:spPr bwMode="auto">
            <a:xfrm>
              <a:off x="6357938" y="4368801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8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" name="Freeform 249"/>
            <p:cNvSpPr/>
            <p:nvPr/>
          </p:nvSpPr>
          <p:spPr bwMode="auto">
            <a:xfrm>
              <a:off x="6357938" y="4440238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" name="Freeform 250"/>
            <p:cNvSpPr/>
            <p:nvPr/>
          </p:nvSpPr>
          <p:spPr bwMode="auto">
            <a:xfrm>
              <a:off x="6427788" y="4368801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" name="Freeform 251"/>
            <p:cNvSpPr/>
            <p:nvPr/>
          </p:nvSpPr>
          <p:spPr bwMode="auto">
            <a:xfrm>
              <a:off x="6427788" y="4440238"/>
              <a:ext cx="47625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" name="Freeform 252"/>
            <p:cNvSpPr/>
            <p:nvPr/>
          </p:nvSpPr>
          <p:spPr bwMode="auto">
            <a:xfrm>
              <a:off x="6146801" y="45069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" name="Freeform 253"/>
            <p:cNvSpPr/>
            <p:nvPr/>
          </p:nvSpPr>
          <p:spPr bwMode="auto">
            <a:xfrm>
              <a:off x="6146801" y="45767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2 h 155"/>
                <a:gd name="T22" fmla="*/ 40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" name="Freeform 254"/>
            <p:cNvSpPr/>
            <p:nvPr/>
          </p:nvSpPr>
          <p:spPr bwMode="auto">
            <a:xfrm>
              <a:off x="6216651" y="45069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" name="Freeform 255"/>
            <p:cNvSpPr/>
            <p:nvPr/>
          </p:nvSpPr>
          <p:spPr bwMode="auto">
            <a:xfrm>
              <a:off x="6216651" y="45767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2 h 155"/>
                <a:gd name="T22" fmla="*/ 40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" name="Freeform 256"/>
            <p:cNvSpPr/>
            <p:nvPr/>
          </p:nvSpPr>
          <p:spPr bwMode="auto">
            <a:xfrm>
              <a:off x="6286501" y="45069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" name="Freeform 257"/>
            <p:cNvSpPr/>
            <p:nvPr/>
          </p:nvSpPr>
          <p:spPr bwMode="auto">
            <a:xfrm>
              <a:off x="6286501" y="45767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" name="Freeform 258"/>
            <p:cNvSpPr/>
            <p:nvPr/>
          </p:nvSpPr>
          <p:spPr bwMode="auto">
            <a:xfrm>
              <a:off x="6357938" y="45069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" name="Freeform 259"/>
            <p:cNvSpPr/>
            <p:nvPr/>
          </p:nvSpPr>
          <p:spPr bwMode="auto">
            <a:xfrm>
              <a:off x="6357938" y="45767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2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2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" name="Freeform 260"/>
            <p:cNvSpPr/>
            <p:nvPr/>
          </p:nvSpPr>
          <p:spPr bwMode="auto">
            <a:xfrm>
              <a:off x="6427788" y="45069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" name="Freeform 261"/>
            <p:cNvSpPr/>
            <p:nvPr/>
          </p:nvSpPr>
          <p:spPr bwMode="auto">
            <a:xfrm>
              <a:off x="6427788" y="45767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2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" name="Freeform 262"/>
            <p:cNvSpPr/>
            <p:nvPr/>
          </p:nvSpPr>
          <p:spPr bwMode="auto">
            <a:xfrm>
              <a:off x="6146801" y="4648201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2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9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5 h 155"/>
                <a:gd name="T56" fmla="*/ 114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9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9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" name="Freeform 263"/>
            <p:cNvSpPr/>
            <p:nvPr/>
          </p:nvSpPr>
          <p:spPr bwMode="auto">
            <a:xfrm>
              <a:off x="6146801" y="4718051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5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2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5 w 155"/>
                <a:gd name="T63" fmla="*/ 40 h 154"/>
                <a:gd name="T64" fmla="*/ 151 w 155"/>
                <a:gd name="T65" fmla="*/ 53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" name="Freeform 264"/>
            <p:cNvSpPr/>
            <p:nvPr/>
          </p:nvSpPr>
          <p:spPr bwMode="auto">
            <a:xfrm>
              <a:off x="6216651" y="46482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2 h 155"/>
                <a:gd name="T22" fmla="*/ 40 w 154"/>
                <a:gd name="T23" fmla="*/ 146 h 155"/>
                <a:gd name="T24" fmla="*/ 29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9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2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9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9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" name="Freeform 265"/>
            <p:cNvSpPr/>
            <p:nvPr/>
          </p:nvSpPr>
          <p:spPr bwMode="auto">
            <a:xfrm>
              <a:off x="6216651" y="4718051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" name="Freeform 266"/>
            <p:cNvSpPr/>
            <p:nvPr/>
          </p:nvSpPr>
          <p:spPr bwMode="auto">
            <a:xfrm>
              <a:off x="6286501" y="46482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3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2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9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2"/>
                  </a:lnTo>
                  <a:lnTo>
                    <a:pt x="93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3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9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4" name="Freeform 267"/>
            <p:cNvSpPr/>
            <p:nvPr/>
          </p:nvSpPr>
          <p:spPr bwMode="auto">
            <a:xfrm>
              <a:off x="6286501" y="4718051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5" name="Freeform 268"/>
            <p:cNvSpPr/>
            <p:nvPr/>
          </p:nvSpPr>
          <p:spPr bwMode="auto">
            <a:xfrm>
              <a:off x="6357938" y="4648201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2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9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2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2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9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9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6" name="Freeform 269"/>
            <p:cNvSpPr/>
            <p:nvPr/>
          </p:nvSpPr>
          <p:spPr bwMode="auto">
            <a:xfrm>
              <a:off x="6357938" y="4718051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5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8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7" name="Freeform 270"/>
            <p:cNvSpPr/>
            <p:nvPr/>
          </p:nvSpPr>
          <p:spPr bwMode="auto">
            <a:xfrm>
              <a:off x="6427788" y="4648201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2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9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5 h 155"/>
                <a:gd name="T56" fmla="*/ 113 w 153"/>
                <a:gd name="T57" fmla="*/ 11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5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2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2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9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6" y="7"/>
                  </a:lnTo>
                  <a:lnTo>
                    <a:pt x="53" y="5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9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8" name="Freeform 271"/>
            <p:cNvSpPr/>
            <p:nvPr/>
          </p:nvSpPr>
          <p:spPr bwMode="auto">
            <a:xfrm>
              <a:off x="6497638" y="3384551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9" name="Freeform 272"/>
            <p:cNvSpPr/>
            <p:nvPr/>
          </p:nvSpPr>
          <p:spPr bwMode="auto">
            <a:xfrm>
              <a:off x="6497638" y="34559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0" name="Freeform 273"/>
            <p:cNvSpPr/>
            <p:nvPr/>
          </p:nvSpPr>
          <p:spPr bwMode="auto">
            <a:xfrm>
              <a:off x="5797551" y="324643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1" name="Freeform 274"/>
            <p:cNvSpPr/>
            <p:nvPr/>
          </p:nvSpPr>
          <p:spPr bwMode="auto">
            <a:xfrm>
              <a:off x="5797551" y="331787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2" name="Freeform 275"/>
            <p:cNvSpPr/>
            <p:nvPr/>
          </p:nvSpPr>
          <p:spPr bwMode="auto">
            <a:xfrm>
              <a:off x="5867401" y="32464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3" name="Freeform 276"/>
            <p:cNvSpPr/>
            <p:nvPr/>
          </p:nvSpPr>
          <p:spPr bwMode="auto">
            <a:xfrm>
              <a:off x="5867401" y="331787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4" name="Freeform 277"/>
            <p:cNvSpPr/>
            <p:nvPr/>
          </p:nvSpPr>
          <p:spPr bwMode="auto">
            <a:xfrm>
              <a:off x="5937251" y="32464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5" name="Freeform 278"/>
            <p:cNvSpPr/>
            <p:nvPr/>
          </p:nvSpPr>
          <p:spPr bwMode="auto">
            <a:xfrm>
              <a:off x="5937251" y="331787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6" name="Freeform 279"/>
            <p:cNvSpPr/>
            <p:nvPr/>
          </p:nvSpPr>
          <p:spPr bwMode="auto">
            <a:xfrm>
              <a:off x="6008688" y="324643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7" name="Freeform 280"/>
            <p:cNvSpPr/>
            <p:nvPr/>
          </p:nvSpPr>
          <p:spPr bwMode="auto">
            <a:xfrm>
              <a:off x="6008688" y="331787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8" name="Freeform 281"/>
            <p:cNvSpPr/>
            <p:nvPr/>
          </p:nvSpPr>
          <p:spPr bwMode="auto">
            <a:xfrm>
              <a:off x="6076951" y="324643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9" name="Freeform 282"/>
            <p:cNvSpPr/>
            <p:nvPr/>
          </p:nvSpPr>
          <p:spPr bwMode="auto">
            <a:xfrm>
              <a:off x="6076951" y="331787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1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0" name="Freeform 283"/>
            <p:cNvSpPr/>
            <p:nvPr/>
          </p:nvSpPr>
          <p:spPr bwMode="auto">
            <a:xfrm>
              <a:off x="5448301" y="32464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1" name="Freeform 284"/>
            <p:cNvSpPr/>
            <p:nvPr/>
          </p:nvSpPr>
          <p:spPr bwMode="auto">
            <a:xfrm>
              <a:off x="5448301" y="331787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2" name="Freeform 285"/>
            <p:cNvSpPr/>
            <p:nvPr/>
          </p:nvSpPr>
          <p:spPr bwMode="auto">
            <a:xfrm>
              <a:off x="5518151" y="32464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3" name="Freeform 286"/>
            <p:cNvSpPr/>
            <p:nvPr/>
          </p:nvSpPr>
          <p:spPr bwMode="auto">
            <a:xfrm>
              <a:off x="5518151" y="331787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9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4" name="Freeform 287"/>
            <p:cNvSpPr/>
            <p:nvPr/>
          </p:nvSpPr>
          <p:spPr bwMode="auto">
            <a:xfrm>
              <a:off x="5588001" y="324643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5" name="Freeform 288"/>
            <p:cNvSpPr/>
            <p:nvPr/>
          </p:nvSpPr>
          <p:spPr bwMode="auto">
            <a:xfrm>
              <a:off x="5588001" y="331787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6" name="Freeform 289"/>
            <p:cNvSpPr/>
            <p:nvPr/>
          </p:nvSpPr>
          <p:spPr bwMode="auto">
            <a:xfrm>
              <a:off x="5657851" y="32464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7" name="Freeform 290"/>
            <p:cNvSpPr/>
            <p:nvPr/>
          </p:nvSpPr>
          <p:spPr bwMode="auto">
            <a:xfrm>
              <a:off x="5657851" y="331787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3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8" name="Freeform 291"/>
            <p:cNvSpPr/>
            <p:nvPr/>
          </p:nvSpPr>
          <p:spPr bwMode="auto">
            <a:xfrm>
              <a:off x="5727701" y="32464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9" name="Freeform 292"/>
            <p:cNvSpPr/>
            <p:nvPr/>
          </p:nvSpPr>
          <p:spPr bwMode="auto">
            <a:xfrm>
              <a:off x="5727701" y="331787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0" name="Freeform 293"/>
            <p:cNvSpPr/>
            <p:nvPr/>
          </p:nvSpPr>
          <p:spPr bwMode="auto">
            <a:xfrm>
              <a:off x="5237163" y="324643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1" name="Freeform 294"/>
            <p:cNvSpPr/>
            <p:nvPr/>
          </p:nvSpPr>
          <p:spPr bwMode="auto">
            <a:xfrm>
              <a:off x="5237163" y="331787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2" name="Freeform 295"/>
            <p:cNvSpPr/>
            <p:nvPr/>
          </p:nvSpPr>
          <p:spPr bwMode="auto">
            <a:xfrm>
              <a:off x="5307013" y="324643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3" name="Freeform 296"/>
            <p:cNvSpPr/>
            <p:nvPr/>
          </p:nvSpPr>
          <p:spPr bwMode="auto">
            <a:xfrm>
              <a:off x="5307013" y="3317876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4" name="Freeform 297"/>
            <p:cNvSpPr/>
            <p:nvPr/>
          </p:nvSpPr>
          <p:spPr bwMode="auto">
            <a:xfrm>
              <a:off x="5376863" y="324643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19 w 153"/>
                <a:gd name="T11" fmla="*/ 141 h 154"/>
                <a:gd name="T12" fmla="*/ 107 w 153"/>
                <a:gd name="T13" fmla="*/ 148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5" name="Freeform 298"/>
            <p:cNvSpPr/>
            <p:nvPr/>
          </p:nvSpPr>
          <p:spPr bwMode="auto">
            <a:xfrm>
              <a:off x="5376863" y="331787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19 w 153"/>
                <a:gd name="T11" fmla="*/ 141 h 155"/>
                <a:gd name="T12" fmla="*/ 107 w 153"/>
                <a:gd name="T13" fmla="*/ 149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6" name="Freeform 299"/>
            <p:cNvSpPr/>
            <p:nvPr/>
          </p:nvSpPr>
          <p:spPr bwMode="auto">
            <a:xfrm>
              <a:off x="4887913" y="32464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7" name="Freeform 300"/>
            <p:cNvSpPr/>
            <p:nvPr/>
          </p:nvSpPr>
          <p:spPr bwMode="auto">
            <a:xfrm>
              <a:off x="4887913" y="331787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8" name="Freeform 301"/>
            <p:cNvSpPr/>
            <p:nvPr/>
          </p:nvSpPr>
          <p:spPr bwMode="auto">
            <a:xfrm>
              <a:off x="4956176" y="32464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9" name="Freeform 302"/>
            <p:cNvSpPr/>
            <p:nvPr/>
          </p:nvSpPr>
          <p:spPr bwMode="auto">
            <a:xfrm>
              <a:off x="4956176" y="331787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9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0" name="Freeform 303"/>
            <p:cNvSpPr/>
            <p:nvPr/>
          </p:nvSpPr>
          <p:spPr bwMode="auto">
            <a:xfrm>
              <a:off x="5027613" y="32464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3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1" name="Freeform 304"/>
            <p:cNvSpPr/>
            <p:nvPr/>
          </p:nvSpPr>
          <p:spPr bwMode="auto">
            <a:xfrm>
              <a:off x="5027613" y="331787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3 w 155"/>
                <a:gd name="T57" fmla="*/ 10 h 155"/>
                <a:gd name="T58" fmla="*/ 126 w 155"/>
                <a:gd name="T59" fmla="*/ 19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2" name="Freeform 305"/>
            <p:cNvSpPr/>
            <p:nvPr/>
          </p:nvSpPr>
          <p:spPr bwMode="auto">
            <a:xfrm>
              <a:off x="5097463" y="32464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8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3" name="Freeform 306"/>
            <p:cNvSpPr/>
            <p:nvPr/>
          </p:nvSpPr>
          <p:spPr bwMode="auto">
            <a:xfrm>
              <a:off x="5097463" y="331787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6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9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4" name="Freeform 307"/>
            <p:cNvSpPr/>
            <p:nvPr/>
          </p:nvSpPr>
          <p:spPr bwMode="auto">
            <a:xfrm>
              <a:off x="5167313" y="324643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5" name="Freeform 308"/>
            <p:cNvSpPr/>
            <p:nvPr/>
          </p:nvSpPr>
          <p:spPr bwMode="auto">
            <a:xfrm>
              <a:off x="5167313" y="331787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6" name="Freeform 309"/>
            <p:cNvSpPr/>
            <p:nvPr/>
          </p:nvSpPr>
          <p:spPr bwMode="auto">
            <a:xfrm>
              <a:off x="4821238" y="32464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5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4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5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7" name="Freeform 310"/>
            <p:cNvSpPr/>
            <p:nvPr/>
          </p:nvSpPr>
          <p:spPr bwMode="auto">
            <a:xfrm>
              <a:off x="4821238" y="331787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7 w 154"/>
                <a:gd name="T51" fmla="*/ 0 h 155"/>
                <a:gd name="T52" fmla="*/ 84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5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8" name="Freeform 311"/>
            <p:cNvSpPr/>
            <p:nvPr/>
          </p:nvSpPr>
          <p:spPr bwMode="auto">
            <a:xfrm>
              <a:off x="6146801" y="32464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9" name="Freeform 312"/>
            <p:cNvSpPr/>
            <p:nvPr/>
          </p:nvSpPr>
          <p:spPr bwMode="auto">
            <a:xfrm>
              <a:off x="6146801" y="331787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0" name="Freeform 313"/>
            <p:cNvSpPr/>
            <p:nvPr/>
          </p:nvSpPr>
          <p:spPr bwMode="auto">
            <a:xfrm>
              <a:off x="6216651" y="32464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1" name="Freeform 314"/>
            <p:cNvSpPr/>
            <p:nvPr/>
          </p:nvSpPr>
          <p:spPr bwMode="auto">
            <a:xfrm>
              <a:off x="6216651" y="331787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2" name="Freeform 315"/>
            <p:cNvSpPr/>
            <p:nvPr/>
          </p:nvSpPr>
          <p:spPr bwMode="auto">
            <a:xfrm>
              <a:off x="6286501" y="32464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3" name="Freeform 316"/>
            <p:cNvSpPr/>
            <p:nvPr/>
          </p:nvSpPr>
          <p:spPr bwMode="auto">
            <a:xfrm>
              <a:off x="6286501" y="331787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3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4" name="Freeform 317"/>
            <p:cNvSpPr/>
            <p:nvPr/>
          </p:nvSpPr>
          <p:spPr bwMode="auto">
            <a:xfrm>
              <a:off x="6357938" y="324643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5" name="Freeform 318"/>
            <p:cNvSpPr/>
            <p:nvPr/>
          </p:nvSpPr>
          <p:spPr bwMode="auto">
            <a:xfrm>
              <a:off x="6357938" y="3317876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6" name="Freeform 319"/>
            <p:cNvSpPr/>
            <p:nvPr/>
          </p:nvSpPr>
          <p:spPr bwMode="auto">
            <a:xfrm>
              <a:off x="6427788" y="324643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7" name="Freeform 320"/>
            <p:cNvSpPr/>
            <p:nvPr/>
          </p:nvSpPr>
          <p:spPr bwMode="auto">
            <a:xfrm>
              <a:off x="6427788" y="331787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8" name="Freeform 321"/>
            <p:cNvSpPr/>
            <p:nvPr/>
          </p:nvSpPr>
          <p:spPr bwMode="auto">
            <a:xfrm>
              <a:off x="5797551" y="31035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7 h 153"/>
                <a:gd name="T6" fmla="*/ 140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9" name="Freeform 322"/>
            <p:cNvSpPr/>
            <p:nvPr/>
          </p:nvSpPr>
          <p:spPr bwMode="auto">
            <a:xfrm>
              <a:off x="5797551" y="31734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0" name="Freeform 323"/>
            <p:cNvSpPr/>
            <p:nvPr/>
          </p:nvSpPr>
          <p:spPr bwMode="auto">
            <a:xfrm>
              <a:off x="5867401" y="3103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1" name="Freeform 324"/>
            <p:cNvSpPr/>
            <p:nvPr/>
          </p:nvSpPr>
          <p:spPr bwMode="auto">
            <a:xfrm>
              <a:off x="5867401" y="31734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2" name="Freeform 325"/>
            <p:cNvSpPr/>
            <p:nvPr/>
          </p:nvSpPr>
          <p:spPr bwMode="auto">
            <a:xfrm>
              <a:off x="5937251" y="3103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3" name="Freeform 326"/>
            <p:cNvSpPr/>
            <p:nvPr/>
          </p:nvSpPr>
          <p:spPr bwMode="auto">
            <a:xfrm>
              <a:off x="5937251" y="31734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4" name="Freeform 327"/>
            <p:cNvSpPr/>
            <p:nvPr/>
          </p:nvSpPr>
          <p:spPr bwMode="auto">
            <a:xfrm>
              <a:off x="6008688" y="3103563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7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3 w 153"/>
                <a:gd name="T43" fmla="*/ 23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5" name="Freeform 328"/>
            <p:cNvSpPr/>
            <p:nvPr/>
          </p:nvSpPr>
          <p:spPr bwMode="auto">
            <a:xfrm>
              <a:off x="6008688" y="317341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6" name="Freeform 329"/>
            <p:cNvSpPr/>
            <p:nvPr/>
          </p:nvSpPr>
          <p:spPr bwMode="auto">
            <a:xfrm>
              <a:off x="6076951" y="31035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7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3 w 153"/>
                <a:gd name="T43" fmla="*/ 23 h 153"/>
                <a:gd name="T44" fmla="*/ 34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7" name="Freeform 330"/>
            <p:cNvSpPr/>
            <p:nvPr/>
          </p:nvSpPr>
          <p:spPr bwMode="auto">
            <a:xfrm>
              <a:off x="6076951" y="31734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8" name="Freeform 331"/>
            <p:cNvSpPr/>
            <p:nvPr/>
          </p:nvSpPr>
          <p:spPr bwMode="auto">
            <a:xfrm>
              <a:off x="5448301" y="3103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7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5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9" name="Freeform 332"/>
            <p:cNvSpPr/>
            <p:nvPr/>
          </p:nvSpPr>
          <p:spPr bwMode="auto">
            <a:xfrm>
              <a:off x="5448301" y="31734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3 h 155"/>
                <a:gd name="T20" fmla="*/ 53 w 154"/>
                <a:gd name="T21" fmla="*/ 151 h 155"/>
                <a:gd name="T22" fmla="*/ 40 w 154"/>
                <a:gd name="T23" fmla="*/ 145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0" name="Freeform 333"/>
            <p:cNvSpPr/>
            <p:nvPr/>
          </p:nvSpPr>
          <p:spPr bwMode="auto">
            <a:xfrm>
              <a:off x="5518151" y="31035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1" name="Freeform 334"/>
            <p:cNvSpPr/>
            <p:nvPr/>
          </p:nvSpPr>
          <p:spPr bwMode="auto">
            <a:xfrm>
              <a:off x="5518151" y="31734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2" name="Freeform 335"/>
            <p:cNvSpPr/>
            <p:nvPr/>
          </p:nvSpPr>
          <p:spPr bwMode="auto">
            <a:xfrm>
              <a:off x="5588001" y="31035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7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7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3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3" name="Freeform 336"/>
            <p:cNvSpPr/>
            <p:nvPr/>
          </p:nvSpPr>
          <p:spPr bwMode="auto">
            <a:xfrm>
              <a:off x="5588001" y="31734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9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4" name="Freeform 337"/>
            <p:cNvSpPr/>
            <p:nvPr/>
          </p:nvSpPr>
          <p:spPr bwMode="auto">
            <a:xfrm>
              <a:off x="5657851" y="31035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3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5" name="Freeform 338"/>
            <p:cNvSpPr/>
            <p:nvPr/>
          </p:nvSpPr>
          <p:spPr bwMode="auto">
            <a:xfrm>
              <a:off x="5657851" y="31734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3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6" name="Freeform 339"/>
            <p:cNvSpPr/>
            <p:nvPr/>
          </p:nvSpPr>
          <p:spPr bwMode="auto">
            <a:xfrm>
              <a:off x="5727701" y="3103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7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7" name="Freeform 340"/>
            <p:cNvSpPr/>
            <p:nvPr/>
          </p:nvSpPr>
          <p:spPr bwMode="auto">
            <a:xfrm>
              <a:off x="5727701" y="31734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8" name="Freeform 341"/>
            <p:cNvSpPr/>
            <p:nvPr/>
          </p:nvSpPr>
          <p:spPr bwMode="auto">
            <a:xfrm>
              <a:off x="5237163" y="31035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7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9" name="Freeform 342"/>
            <p:cNvSpPr/>
            <p:nvPr/>
          </p:nvSpPr>
          <p:spPr bwMode="auto">
            <a:xfrm>
              <a:off x="5237163" y="31734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0" name="Freeform 343"/>
            <p:cNvSpPr/>
            <p:nvPr/>
          </p:nvSpPr>
          <p:spPr bwMode="auto">
            <a:xfrm>
              <a:off x="5307013" y="3103563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5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1" name="Freeform 344"/>
            <p:cNvSpPr/>
            <p:nvPr/>
          </p:nvSpPr>
          <p:spPr bwMode="auto">
            <a:xfrm>
              <a:off x="5307013" y="31734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2" name="Freeform 345"/>
            <p:cNvSpPr/>
            <p:nvPr/>
          </p:nvSpPr>
          <p:spPr bwMode="auto">
            <a:xfrm>
              <a:off x="5376863" y="3103563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7 h 153"/>
                <a:gd name="T6" fmla="*/ 141 w 153"/>
                <a:gd name="T7" fmla="*/ 120 h 153"/>
                <a:gd name="T8" fmla="*/ 131 w 153"/>
                <a:gd name="T9" fmla="*/ 132 h 153"/>
                <a:gd name="T10" fmla="*/ 119 w 153"/>
                <a:gd name="T11" fmla="*/ 141 h 153"/>
                <a:gd name="T12" fmla="*/ 107 w 153"/>
                <a:gd name="T13" fmla="*/ 148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3" name="Freeform 346"/>
            <p:cNvSpPr/>
            <p:nvPr/>
          </p:nvSpPr>
          <p:spPr bwMode="auto">
            <a:xfrm>
              <a:off x="5376863" y="317341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7 w 153"/>
                <a:gd name="T13" fmla="*/ 149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4" name="Freeform 347"/>
            <p:cNvSpPr/>
            <p:nvPr/>
          </p:nvSpPr>
          <p:spPr bwMode="auto">
            <a:xfrm>
              <a:off x="4887913" y="3103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7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5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5" name="Freeform 348"/>
            <p:cNvSpPr/>
            <p:nvPr/>
          </p:nvSpPr>
          <p:spPr bwMode="auto">
            <a:xfrm>
              <a:off x="4887913" y="31734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6 w 154"/>
                <a:gd name="T17" fmla="*/ 155 h 155"/>
                <a:gd name="T18" fmla="*/ 70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6" name="Freeform 349"/>
            <p:cNvSpPr/>
            <p:nvPr/>
          </p:nvSpPr>
          <p:spPr bwMode="auto">
            <a:xfrm>
              <a:off x="4956176" y="31035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7" name="Freeform 350"/>
            <p:cNvSpPr/>
            <p:nvPr/>
          </p:nvSpPr>
          <p:spPr bwMode="auto">
            <a:xfrm>
              <a:off x="4956176" y="31734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8" name="Freeform 351"/>
            <p:cNvSpPr/>
            <p:nvPr/>
          </p:nvSpPr>
          <p:spPr bwMode="auto">
            <a:xfrm>
              <a:off x="5027613" y="31035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9" name="Freeform 352"/>
            <p:cNvSpPr/>
            <p:nvPr/>
          </p:nvSpPr>
          <p:spPr bwMode="auto">
            <a:xfrm>
              <a:off x="5027613" y="31734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0" name="Freeform 353"/>
            <p:cNvSpPr/>
            <p:nvPr/>
          </p:nvSpPr>
          <p:spPr bwMode="auto">
            <a:xfrm>
              <a:off x="5097463" y="31035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7 h 153"/>
                <a:gd name="T6" fmla="*/ 142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1" name="Freeform 354"/>
            <p:cNvSpPr/>
            <p:nvPr/>
          </p:nvSpPr>
          <p:spPr bwMode="auto">
            <a:xfrm>
              <a:off x="5097463" y="31734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8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2" name="Freeform 355"/>
            <p:cNvSpPr/>
            <p:nvPr/>
          </p:nvSpPr>
          <p:spPr bwMode="auto">
            <a:xfrm>
              <a:off x="5167313" y="31035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7 h 153"/>
                <a:gd name="T6" fmla="*/ 141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3" name="Freeform 356"/>
            <p:cNvSpPr/>
            <p:nvPr/>
          </p:nvSpPr>
          <p:spPr bwMode="auto">
            <a:xfrm>
              <a:off x="5167313" y="31734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4" name="Freeform 357"/>
            <p:cNvSpPr/>
            <p:nvPr/>
          </p:nvSpPr>
          <p:spPr bwMode="auto">
            <a:xfrm>
              <a:off x="4821238" y="31734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5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5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5" name="Freeform 358"/>
            <p:cNvSpPr/>
            <p:nvPr/>
          </p:nvSpPr>
          <p:spPr bwMode="auto">
            <a:xfrm>
              <a:off x="6146801" y="31035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6" name="Freeform 359"/>
            <p:cNvSpPr/>
            <p:nvPr/>
          </p:nvSpPr>
          <p:spPr bwMode="auto">
            <a:xfrm>
              <a:off x="6146801" y="31734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7" name="Freeform 360"/>
            <p:cNvSpPr/>
            <p:nvPr/>
          </p:nvSpPr>
          <p:spPr bwMode="auto">
            <a:xfrm>
              <a:off x="6216651" y="3103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8" name="Freeform 361"/>
            <p:cNvSpPr/>
            <p:nvPr/>
          </p:nvSpPr>
          <p:spPr bwMode="auto">
            <a:xfrm>
              <a:off x="6216651" y="31734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0 w 154"/>
                <a:gd name="T23" fmla="*/ 145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9" name="Freeform 362"/>
            <p:cNvSpPr/>
            <p:nvPr/>
          </p:nvSpPr>
          <p:spPr bwMode="auto">
            <a:xfrm>
              <a:off x="6286501" y="3103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0" name="Freeform 363"/>
            <p:cNvSpPr/>
            <p:nvPr/>
          </p:nvSpPr>
          <p:spPr bwMode="auto">
            <a:xfrm>
              <a:off x="6286501" y="31734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1" name="Freeform 364"/>
            <p:cNvSpPr/>
            <p:nvPr/>
          </p:nvSpPr>
          <p:spPr bwMode="auto">
            <a:xfrm>
              <a:off x="6357938" y="3103563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2" name="Freeform 365"/>
            <p:cNvSpPr/>
            <p:nvPr/>
          </p:nvSpPr>
          <p:spPr bwMode="auto">
            <a:xfrm>
              <a:off x="5797551" y="3036888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3" name="Freeform 366"/>
            <p:cNvSpPr/>
            <p:nvPr/>
          </p:nvSpPr>
          <p:spPr bwMode="auto">
            <a:xfrm>
              <a:off x="5867401" y="30368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4" name="Freeform 367"/>
            <p:cNvSpPr/>
            <p:nvPr/>
          </p:nvSpPr>
          <p:spPr bwMode="auto">
            <a:xfrm>
              <a:off x="5937251" y="30368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5" name="Freeform 368"/>
            <p:cNvSpPr/>
            <p:nvPr/>
          </p:nvSpPr>
          <p:spPr bwMode="auto">
            <a:xfrm>
              <a:off x="6008688" y="3036888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6" name="Freeform 369"/>
            <p:cNvSpPr/>
            <p:nvPr/>
          </p:nvSpPr>
          <p:spPr bwMode="auto">
            <a:xfrm>
              <a:off x="6076951" y="3036888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7" name="Freeform 370"/>
            <p:cNvSpPr/>
            <p:nvPr/>
          </p:nvSpPr>
          <p:spPr bwMode="auto">
            <a:xfrm>
              <a:off x="5448301" y="30368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5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8" name="Freeform 371"/>
            <p:cNvSpPr/>
            <p:nvPr/>
          </p:nvSpPr>
          <p:spPr bwMode="auto">
            <a:xfrm>
              <a:off x="5518151" y="30368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9" name="Freeform 372"/>
            <p:cNvSpPr/>
            <p:nvPr/>
          </p:nvSpPr>
          <p:spPr bwMode="auto">
            <a:xfrm>
              <a:off x="5588001" y="3036888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7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2 h 153"/>
                <a:gd name="T44" fmla="*/ 33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0" name="Freeform 373"/>
            <p:cNvSpPr/>
            <p:nvPr/>
          </p:nvSpPr>
          <p:spPr bwMode="auto">
            <a:xfrm>
              <a:off x="5657851" y="30368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3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1" name="Freeform 374"/>
            <p:cNvSpPr/>
            <p:nvPr/>
          </p:nvSpPr>
          <p:spPr bwMode="auto">
            <a:xfrm>
              <a:off x="5727701" y="30368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2" name="Freeform 375"/>
            <p:cNvSpPr/>
            <p:nvPr/>
          </p:nvSpPr>
          <p:spPr bwMode="auto">
            <a:xfrm>
              <a:off x="5237163" y="3036888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3" name="Freeform 376"/>
            <p:cNvSpPr/>
            <p:nvPr/>
          </p:nvSpPr>
          <p:spPr bwMode="auto">
            <a:xfrm>
              <a:off x="5307013" y="3036888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4" name="Freeform 377"/>
            <p:cNvSpPr/>
            <p:nvPr/>
          </p:nvSpPr>
          <p:spPr bwMode="auto">
            <a:xfrm>
              <a:off x="5376863" y="3036888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19 w 153"/>
                <a:gd name="T11" fmla="*/ 141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5" name="Freeform 378"/>
            <p:cNvSpPr/>
            <p:nvPr/>
          </p:nvSpPr>
          <p:spPr bwMode="auto">
            <a:xfrm>
              <a:off x="4887913" y="30368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5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6" name="Freeform 379"/>
            <p:cNvSpPr/>
            <p:nvPr/>
          </p:nvSpPr>
          <p:spPr bwMode="auto">
            <a:xfrm>
              <a:off x="4956176" y="30368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2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7" name="Freeform 380"/>
            <p:cNvSpPr/>
            <p:nvPr/>
          </p:nvSpPr>
          <p:spPr bwMode="auto">
            <a:xfrm>
              <a:off x="5027613" y="30368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8" name="Freeform 381"/>
            <p:cNvSpPr/>
            <p:nvPr/>
          </p:nvSpPr>
          <p:spPr bwMode="auto">
            <a:xfrm>
              <a:off x="5097463" y="30368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2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8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9" name="Freeform 382"/>
            <p:cNvSpPr/>
            <p:nvPr/>
          </p:nvSpPr>
          <p:spPr bwMode="auto">
            <a:xfrm>
              <a:off x="5167313" y="3036888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0" name="Freeform 383"/>
            <p:cNvSpPr/>
            <p:nvPr/>
          </p:nvSpPr>
          <p:spPr bwMode="auto">
            <a:xfrm>
              <a:off x="4608513" y="16367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1" name="Freeform 384"/>
            <p:cNvSpPr/>
            <p:nvPr/>
          </p:nvSpPr>
          <p:spPr bwMode="auto">
            <a:xfrm>
              <a:off x="4676776" y="16367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19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2" name="Freeform 385"/>
            <p:cNvSpPr/>
            <p:nvPr/>
          </p:nvSpPr>
          <p:spPr bwMode="auto">
            <a:xfrm>
              <a:off x="4746626" y="16367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1 h 155"/>
                <a:gd name="T54" fmla="*/ 101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3" name="Freeform 386"/>
            <p:cNvSpPr/>
            <p:nvPr/>
          </p:nvSpPr>
          <p:spPr bwMode="auto">
            <a:xfrm>
              <a:off x="4395788" y="16367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2 h 155"/>
                <a:gd name="T64" fmla="*/ 152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2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9" y="48"/>
                  </a:lnTo>
                  <a:lnTo>
                    <a:pt x="152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4" name="Freeform 387"/>
            <p:cNvSpPr/>
            <p:nvPr/>
          </p:nvSpPr>
          <p:spPr bwMode="auto">
            <a:xfrm>
              <a:off x="4465638" y="16367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5" name="Freeform 388"/>
            <p:cNvSpPr/>
            <p:nvPr/>
          </p:nvSpPr>
          <p:spPr bwMode="auto">
            <a:xfrm>
              <a:off x="4535488" y="16367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6" name="Freeform 389"/>
            <p:cNvSpPr/>
            <p:nvPr/>
          </p:nvSpPr>
          <p:spPr bwMode="auto">
            <a:xfrm>
              <a:off x="4186238" y="16367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19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7" name="Freeform 390"/>
            <p:cNvSpPr/>
            <p:nvPr/>
          </p:nvSpPr>
          <p:spPr bwMode="auto">
            <a:xfrm>
              <a:off x="4257676" y="16367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8" name="Freeform 391"/>
            <p:cNvSpPr/>
            <p:nvPr/>
          </p:nvSpPr>
          <p:spPr bwMode="auto">
            <a:xfrm>
              <a:off x="4325938" y="16367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9" name="Freeform 392"/>
            <p:cNvSpPr/>
            <p:nvPr/>
          </p:nvSpPr>
          <p:spPr bwMode="auto">
            <a:xfrm>
              <a:off x="4473576" y="17097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1 w 155"/>
                <a:gd name="T33" fmla="*/ 85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0" name="Freeform 393"/>
            <p:cNvSpPr/>
            <p:nvPr/>
          </p:nvSpPr>
          <p:spPr bwMode="auto">
            <a:xfrm>
              <a:off x="4543426" y="17097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5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1" name="Freeform 394"/>
            <p:cNvSpPr/>
            <p:nvPr/>
          </p:nvSpPr>
          <p:spPr bwMode="auto">
            <a:xfrm>
              <a:off x="4262438" y="17097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9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5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4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2" name="Freeform 395"/>
            <p:cNvSpPr/>
            <p:nvPr/>
          </p:nvSpPr>
          <p:spPr bwMode="auto">
            <a:xfrm>
              <a:off x="4332288" y="1709738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3" name="Freeform 396"/>
            <p:cNvSpPr/>
            <p:nvPr/>
          </p:nvSpPr>
          <p:spPr bwMode="auto">
            <a:xfrm>
              <a:off x="4402138" y="170973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4" name="Freeform 397"/>
            <p:cNvSpPr/>
            <p:nvPr/>
          </p:nvSpPr>
          <p:spPr bwMode="auto">
            <a:xfrm>
              <a:off x="4122738" y="170973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5" name="Freeform 398"/>
            <p:cNvSpPr/>
            <p:nvPr/>
          </p:nvSpPr>
          <p:spPr bwMode="auto">
            <a:xfrm>
              <a:off x="4192588" y="17097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6" name="Freeform 399"/>
            <p:cNvSpPr/>
            <p:nvPr/>
          </p:nvSpPr>
          <p:spPr bwMode="auto">
            <a:xfrm>
              <a:off x="4262438" y="17827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7" name="Freeform 400"/>
            <p:cNvSpPr/>
            <p:nvPr/>
          </p:nvSpPr>
          <p:spPr bwMode="auto">
            <a:xfrm>
              <a:off x="4332288" y="178276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8" name="Freeform 401"/>
            <p:cNvSpPr/>
            <p:nvPr/>
          </p:nvSpPr>
          <p:spPr bwMode="auto">
            <a:xfrm>
              <a:off x="4122738" y="178276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1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9" name="Freeform 402"/>
            <p:cNvSpPr/>
            <p:nvPr/>
          </p:nvSpPr>
          <p:spPr bwMode="auto">
            <a:xfrm>
              <a:off x="4192588" y="17827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0" name="Freeform 403"/>
            <p:cNvSpPr/>
            <p:nvPr/>
          </p:nvSpPr>
          <p:spPr bwMode="auto">
            <a:xfrm>
              <a:off x="4262438" y="18494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1" name="Freeform 404"/>
            <p:cNvSpPr/>
            <p:nvPr/>
          </p:nvSpPr>
          <p:spPr bwMode="auto">
            <a:xfrm>
              <a:off x="4122738" y="18494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5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2" name="Freeform 405"/>
            <p:cNvSpPr/>
            <p:nvPr/>
          </p:nvSpPr>
          <p:spPr bwMode="auto">
            <a:xfrm>
              <a:off x="4192588" y="18494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3" name="Freeform 407"/>
            <p:cNvSpPr/>
            <p:nvPr/>
          </p:nvSpPr>
          <p:spPr bwMode="auto">
            <a:xfrm>
              <a:off x="4192588" y="19177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1 h 154"/>
                <a:gd name="T32" fmla="*/ 0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4" name="Freeform 408"/>
            <p:cNvSpPr/>
            <p:nvPr/>
          </p:nvSpPr>
          <p:spPr bwMode="auto">
            <a:xfrm>
              <a:off x="4608513" y="1500188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8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5" name="Freeform 409"/>
            <p:cNvSpPr/>
            <p:nvPr/>
          </p:nvSpPr>
          <p:spPr bwMode="auto">
            <a:xfrm>
              <a:off x="4608513" y="1570038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6" name="Freeform 410"/>
            <p:cNvSpPr/>
            <p:nvPr/>
          </p:nvSpPr>
          <p:spPr bwMode="auto">
            <a:xfrm>
              <a:off x="4676776" y="150018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7" name="Freeform 411"/>
            <p:cNvSpPr/>
            <p:nvPr/>
          </p:nvSpPr>
          <p:spPr bwMode="auto">
            <a:xfrm>
              <a:off x="4676776" y="1570038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19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8" name="Freeform 412"/>
            <p:cNvSpPr/>
            <p:nvPr/>
          </p:nvSpPr>
          <p:spPr bwMode="auto">
            <a:xfrm>
              <a:off x="4746626" y="150018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9" name="Freeform 413"/>
            <p:cNvSpPr/>
            <p:nvPr/>
          </p:nvSpPr>
          <p:spPr bwMode="auto">
            <a:xfrm>
              <a:off x="4746626" y="1570038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9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0" name="Freeform 414"/>
            <p:cNvSpPr/>
            <p:nvPr/>
          </p:nvSpPr>
          <p:spPr bwMode="auto">
            <a:xfrm>
              <a:off x="4818063" y="1500188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7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1" name="Freeform 415"/>
            <p:cNvSpPr/>
            <p:nvPr/>
          </p:nvSpPr>
          <p:spPr bwMode="auto">
            <a:xfrm>
              <a:off x="4818063" y="1570038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19 h 153"/>
                <a:gd name="T8" fmla="*/ 132 w 153"/>
                <a:gd name="T9" fmla="*/ 130 h 153"/>
                <a:gd name="T10" fmla="*/ 120 w 153"/>
                <a:gd name="T11" fmla="*/ 141 h 153"/>
                <a:gd name="T12" fmla="*/ 107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2" name="Freeform 416"/>
            <p:cNvSpPr/>
            <p:nvPr/>
          </p:nvSpPr>
          <p:spPr bwMode="auto">
            <a:xfrm>
              <a:off x="4887913" y="1500188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3" name="Freeform 417"/>
            <p:cNvSpPr/>
            <p:nvPr/>
          </p:nvSpPr>
          <p:spPr bwMode="auto">
            <a:xfrm>
              <a:off x="4395788" y="1500188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2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99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4" name="Freeform 418"/>
            <p:cNvSpPr/>
            <p:nvPr/>
          </p:nvSpPr>
          <p:spPr bwMode="auto">
            <a:xfrm>
              <a:off x="4395788" y="1570038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2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2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9" y="126"/>
                  </a:lnTo>
                  <a:lnTo>
                    <a:pt x="14" y="119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5" name="Freeform 419"/>
            <p:cNvSpPr/>
            <p:nvPr/>
          </p:nvSpPr>
          <p:spPr bwMode="auto">
            <a:xfrm>
              <a:off x="4465638" y="1500188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5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6" name="Freeform 420"/>
            <p:cNvSpPr/>
            <p:nvPr/>
          </p:nvSpPr>
          <p:spPr bwMode="auto">
            <a:xfrm>
              <a:off x="4465638" y="1570038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7" name="Freeform 421"/>
            <p:cNvSpPr/>
            <p:nvPr/>
          </p:nvSpPr>
          <p:spPr bwMode="auto">
            <a:xfrm>
              <a:off x="4535488" y="150018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8" name="Freeform 422"/>
            <p:cNvSpPr/>
            <p:nvPr/>
          </p:nvSpPr>
          <p:spPr bwMode="auto">
            <a:xfrm>
              <a:off x="4535488" y="1570038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9" name="Freeform 423"/>
            <p:cNvSpPr/>
            <p:nvPr/>
          </p:nvSpPr>
          <p:spPr bwMode="auto">
            <a:xfrm>
              <a:off x="4186238" y="150018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0" name="Freeform 424"/>
            <p:cNvSpPr/>
            <p:nvPr/>
          </p:nvSpPr>
          <p:spPr bwMode="auto">
            <a:xfrm>
              <a:off x="4186238" y="1570038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19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1" name="Freeform 425"/>
            <p:cNvSpPr/>
            <p:nvPr/>
          </p:nvSpPr>
          <p:spPr bwMode="auto">
            <a:xfrm>
              <a:off x="4257676" y="1500188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2" name="Freeform 426"/>
            <p:cNvSpPr/>
            <p:nvPr/>
          </p:nvSpPr>
          <p:spPr bwMode="auto">
            <a:xfrm>
              <a:off x="4257676" y="1570038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3" name="Freeform 427"/>
            <p:cNvSpPr/>
            <p:nvPr/>
          </p:nvSpPr>
          <p:spPr bwMode="auto">
            <a:xfrm>
              <a:off x="4325938" y="150018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5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4" name="Freeform 428"/>
            <p:cNvSpPr/>
            <p:nvPr/>
          </p:nvSpPr>
          <p:spPr bwMode="auto">
            <a:xfrm>
              <a:off x="4325938" y="1570038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5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5" name="Freeform 429"/>
            <p:cNvSpPr/>
            <p:nvPr/>
          </p:nvSpPr>
          <p:spPr bwMode="auto">
            <a:xfrm>
              <a:off x="4957763" y="1355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1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2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6" name="Freeform 430"/>
            <p:cNvSpPr/>
            <p:nvPr/>
          </p:nvSpPr>
          <p:spPr bwMode="auto">
            <a:xfrm>
              <a:off x="4957763" y="1427163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49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5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6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2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2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5"/>
                  </a:lnTo>
                  <a:lnTo>
                    <a:pt x="14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2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7" name="Freeform 431"/>
            <p:cNvSpPr/>
            <p:nvPr/>
          </p:nvSpPr>
          <p:spPr bwMode="auto">
            <a:xfrm>
              <a:off x="4608513" y="1355725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8" name="Freeform 432"/>
            <p:cNvSpPr/>
            <p:nvPr/>
          </p:nvSpPr>
          <p:spPr bwMode="auto">
            <a:xfrm>
              <a:off x="4608513" y="1427163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8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5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5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9" name="Freeform 433"/>
            <p:cNvSpPr/>
            <p:nvPr/>
          </p:nvSpPr>
          <p:spPr bwMode="auto">
            <a:xfrm>
              <a:off x="4676776" y="1355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0" name="Freeform 434"/>
            <p:cNvSpPr/>
            <p:nvPr/>
          </p:nvSpPr>
          <p:spPr bwMode="auto">
            <a:xfrm>
              <a:off x="4676776" y="142716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19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1" name="Freeform 435"/>
            <p:cNvSpPr/>
            <p:nvPr/>
          </p:nvSpPr>
          <p:spPr bwMode="auto">
            <a:xfrm>
              <a:off x="4746626" y="1355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2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2" name="Freeform 436"/>
            <p:cNvSpPr/>
            <p:nvPr/>
          </p:nvSpPr>
          <p:spPr bwMode="auto">
            <a:xfrm>
              <a:off x="4746626" y="142716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9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49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5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3" name="Freeform 437"/>
            <p:cNvSpPr/>
            <p:nvPr/>
          </p:nvSpPr>
          <p:spPr bwMode="auto">
            <a:xfrm>
              <a:off x="4818063" y="13557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4" name="Freeform 438"/>
            <p:cNvSpPr/>
            <p:nvPr/>
          </p:nvSpPr>
          <p:spPr bwMode="auto">
            <a:xfrm>
              <a:off x="4818063" y="1427163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19 h 153"/>
                <a:gd name="T8" fmla="*/ 132 w 153"/>
                <a:gd name="T9" fmla="*/ 130 h 153"/>
                <a:gd name="T10" fmla="*/ 120 w 153"/>
                <a:gd name="T11" fmla="*/ 140 h 153"/>
                <a:gd name="T12" fmla="*/ 107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5" name="Freeform 439"/>
            <p:cNvSpPr/>
            <p:nvPr/>
          </p:nvSpPr>
          <p:spPr bwMode="auto">
            <a:xfrm>
              <a:off x="4887913" y="135572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2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6" name="Freeform 440"/>
            <p:cNvSpPr/>
            <p:nvPr/>
          </p:nvSpPr>
          <p:spPr bwMode="auto">
            <a:xfrm>
              <a:off x="4887913" y="1427163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19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3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7" name="Freeform 441"/>
            <p:cNvSpPr/>
            <p:nvPr/>
          </p:nvSpPr>
          <p:spPr bwMode="auto">
            <a:xfrm>
              <a:off x="4395788" y="1355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1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0 h 155"/>
                <a:gd name="T64" fmla="*/ 152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8" name="Freeform 442"/>
            <p:cNvSpPr/>
            <p:nvPr/>
          </p:nvSpPr>
          <p:spPr bwMode="auto">
            <a:xfrm>
              <a:off x="4395788" y="1427163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49 h 153"/>
                <a:gd name="T22" fmla="*/ 41 w 155"/>
                <a:gd name="T23" fmla="*/ 144 h 153"/>
                <a:gd name="T24" fmla="*/ 29 w 155"/>
                <a:gd name="T25" fmla="*/ 136 h 153"/>
                <a:gd name="T26" fmla="*/ 19 w 155"/>
                <a:gd name="T27" fmla="*/ 125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2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2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19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9" y="125"/>
                  </a:lnTo>
                  <a:lnTo>
                    <a:pt x="14" y="119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6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6"/>
                  </a:lnTo>
                  <a:lnTo>
                    <a:pt x="152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9" name="Freeform 443"/>
            <p:cNvSpPr/>
            <p:nvPr/>
          </p:nvSpPr>
          <p:spPr bwMode="auto">
            <a:xfrm>
              <a:off x="4465638" y="1355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0" name="Freeform 444"/>
            <p:cNvSpPr/>
            <p:nvPr/>
          </p:nvSpPr>
          <p:spPr bwMode="auto">
            <a:xfrm>
              <a:off x="4465638" y="1427163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49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5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5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1" name="Freeform 445"/>
            <p:cNvSpPr/>
            <p:nvPr/>
          </p:nvSpPr>
          <p:spPr bwMode="auto">
            <a:xfrm>
              <a:off x="4535488" y="1355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2" name="Freeform 446"/>
            <p:cNvSpPr/>
            <p:nvPr/>
          </p:nvSpPr>
          <p:spPr bwMode="auto">
            <a:xfrm>
              <a:off x="4535488" y="142716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3" name="Freeform 447"/>
            <p:cNvSpPr/>
            <p:nvPr/>
          </p:nvSpPr>
          <p:spPr bwMode="auto">
            <a:xfrm>
              <a:off x="4046538" y="13557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4" name="Freeform 448"/>
            <p:cNvSpPr/>
            <p:nvPr/>
          </p:nvSpPr>
          <p:spPr bwMode="auto">
            <a:xfrm>
              <a:off x="3911601" y="1355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5" name="Freeform 449"/>
            <p:cNvSpPr/>
            <p:nvPr/>
          </p:nvSpPr>
          <p:spPr bwMode="auto">
            <a:xfrm>
              <a:off x="4046538" y="1427163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19 h 153"/>
                <a:gd name="T8" fmla="*/ 130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5"/>
                  </a:lnTo>
                  <a:lnTo>
                    <a:pt x="130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5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6" name="Freeform 450"/>
            <p:cNvSpPr/>
            <p:nvPr/>
          </p:nvSpPr>
          <p:spPr bwMode="auto">
            <a:xfrm>
              <a:off x="4116388" y="1355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7" name="Freeform 451"/>
            <p:cNvSpPr/>
            <p:nvPr/>
          </p:nvSpPr>
          <p:spPr bwMode="auto">
            <a:xfrm>
              <a:off x="4116388" y="142716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8" name="Freeform 452"/>
            <p:cNvSpPr/>
            <p:nvPr/>
          </p:nvSpPr>
          <p:spPr bwMode="auto">
            <a:xfrm>
              <a:off x="4186238" y="1355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9" name="Freeform 453"/>
            <p:cNvSpPr/>
            <p:nvPr/>
          </p:nvSpPr>
          <p:spPr bwMode="auto">
            <a:xfrm>
              <a:off x="4186238" y="142716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19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0" name="Freeform 454"/>
            <p:cNvSpPr/>
            <p:nvPr/>
          </p:nvSpPr>
          <p:spPr bwMode="auto">
            <a:xfrm>
              <a:off x="4257676" y="1355725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1" name="Freeform 455"/>
            <p:cNvSpPr/>
            <p:nvPr/>
          </p:nvSpPr>
          <p:spPr bwMode="auto">
            <a:xfrm>
              <a:off x="4257676" y="1427163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3 w 154"/>
                <a:gd name="T43" fmla="*/ 21 h 153"/>
                <a:gd name="T44" fmla="*/ 35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2" name="Freeform 456"/>
            <p:cNvSpPr/>
            <p:nvPr/>
          </p:nvSpPr>
          <p:spPr bwMode="auto">
            <a:xfrm>
              <a:off x="4325938" y="1355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3" name="Freeform 457"/>
            <p:cNvSpPr/>
            <p:nvPr/>
          </p:nvSpPr>
          <p:spPr bwMode="auto">
            <a:xfrm>
              <a:off x="4325938" y="142716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5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4" name="Freeform 458"/>
            <p:cNvSpPr/>
            <p:nvPr/>
          </p:nvSpPr>
          <p:spPr bwMode="auto">
            <a:xfrm>
              <a:off x="3981451" y="1427163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19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5" name="Freeform 459"/>
            <p:cNvSpPr/>
            <p:nvPr/>
          </p:nvSpPr>
          <p:spPr bwMode="auto">
            <a:xfrm>
              <a:off x="4957763" y="12890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9 h 154"/>
                <a:gd name="T62" fmla="*/ 145 w 155"/>
                <a:gd name="T63" fmla="*/ 40 h 154"/>
                <a:gd name="T64" fmla="*/ 152 w 155"/>
                <a:gd name="T65" fmla="*/ 54 h 154"/>
                <a:gd name="T66" fmla="*/ 154 w 155"/>
                <a:gd name="T67" fmla="*/ 70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6" name="Freeform 460"/>
            <p:cNvSpPr/>
            <p:nvPr/>
          </p:nvSpPr>
          <p:spPr bwMode="auto">
            <a:xfrm>
              <a:off x="4608513" y="1289050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7" name="Freeform 461"/>
            <p:cNvSpPr/>
            <p:nvPr/>
          </p:nvSpPr>
          <p:spPr bwMode="auto">
            <a:xfrm>
              <a:off x="4676776" y="12890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8" name="Freeform 462"/>
            <p:cNvSpPr/>
            <p:nvPr/>
          </p:nvSpPr>
          <p:spPr bwMode="auto">
            <a:xfrm>
              <a:off x="4746626" y="12890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9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9" name="Freeform 463"/>
            <p:cNvSpPr/>
            <p:nvPr/>
          </p:nvSpPr>
          <p:spPr bwMode="auto">
            <a:xfrm>
              <a:off x="4818063" y="12890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0" name="Freeform 464"/>
            <p:cNvSpPr/>
            <p:nvPr/>
          </p:nvSpPr>
          <p:spPr bwMode="auto">
            <a:xfrm>
              <a:off x="4887913" y="128905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1" name="Freeform 465"/>
            <p:cNvSpPr/>
            <p:nvPr/>
          </p:nvSpPr>
          <p:spPr bwMode="auto">
            <a:xfrm>
              <a:off x="4046538" y="12890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0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2" name="Freeform 466"/>
            <p:cNvSpPr/>
            <p:nvPr/>
          </p:nvSpPr>
          <p:spPr bwMode="auto">
            <a:xfrm>
              <a:off x="3976688" y="12890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3" name="Freeform 467"/>
            <p:cNvSpPr/>
            <p:nvPr/>
          </p:nvSpPr>
          <p:spPr bwMode="auto">
            <a:xfrm>
              <a:off x="4116388" y="12890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4" name="Freeform 468"/>
            <p:cNvSpPr/>
            <p:nvPr/>
          </p:nvSpPr>
          <p:spPr bwMode="auto">
            <a:xfrm>
              <a:off x="3838576" y="13557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0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5" name="Freeform 469"/>
            <p:cNvSpPr/>
            <p:nvPr/>
          </p:nvSpPr>
          <p:spPr bwMode="auto">
            <a:xfrm>
              <a:off x="3702051" y="13557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0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6" name="Freeform 470"/>
            <p:cNvSpPr/>
            <p:nvPr/>
          </p:nvSpPr>
          <p:spPr bwMode="auto">
            <a:xfrm>
              <a:off x="3771901" y="1355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7" name="Freeform 471"/>
            <p:cNvSpPr/>
            <p:nvPr/>
          </p:nvSpPr>
          <p:spPr bwMode="auto">
            <a:xfrm>
              <a:off x="3908426" y="1427163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5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8" name="Freeform 472"/>
            <p:cNvSpPr/>
            <p:nvPr/>
          </p:nvSpPr>
          <p:spPr bwMode="auto">
            <a:xfrm>
              <a:off x="3697288" y="1427163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19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6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49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49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9" name="Freeform 473"/>
            <p:cNvSpPr/>
            <p:nvPr/>
          </p:nvSpPr>
          <p:spPr bwMode="auto">
            <a:xfrm>
              <a:off x="3838576" y="12890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0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0" name="Freeform 474"/>
            <p:cNvSpPr/>
            <p:nvPr/>
          </p:nvSpPr>
          <p:spPr bwMode="auto">
            <a:xfrm>
              <a:off x="3908426" y="1289050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9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1" name="Freeform 475"/>
            <p:cNvSpPr/>
            <p:nvPr/>
          </p:nvSpPr>
          <p:spPr bwMode="auto">
            <a:xfrm>
              <a:off x="6146801" y="30368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2" name="Freeform 476"/>
            <p:cNvSpPr/>
            <p:nvPr/>
          </p:nvSpPr>
          <p:spPr bwMode="auto">
            <a:xfrm>
              <a:off x="6216651" y="30368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3" name="Freeform 477"/>
            <p:cNvSpPr/>
            <p:nvPr/>
          </p:nvSpPr>
          <p:spPr bwMode="auto">
            <a:xfrm>
              <a:off x="6286501" y="30368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4" name="Freeform 478"/>
            <p:cNvSpPr/>
            <p:nvPr/>
          </p:nvSpPr>
          <p:spPr bwMode="auto">
            <a:xfrm>
              <a:off x="5797551" y="296545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5" name="Freeform 479"/>
            <p:cNvSpPr/>
            <p:nvPr/>
          </p:nvSpPr>
          <p:spPr bwMode="auto">
            <a:xfrm>
              <a:off x="5867401" y="29654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6" name="Freeform 480"/>
            <p:cNvSpPr/>
            <p:nvPr/>
          </p:nvSpPr>
          <p:spPr bwMode="auto">
            <a:xfrm>
              <a:off x="5937251" y="29654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7" name="Freeform 481"/>
            <p:cNvSpPr/>
            <p:nvPr/>
          </p:nvSpPr>
          <p:spPr bwMode="auto">
            <a:xfrm>
              <a:off x="6008688" y="2965450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8" name="Freeform 482"/>
            <p:cNvSpPr/>
            <p:nvPr/>
          </p:nvSpPr>
          <p:spPr bwMode="auto">
            <a:xfrm>
              <a:off x="6076951" y="296545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9" name="Freeform 483"/>
            <p:cNvSpPr/>
            <p:nvPr/>
          </p:nvSpPr>
          <p:spPr bwMode="auto">
            <a:xfrm>
              <a:off x="5448301" y="29654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5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0" name="Freeform 484"/>
            <p:cNvSpPr/>
            <p:nvPr/>
          </p:nvSpPr>
          <p:spPr bwMode="auto">
            <a:xfrm>
              <a:off x="5518151" y="296545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1" name="Freeform 485"/>
            <p:cNvSpPr/>
            <p:nvPr/>
          </p:nvSpPr>
          <p:spPr bwMode="auto">
            <a:xfrm>
              <a:off x="5588001" y="296545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7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2" name="Freeform 486"/>
            <p:cNvSpPr/>
            <p:nvPr/>
          </p:nvSpPr>
          <p:spPr bwMode="auto">
            <a:xfrm>
              <a:off x="5657851" y="296545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3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3" name="Freeform 487"/>
            <p:cNvSpPr/>
            <p:nvPr/>
          </p:nvSpPr>
          <p:spPr bwMode="auto">
            <a:xfrm>
              <a:off x="5727701" y="29654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4" name="Freeform 488"/>
            <p:cNvSpPr/>
            <p:nvPr/>
          </p:nvSpPr>
          <p:spPr bwMode="auto">
            <a:xfrm>
              <a:off x="5237163" y="296545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5" name="Freeform 489"/>
            <p:cNvSpPr/>
            <p:nvPr/>
          </p:nvSpPr>
          <p:spPr bwMode="auto">
            <a:xfrm>
              <a:off x="5307013" y="2965450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6" name="Freeform 490"/>
            <p:cNvSpPr/>
            <p:nvPr/>
          </p:nvSpPr>
          <p:spPr bwMode="auto">
            <a:xfrm>
              <a:off x="5376863" y="2965450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19 w 153"/>
                <a:gd name="T11" fmla="*/ 141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7" name="Freeform 491"/>
            <p:cNvSpPr/>
            <p:nvPr/>
          </p:nvSpPr>
          <p:spPr bwMode="auto">
            <a:xfrm>
              <a:off x="5027613" y="296545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8" name="Freeform 492"/>
            <p:cNvSpPr/>
            <p:nvPr/>
          </p:nvSpPr>
          <p:spPr bwMode="auto">
            <a:xfrm>
              <a:off x="5097463" y="296545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1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9" name="Freeform 493"/>
            <p:cNvSpPr/>
            <p:nvPr/>
          </p:nvSpPr>
          <p:spPr bwMode="auto">
            <a:xfrm>
              <a:off x="5167313" y="296545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0" name="Freeform 494"/>
            <p:cNvSpPr/>
            <p:nvPr/>
          </p:nvSpPr>
          <p:spPr bwMode="auto">
            <a:xfrm>
              <a:off x="5448301" y="28987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8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2 h 154"/>
                <a:gd name="T12" fmla="*/ 106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8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1" name="Freeform 495"/>
            <p:cNvSpPr/>
            <p:nvPr/>
          </p:nvSpPr>
          <p:spPr bwMode="auto">
            <a:xfrm>
              <a:off x="5518151" y="2898775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2" name="Freeform 496"/>
            <p:cNvSpPr/>
            <p:nvPr/>
          </p:nvSpPr>
          <p:spPr bwMode="auto">
            <a:xfrm>
              <a:off x="5588001" y="2898775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2 h 154"/>
                <a:gd name="T12" fmla="*/ 107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3 w 153"/>
                <a:gd name="T41" fmla="*/ 34 h 154"/>
                <a:gd name="T42" fmla="*/ 23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3" name="Freeform 497"/>
            <p:cNvSpPr/>
            <p:nvPr/>
          </p:nvSpPr>
          <p:spPr bwMode="auto">
            <a:xfrm>
              <a:off x="5657851" y="2898775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3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4" name="Freeform 498"/>
            <p:cNvSpPr/>
            <p:nvPr/>
          </p:nvSpPr>
          <p:spPr bwMode="auto">
            <a:xfrm>
              <a:off x="5727701" y="28987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8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2 h 154"/>
                <a:gd name="T12" fmla="*/ 107 w 154"/>
                <a:gd name="T13" fmla="*/ 149 h 154"/>
                <a:gd name="T14" fmla="*/ 92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5" name="Freeform 499"/>
            <p:cNvSpPr/>
            <p:nvPr/>
          </p:nvSpPr>
          <p:spPr bwMode="auto">
            <a:xfrm>
              <a:off x="5237163" y="2898775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2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6" name="Freeform 500"/>
            <p:cNvSpPr/>
            <p:nvPr/>
          </p:nvSpPr>
          <p:spPr bwMode="auto">
            <a:xfrm>
              <a:off x="5307013" y="2898775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7" name="Freeform 501"/>
            <p:cNvSpPr/>
            <p:nvPr/>
          </p:nvSpPr>
          <p:spPr bwMode="auto">
            <a:xfrm>
              <a:off x="5376863" y="2898775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19 w 153"/>
                <a:gd name="T11" fmla="*/ 142 h 154"/>
                <a:gd name="T12" fmla="*/ 107 w 153"/>
                <a:gd name="T13" fmla="*/ 149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8" name="Freeform 502"/>
            <p:cNvSpPr/>
            <p:nvPr/>
          </p:nvSpPr>
          <p:spPr bwMode="auto">
            <a:xfrm>
              <a:off x="5027613" y="2898775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2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4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9" name="Freeform 503"/>
            <p:cNvSpPr/>
            <p:nvPr/>
          </p:nvSpPr>
          <p:spPr bwMode="auto">
            <a:xfrm>
              <a:off x="5097463" y="2898775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8 h 154"/>
                <a:gd name="T6" fmla="*/ 142 w 155"/>
                <a:gd name="T7" fmla="*/ 120 h 154"/>
                <a:gd name="T8" fmla="*/ 132 w 155"/>
                <a:gd name="T9" fmla="*/ 132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10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8 w 155"/>
                <a:gd name="T61" fmla="*/ 29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0" name="Freeform 504"/>
            <p:cNvSpPr/>
            <p:nvPr/>
          </p:nvSpPr>
          <p:spPr bwMode="auto">
            <a:xfrm>
              <a:off x="5167313" y="2898775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0 w 153"/>
                <a:gd name="T9" fmla="*/ 132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1" name="Freeform 505"/>
            <p:cNvSpPr/>
            <p:nvPr/>
          </p:nvSpPr>
          <p:spPr bwMode="auto">
            <a:xfrm>
              <a:off x="5448301" y="28241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6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8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2" name="Freeform 506"/>
            <p:cNvSpPr/>
            <p:nvPr/>
          </p:nvSpPr>
          <p:spPr bwMode="auto">
            <a:xfrm>
              <a:off x="5518151" y="28241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6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3" name="Freeform 507"/>
            <p:cNvSpPr/>
            <p:nvPr/>
          </p:nvSpPr>
          <p:spPr bwMode="auto">
            <a:xfrm>
              <a:off x="5588001" y="282416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2 h 154"/>
                <a:gd name="T12" fmla="*/ 107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6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8 h 154"/>
                <a:gd name="T40" fmla="*/ 13 w 153"/>
                <a:gd name="T41" fmla="*/ 34 h 154"/>
                <a:gd name="T42" fmla="*/ 23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4" name="Freeform 508"/>
            <p:cNvSpPr/>
            <p:nvPr/>
          </p:nvSpPr>
          <p:spPr bwMode="auto">
            <a:xfrm>
              <a:off x="5237163" y="282416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6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5" name="Freeform 509"/>
            <p:cNvSpPr/>
            <p:nvPr/>
          </p:nvSpPr>
          <p:spPr bwMode="auto">
            <a:xfrm>
              <a:off x="5307013" y="282416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6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8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6" name="Freeform 510"/>
            <p:cNvSpPr/>
            <p:nvPr/>
          </p:nvSpPr>
          <p:spPr bwMode="auto">
            <a:xfrm>
              <a:off x="5376863" y="282416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19 w 153"/>
                <a:gd name="T11" fmla="*/ 142 h 154"/>
                <a:gd name="T12" fmla="*/ 107 w 153"/>
                <a:gd name="T13" fmla="*/ 148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6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7" name="Freeform 511"/>
            <p:cNvSpPr/>
            <p:nvPr/>
          </p:nvSpPr>
          <p:spPr bwMode="auto">
            <a:xfrm>
              <a:off x="5448301" y="27574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8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9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8" name="Freeform 512"/>
            <p:cNvSpPr/>
            <p:nvPr/>
          </p:nvSpPr>
          <p:spPr bwMode="auto">
            <a:xfrm>
              <a:off x="5518151" y="275748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5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6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9" name="Freeform 513"/>
            <p:cNvSpPr/>
            <p:nvPr/>
          </p:nvSpPr>
          <p:spPr bwMode="auto">
            <a:xfrm>
              <a:off x="5588001" y="275748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9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0" name="Freeform 514"/>
            <p:cNvSpPr/>
            <p:nvPr/>
          </p:nvSpPr>
          <p:spPr bwMode="auto">
            <a:xfrm>
              <a:off x="5307013" y="2757488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1" name="Freeform 515"/>
            <p:cNvSpPr/>
            <p:nvPr/>
          </p:nvSpPr>
          <p:spPr bwMode="auto">
            <a:xfrm>
              <a:off x="5307013" y="2616200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3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2" name="Freeform 516"/>
            <p:cNvSpPr/>
            <p:nvPr/>
          </p:nvSpPr>
          <p:spPr bwMode="auto">
            <a:xfrm>
              <a:off x="5376863" y="275748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19 w 153"/>
                <a:gd name="T11" fmla="*/ 141 h 154"/>
                <a:gd name="T12" fmla="*/ 107 w 153"/>
                <a:gd name="T13" fmla="*/ 149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3" name="Freeform 517"/>
            <p:cNvSpPr/>
            <p:nvPr/>
          </p:nvSpPr>
          <p:spPr bwMode="auto">
            <a:xfrm>
              <a:off x="5097463" y="28241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6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4 h 154"/>
                <a:gd name="T56" fmla="*/ 115 w 155"/>
                <a:gd name="T57" fmla="*/ 10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6"/>
                  </a:lnTo>
                  <a:lnTo>
                    <a:pt x="154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7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4" name="Freeform 518"/>
            <p:cNvSpPr/>
            <p:nvPr/>
          </p:nvSpPr>
          <p:spPr bwMode="auto">
            <a:xfrm>
              <a:off x="5167313" y="282416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8 h 154"/>
                <a:gd name="T14" fmla="*/ 91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6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5" name="Freeform 519"/>
            <p:cNvSpPr/>
            <p:nvPr/>
          </p:nvSpPr>
          <p:spPr bwMode="auto">
            <a:xfrm>
              <a:off x="5237163" y="2684463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6" name="Freeform 520"/>
            <p:cNvSpPr/>
            <p:nvPr/>
          </p:nvSpPr>
          <p:spPr bwMode="auto">
            <a:xfrm>
              <a:off x="5097463" y="2684463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7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7" name="Freeform 521"/>
            <p:cNvSpPr/>
            <p:nvPr/>
          </p:nvSpPr>
          <p:spPr bwMode="auto">
            <a:xfrm>
              <a:off x="5167313" y="2684463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8 h 154"/>
                <a:gd name="T14" fmla="*/ 91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8" name="Freeform 522"/>
            <p:cNvSpPr/>
            <p:nvPr/>
          </p:nvSpPr>
          <p:spPr bwMode="auto">
            <a:xfrm>
              <a:off x="5237163" y="261937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9" name="Freeform 523"/>
            <p:cNvSpPr/>
            <p:nvPr/>
          </p:nvSpPr>
          <p:spPr bwMode="auto">
            <a:xfrm>
              <a:off x="5097463" y="2619375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0" name="Freeform 524"/>
            <p:cNvSpPr/>
            <p:nvPr/>
          </p:nvSpPr>
          <p:spPr bwMode="auto">
            <a:xfrm>
              <a:off x="5033963" y="261937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1" name="Freeform 525"/>
            <p:cNvSpPr/>
            <p:nvPr/>
          </p:nvSpPr>
          <p:spPr bwMode="auto">
            <a:xfrm>
              <a:off x="5167313" y="261937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5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2" name="Freeform 526"/>
            <p:cNvSpPr/>
            <p:nvPr/>
          </p:nvSpPr>
          <p:spPr bwMode="auto">
            <a:xfrm>
              <a:off x="5307013" y="2543175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3" name="Freeform 527"/>
            <p:cNvSpPr/>
            <p:nvPr/>
          </p:nvSpPr>
          <p:spPr bwMode="auto">
            <a:xfrm>
              <a:off x="5376863" y="25431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4" name="Freeform 528"/>
            <p:cNvSpPr/>
            <p:nvPr/>
          </p:nvSpPr>
          <p:spPr bwMode="auto">
            <a:xfrm>
              <a:off x="5307013" y="247491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6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5" name="Freeform 529"/>
            <p:cNvSpPr/>
            <p:nvPr/>
          </p:nvSpPr>
          <p:spPr bwMode="auto">
            <a:xfrm>
              <a:off x="5376863" y="247491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6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6" name="Freeform 530"/>
            <p:cNvSpPr/>
            <p:nvPr/>
          </p:nvSpPr>
          <p:spPr bwMode="auto">
            <a:xfrm>
              <a:off x="5443538" y="247491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6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4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7" name="Freeform 531"/>
            <p:cNvSpPr/>
            <p:nvPr/>
          </p:nvSpPr>
          <p:spPr bwMode="auto">
            <a:xfrm>
              <a:off x="5514976" y="247491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6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4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2 w 153"/>
                <a:gd name="T49" fmla="*/ 1 h 155"/>
                <a:gd name="T50" fmla="*/ 76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8" name="Freeform 532"/>
            <p:cNvSpPr/>
            <p:nvPr/>
          </p:nvSpPr>
          <p:spPr bwMode="auto">
            <a:xfrm>
              <a:off x="5307013" y="240823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9" name="Freeform 533"/>
            <p:cNvSpPr/>
            <p:nvPr/>
          </p:nvSpPr>
          <p:spPr bwMode="auto">
            <a:xfrm>
              <a:off x="5376863" y="24082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0" name="Freeform 534"/>
            <p:cNvSpPr/>
            <p:nvPr/>
          </p:nvSpPr>
          <p:spPr bwMode="auto">
            <a:xfrm>
              <a:off x="5443538" y="240823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1" name="Freeform 535"/>
            <p:cNvSpPr/>
            <p:nvPr/>
          </p:nvSpPr>
          <p:spPr bwMode="auto">
            <a:xfrm>
              <a:off x="5514976" y="240823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6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2" name="Freeform 536"/>
            <p:cNvSpPr/>
            <p:nvPr/>
          </p:nvSpPr>
          <p:spPr bwMode="auto">
            <a:xfrm>
              <a:off x="5307013" y="2341563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8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3" name="Freeform 537"/>
            <p:cNvSpPr/>
            <p:nvPr/>
          </p:nvSpPr>
          <p:spPr bwMode="auto">
            <a:xfrm>
              <a:off x="5235576" y="234156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4" name="Freeform 538"/>
            <p:cNvSpPr/>
            <p:nvPr/>
          </p:nvSpPr>
          <p:spPr bwMode="auto">
            <a:xfrm>
              <a:off x="5167313" y="2128838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5" name="Freeform 539"/>
            <p:cNvSpPr/>
            <p:nvPr/>
          </p:nvSpPr>
          <p:spPr bwMode="auto">
            <a:xfrm>
              <a:off x="5097463" y="2128838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6" name="Freeform 540"/>
            <p:cNvSpPr/>
            <p:nvPr/>
          </p:nvSpPr>
          <p:spPr bwMode="auto">
            <a:xfrm>
              <a:off x="4959351" y="17795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7" name="Freeform 541"/>
            <p:cNvSpPr/>
            <p:nvPr/>
          </p:nvSpPr>
          <p:spPr bwMode="auto">
            <a:xfrm>
              <a:off x="4889501" y="17795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19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8" name="Freeform 542"/>
            <p:cNvSpPr/>
            <p:nvPr/>
          </p:nvSpPr>
          <p:spPr bwMode="auto">
            <a:xfrm>
              <a:off x="4824413" y="17795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9" name="Freeform 543"/>
            <p:cNvSpPr/>
            <p:nvPr/>
          </p:nvSpPr>
          <p:spPr bwMode="auto">
            <a:xfrm>
              <a:off x="5307013" y="21971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0" name="Freeform 544"/>
            <p:cNvSpPr/>
            <p:nvPr/>
          </p:nvSpPr>
          <p:spPr bwMode="auto">
            <a:xfrm>
              <a:off x="5235576" y="21971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1" name="Freeform 545"/>
            <p:cNvSpPr/>
            <p:nvPr/>
          </p:nvSpPr>
          <p:spPr bwMode="auto">
            <a:xfrm>
              <a:off x="5094288" y="21971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19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2" name="Freeform 546"/>
            <p:cNvSpPr/>
            <p:nvPr/>
          </p:nvSpPr>
          <p:spPr bwMode="auto">
            <a:xfrm>
              <a:off x="5376863" y="234156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8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3" name="Freeform 547"/>
            <p:cNvSpPr/>
            <p:nvPr/>
          </p:nvSpPr>
          <p:spPr bwMode="auto">
            <a:xfrm>
              <a:off x="5443538" y="2341563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8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4" name="Freeform 548"/>
            <p:cNvSpPr/>
            <p:nvPr/>
          </p:nvSpPr>
          <p:spPr bwMode="auto">
            <a:xfrm>
              <a:off x="5514976" y="2341563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8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6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5" name="Freeform 549"/>
            <p:cNvSpPr/>
            <p:nvPr/>
          </p:nvSpPr>
          <p:spPr bwMode="auto">
            <a:xfrm>
              <a:off x="5376863" y="227012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6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6" name="Freeform 550"/>
            <p:cNvSpPr/>
            <p:nvPr/>
          </p:nvSpPr>
          <p:spPr bwMode="auto">
            <a:xfrm>
              <a:off x="5241926" y="2058988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4 w 153"/>
                <a:gd name="T45" fmla="*/ 13 h 154"/>
                <a:gd name="T46" fmla="*/ 46 w 153"/>
                <a:gd name="T47" fmla="*/ 5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7" name="Freeform 551"/>
            <p:cNvSpPr/>
            <p:nvPr/>
          </p:nvSpPr>
          <p:spPr bwMode="auto">
            <a:xfrm>
              <a:off x="5305426" y="212883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8" name="Freeform 552"/>
            <p:cNvSpPr/>
            <p:nvPr/>
          </p:nvSpPr>
          <p:spPr bwMode="auto">
            <a:xfrm>
              <a:off x="5443538" y="22701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6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6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9" name="Freeform 553"/>
            <p:cNvSpPr/>
            <p:nvPr/>
          </p:nvSpPr>
          <p:spPr bwMode="auto">
            <a:xfrm>
              <a:off x="5514976" y="2270125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3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6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6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6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0" name="Freeform 554"/>
            <p:cNvSpPr/>
            <p:nvPr/>
          </p:nvSpPr>
          <p:spPr bwMode="auto">
            <a:xfrm>
              <a:off x="5237163" y="254635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3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1" name="Freeform 555"/>
            <p:cNvSpPr/>
            <p:nvPr/>
          </p:nvSpPr>
          <p:spPr bwMode="auto">
            <a:xfrm>
              <a:off x="5097463" y="254635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3 h 155"/>
                <a:gd name="T56" fmla="*/ 115 w 155"/>
                <a:gd name="T57" fmla="*/ 9 h 155"/>
                <a:gd name="T58" fmla="*/ 127 w 155"/>
                <a:gd name="T59" fmla="*/ 17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2" name="Freeform 556"/>
            <p:cNvSpPr/>
            <p:nvPr/>
          </p:nvSpPr>
          <p:spPr bwMode="auto">
            <a:xfrm>
              <a:off x="5167313" y="254635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3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3" name="Freeform 557"/>
            <p:cNvSpPr/>
            <p:nvPr/>
          </p:nvSpPr>
          <p:spPr bwMode="auto">
            <a:xfrm>
              <a:off x="5097463" y="24844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10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7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4" name="Freeform 558"/>
            <p:cNvSpPr/>
            <p:nvPr/>
          </p:nvSpPr>
          <p:spPr bwMode="auto">
            <a:xfrm>
              <a:off x="5167313" y="248443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9 h 154"/>
                <a:gd name="T14" fmla="*/ 91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5" name="Freeform 559"/>
            <p:cNvSpPr/>
            <p:nvPr/>
          </p:nvSpPr>
          <p:spPr bwMode="auto">
            <a:xfrm>
              <a:off x="6146801" y="296545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6" name="Freeform 560"/>
            <p:cNvSpPr/>
            <p:nvPr/>
          </p:nvSpPr>
          <p:spPr bwMode="auto">
            <a:xfrm>
              <a:off x="6216651" y="29654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7" name="Freeform 561"/>
            <p:cNvSpPr/>
            <p:nvPr/>
          </p:nvSpPr>
          <p:spPr bwMode="auto">
            <a:xfrm>
              <a:off x="6286501" y="29654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8" name="Freeform 562"/>
            <p:cNvSpPr/>
            <p:nvPr/>
          </p:nvSpPr>
          <p:spPr bwMode="auto">
            <a:xfrm>
              <a:off x="6350001" y="29654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9" name="Freeform 563"/>
            <p:cNvSpPr/>
            <p:nvPr/>
          </p:nvSpPr>
          <p:spPr bwMode="auto">
            <a:xfrm>
              <a:off x="6357938" y="31734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0" name="Freeform 564"/>
            <p:cNvSpPr/>
            <p:nvPr/>
          </p:nvSpPr>
          <p:spPr bwMode="auto">
            <a:xfrm>
              <a:off x="5797551" y="26146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1" name="Freeform 565"/>
            <p:cNvSpPr/>
            <p:nvPr/>
          </p:nvSpPr>
          <p:spPr bwMode="auto">
            <a:xfrm>
              <a:off x="5722938" y="269081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9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6 h 155"/>
                <a:gd name="T48" fmla="*/ 61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4 w 154"/>
                <a:gd name="T57" fmla="*/ 9 h 155"/>
                <a:gd name="T58" fmla="*/ 125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2" name="Freeform 566"/>
            <p:cNvSpPr/>
            <p:nvPr/>
          </p:nvSpPr>
          <p:spPr bwMode="auto">
            <a:xfrm>
              <a:off x="5584826" y="26162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8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3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3" name="Freeform 567"/>
            <p:cNvSpPr/>
            <p:nvPr/>
          </p:nvSpPr>
          <p:spPr bwMode="auto">
            <a:xfrm>
              <a:off x="5937251" y="25431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4" name="Freeform 568"/>
            <p:cNvSpPr/>
            <p:nvPr/>
          </p:nvSpPr>
          <p:spPr bwMode="auto">
            <a:xfrm>
              <a:off x="5937251" y="26146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5" name="Freeform 569"/>
            <p:cNvSpPr/>
            <p:nvPr/>
          </p:nvSpPr>
          <p:spPr bwMode="auto">
            <a:xfrm>
              <a:off x="6008688" y="254317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6" name="Freeform 570"/>
            <p:cNvSpPr/>
            <p:nvPr/>
          </p:nvSpPr>
          <p:spPr bwMode="auto">
            <a:xfrm>
              <a:off x="6076951" y="254317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7" name="Freeform 571"/>
            <p:cNvSpPr/>
            <p:nvPr/>
          </p:nvSpPr>
          <p:spPr bwMode="auto">
            <a:xfrm>
              <a:off x="6008688" y="26844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7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3 w 153"/>
                <a:gd name="T43" fmla="*/ 23 h 155"/>
                <a:gd name="T44" fmla="*/ 34 w 153"/>
                <a:gd name="T45" fmla="*/ 13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8" name="Freeform 572"/>
            <p:cNvSpPr/>
            <p:nvPr/>
          </p:nvSpPr>
          <p:spPr bwMode="auto">
            <a:xfrm>
              <a:off x="6076951" y="275590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1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9" name="Freeform 573"/>
            <p:cNvSpPr/>
            <p:nvPr/>
          </p:nvSpPr>
          <p:spPr bwMode="auto">
            <a:xfrm>
              <a:off x="5937251" y="289401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8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0" name="Freeform 574"/>
            <p:cNvSpPr/>
            <p:nvPr/>
          </p:nvSpPr>
          <p:spPr bwMode="auto">
            <a:xfrm>
              <a:off x="6008688" y="2894013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1" name="Freeform 575"/>
            <p:cNvSpPr/>
            <p:nvPr/>
          </p:nvSpPr>
          <p:spPr bwMode="auto">
            <a:xfrm>
              <a:off x="6146801" y="254317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2" name="Freeform 576"/>
            <p:cNvSpPr/>
            <p:nvPr/>
          </p:nvSpPr>
          <p:spPr bwMode="auto">
            <a:xfrm>
              <a:off x="6146801" y="26146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19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3" name="Freeform 577"/>
            <p:cNvSpPr/>
            <p:nvPr/>
          </p:nvSpPr>
          <p:spPr bwMode="auto">
            <a:xfrm>
              <a:off x="6216651" y="26146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4" name="Freeform 578"/>
            <p:cNvSpPr/>
            <p:nvPr/>
          </p:nvSpPr>
          <p:spPr bwMode="auto">
            <a:xfrm>
              <a:off x="6286501" y="25431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5" name="Freeform 579"/>
            <p:cNvSpPr/>
            <p:nvPr/>
          </p:nvSpPr>
          <p:spPr bwMode="auto">
            <a:xfrm>
              <a:off x="6286501" y="26146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6" name="Freeform 580"/>
            <p:cNvSpPr/>
            <p:nvPr/>
          </p:nvSpPr>
          <p:spPr bwMode="auto">
            <a:xfrm>
              <a:off x="6357938" y="2543175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7" name="Freeform 581"/>
            <p:cNvSpPr/>
            <p:nvPr/>
          </p:nvSpPr>
          <p:spPr bwMode="auto">
            <a:xfrm>
              <a:off x="6357938" y="26146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8" name="Freeform 582"/>
            <p:cNvSpPr/>
            <p:nvPr/>
          </p:nvSpPr>
          <p:spPr bwMode="auto">
            <a:xfrm>
              <a:off x="6146801" y="26844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9" name="Freeform 583"/>
            <p:cNvSpPr/>
            <p:nvPr/>
          </p:nvSpPr>
          <p:spPr bwMode="auto">
            <a:xfrm>
              <a:off x="6216651" y="26844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0" name="Freeform 584"/>
            <p:cNvSpPr/>
            <p:nvPr/>
          </p:nvSpPr>
          <p:spPr bwMode="auto">
            <a:xfrm>
              <a:off x="6286501" y="26844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1" name="Freeform 585"/>
            <p:cNvSpPr/>
            <p:nvPr/>
          </p:nvSpPr>
          <p:spPr bwMode="auto">
            <a:xfrm>
              <a:off x="6357938" y="26844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8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2" name="Freeform 586"/>
            <p:cNvSpPr/>
            <p:nvPr/>
          </p:nvSpPr>
          <p:spPr bwMode="auto">
            <a:xfrm>
              <a:off x="5797551" y="2406650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1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3" name="Freeform 587"/>
            <p:cNvSpPr/>
            <p:nvPr/>
          </p:nvSpPr>
          <p:spPr bwMode="auto">
            <a:xfrm>
              <a:off x="5797551" y="247650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4" name="Freeform 588"/>
            <p:cNvSpPr/>
            <p:nvPr/>
          </p:nvSpPr>
          <p:spPr bwMode="auto">
            <a:xfrm>
              <a:off x="5867401" y="24066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1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5" name="Freeform 589"/>
            <p:cNvSpPr/>
            <p:nvPr/>
          </p:nvSpPr>
          <p:spPr bwMode="auto">
            <a:xfrm>
              <a:off x="5867401" y="24765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6" name="Freeform 590"/>
            <p:cNvSpPr/>
            <p:nvPr/>
          </p:nvSpPr>
          <p:spPr bwMode="auto">
            <a:xfrm>
              <a:off x="5937251" y="24066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49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5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1 h 153"/>
                <a:gd name="T38" fmla="*/ 7 w 154"/>
                <a:gd name="T39" fmla="*/ 46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7" name="Freeform 591"/>
            <p:cNvSpPr/>
            <p:nvPr/>
          </p:nvSpPr>
          <p:spPr bwMode="auto">
            <a:xfrm>
              <a:off x="5937251" y="24765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5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6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8" name="Freeform 592"/>
            <p:cNvSpPr/>
            <p:nvPr/>
          </p:nvSpPr>
          <p:spPr bwMode="auto">
            <a:xfrm>
              <a:off x="6008688" y="2406650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1 h 153"/>
                <a:gd name="T38" fmla="*/ 6 w 153"/>
                <a:gd name="T39" fmla="*/ 46 h 153"/>
                <a:gd name="T40" fmla="*/ 13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9" name="Freeform 593"/>
            <p:cNvSpPr/>
            <p:nvPr/>
          </p:nvSpPr>
          <p:spPr bwMode="auto">
            <a:xfrm>
              <a:off x="6008688" y="247650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6 h 154"/>
                <a:gd name="T40" fmla="*/ 13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0" name="Freeform 594"/>
            <p:cNvSpPr/>
            <p:nvPr/>
          </p:nvSpPr>
          <p:spPr bwMode="auto">
            <a:xfrm>
              <a:off x="6076951" y="2406650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1 h 153"/>
                <a:gd name="T38" fmla="*/ 5 w 153"/>
                <a:gd name="T39" fmla="*/ 46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1" name="Freeform 595"/>
            <p:cNvSpPr/>
            <p:nvPr/>
          </p:nvSpPr>
          <p:spPr bwMode="auto">
            <a:xfrm>
              <a:off x="6076951" y="247650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2" name="Freeform 596"/>
            <p:cNvSpPr/>
            <p:nvPr/>
          </p:nvSpPr>
          <p:spPr bwMode="auto">
            <a:xfrm>
              <a:off x="6146801" y="240665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49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5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1 h 153"/>
                <a:gd name="T38" fmla="*/ 6 w 155"/>
                <a:gd name="T39" fmla="*/ 46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3" name="Freeform 597"/>
            <p:cNvSpPr/>
            <p:nvPr/>
          </p:nvSpPr>
          <p:spPr bwMode="auto">
            <a:xfrm>
              <a:off x="6146801" y="24765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5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4 h 154"/>
                <a:gd name="T34" fmla="*/ 0 w 155"/>
                <a:gd name="T35" fmla="*/ 77 h 154"/>
                <a:gd name="T36" fmla="*/ 3 w 155"/>
                <a:gd name="T37" fmla="*/ 61 h 154"/>
                <a:gd name="T38" fmla="*/ 6 w 155"/>
                <a:gd name="T39" fmla="*/ 46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4" name="Freeform 598"/>
            <p:cNvSpPr/>
            <p:nvPr/>
          </p:nvSpPr>
          <p:spPr bwMode="auto">
            <a:xfrm>
              <a:off x="6286501" y="24066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1 h 153"/>
                <a:gd name="T38" fmla="*/ 6 w 154"/>
                <a:gd name="T39" fmla="*/ 46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5" name="Freeform 599"/>
            <p:cNvSpPr/>
            <p:nvPr/>
          </p:nvSpPr>
          <p:spPr bwMode="auto">
            <a:xfrm>
              <a:off x="5797551" y="22621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6" name="Freeform 600"/>
            <p:cNvSpPr/>
            <p:nvPr/>
          </p:nvSpPr>
          <p:spPr bwMode="auto">
            <a:xfrm>
              <a:off x="5797551" y="23320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7" name="Freeform 601"/>
            <p:cNvSpPr/>
            <p:nvPr/>
          </p:nvSpPr>
          <p:spPr bwMode="auto">
            <a:xfrm>
              <a:off x="5867401" y="22621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8" name="Freeform 602"/>
            <p:cNvSpPr/>
            <p:nvPr/>
          </p:nvSpPr>
          <p:spPr bwMode="auto">
            <a:xfrm>
              <a:off x="5867401" y="23320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9" name="Freeform 603"/>
            <p:cNvSpPr/>
            <p:nvPr/>
          </p:nvSpPr>
          <p:spPr bwMode="auto">
            <a:xfrm>
              <a:off x="5937251" y="22621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0" name="Freeform 604"/>
            <p:cNvSpPr/>
            <p:nvPr/>
          </p:nvSpPr>
          <p:spPr bwMode="auto">
            <a:xfrm>
              <a:off x="5937251" y="23320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1" name="Freeform 605"/>
            <p:cNvSpPr/>
            <p:nvPr/>
          </p:nvSpPr>
          <p:spPr bwMode="auto">
            <a:xfrm>
              <a:off x="6008688" y="22621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5 h 154"/>
                <a:gd name="T42" fmla="*/ 23 w 153"/>
                <a:gd name="T43" fmla="*/ 23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2" name="Freeform 606"/>
            <p:cNvSpPr/>
            <p:nvPr/>
          </p:nvSpPr>
          <p:spPr bwMode="auto">
            <a:xfrm>
              <a:off x="6008688" y="23320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3" name="Freeform 608"/>
            <p:cNvSpPr/>
            <p:nvPr/>
          </p:nvSpPr>
          <p:spPr bwMode="auto">
            <a:xfrm>
              <a:off x="6076951" y="22621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3 w 153"/>
                <a:gd name="T43" fmla="*/ 23 h 154"/>
                <a:gd name="T44" fmla="*/ 34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4" name="Freeform 609"/>
            <p:cNvSpPr/>
            <p:nvPr/>
          </p:nvSpPr>
          <p:spPr bwMode="auto">
            <a:xfrm>
              <a:off x="6076951" y="23320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5" name="Freeform 610"/>
            <p:cNvSpPr/>
            <p:nvPr/>
          </p:nvSpPr>
          <p:spPr bwMode="auto">
            <a:xfrm>
              <a:off x="6146801" y="22621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6" name="Freeform 611"/>
            <p:cNvSpPr/>
            <p:nvPr/>
          </p:nvSpPr>
          <p:spPr bwMode="auto">
            <a:xfrm>
              <a:off x="6146801" y="23320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7" name="Freeform 612"/>
            <p:cNvSpPr/>
            <p:nvPr/>
          </p:nvSpPr>
          <p:spPr bwMode="auto">
            <a:xfrm>
              <a:off x="6216651" y="22621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8" name="Freeform 613"/>
            <p:cNvSpPr/>
            <p:nvPr/>
          </p:nvSpPr>
          <p:spPr bwMode="auto">
            <a:xfrm>
              <a:off x="6216651" y="23320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9" name="Freeform 614"/>
            <p:cNvSpPr/>
            <p:nvPr/>
          </p:nvSpPr>
          <p:spPr bwMode="auto">
            <a:xfrm>
              <a:off x="6286501" y="22621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0" name="Freeform 615"/>
            <p:cNvSpPr/>
            <p:nvPr/>
          </p:nvSpPr>
          <p:spPr bwMode="auto">
            <a:xfrm>
              <a:off x="6286501" y="23320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1" name="Freeform 616"/>
            <p:cNvSpPr/>
            <p:nvPr/>
          </p:nvSpPr>
          <p:spPr bwMode="auto">
            <a:xfrm>
              <a:off x="6357938" y="213042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8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2" name="Freeform 617"/>
            <p:cNvSpPr/>
            <p:nvPr/>
          </p:nvSpPr>
          <p:spPr bwMode="auto">
            <a:xfrm>
              <a:off x="5797551" y="2195513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3" name="Freeform 618"/>
            <p:cNvSpPr/>
            <p:nvPr/>
          </p:nvSpPr>
          <p:spPr bwMode="auto">
            <a:xfrm>
              <a:off x="5867401" y="2195513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4" name="Freeform 619"/>
            <p:cNvSpPr/>
            <p:nvPr/>
          </p:nvSpPr>
          <p:spPr bwMode="auto">
            <a:xfrm>
              <a:off x="5937251" y="2195513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5" name="Freeform 620"/>
            <p:cNvSpPr/>
            <p:nvPr/>
          </p:nvSpPr>
          <p:spPr bwMode="auto">
            <a:xfrm>
              <a:off x="6008688" y="2195513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6" name="Freeform 621"/>
            <p:cNvSpPr/>
            <p:nvPr/>
          </p:nvSpPr>
          <p:spPr bwMode="auto">
            <a:xfrm>
              <a:off x="6076951" y="2195513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7" name="Freeform 622"/>
            <p:cNvSpPr/>
            <p:nvPr/>
          </p:nvSpPr>
          <p:spPr bwMode="auto">
            <a:xfrm>
              <a:off x="6146801" y="2195513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8" name="Freeform 623"/>
            <p:cNvSpPr/>
            <p:nvPr/>
          </p:nvSpPr>
          <p:spPr bwMode="auto">
            <a:xfrm>
              <a:off x="6216651" y="2195513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9" name="Freeform 624"/>
            <p:cNvSpPr/>
            <p:nvPr/>
          </p:nvSpPr>
          <p:spPr bwMode="auto">
            <a:xfrm>
              <a:off x="6286501" y="2195513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0" name="Freeform 625"/>
            <p:cNvSpPr/>
            <p:nvPr/>
          </p:nvSpPr>
          <p:spPr bwMode="auto">
            <a:xfrm>
              <a:off x="5797551" y="21256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1" name="Freeform 626"/>
            <p:cNvSpPr/>
            <p:nvPr/>
          </p:nvSpPr>
          <p:spPr bwMode="auto">
            <a:xfrm>
              <a:off x="5867401" y="21256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2" name="Freeform 627"/>
            <p:cNvSpPr/>
            <p:nvPr/>
          </p:nvSpPr>
          <p:spPr bwMode="auto">
            <a:xfrm>
              <a:off x="5659438" y="2406651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1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49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3" name="Freeform 628"/>
            <p:cNvSpPr/>
            <p:nvPr/>
          </p:nvSpPr>
          <p:spPr bwMode="auto">
            <a:xfrm>
              <a:off x="5659438" y="247650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4" name="Freeform 629"/>
            <p:cNvSpPr/>
            <p:nvPr/>
          </p:nvSpPr>
          <p:spPr bwMode="auto">
            <a:xfrm>
              <a:off x="5729288" y="2406651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1 h 153"/>
                <a:gd name="T38" fmla="*/ 6 w 154"/>
                <a:gd name="T39" fmla="*/ 46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5" name="Freeform 630"/>
            <p:cNvSpPr/>
            <p:nvPr/>
          </p:nvSpPr>
          <p:spPr bwMode="auto">
            <a:xfrm>
              <a:off x="5729288" y="25495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6" name="Freeform 631"/>
            <p:cNvSpPr/>
            <p:nvPr/>
          </p:nvSpPr>
          <p:spPr bwMode="auto">
            <a:xfrm>
              <a:off x="5659438" y="22621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7" name="Freeform 632"/>
            <p:cNvSpPr/>
            <p:nvPr/>
          </p:nvSpPr>
          <p:spPr bwMode="auto">
            <a:xfrm>
              <a:off x="5659438" y="23320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8" name="Freeform 633"/>
            <p:cNvSpPr/>
            <p:nvPr/>
          </p:nvSpPr>
          <p:spPr bwMode="auto">
            <a:xfrm>
              <a:off x="5729288" y="22621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9" name="Freeform 634"/>
            <p:cNvSpPr/>
            <p:nvPr/>
          </p:nvSpPr>
          <p:spPr bwMode="auto">
            <a:xfrm>
              <a:off x="5729288" y="23320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0" name="Freeform 635"/>
            <p:cNvSpPr/>
            <p:nvPr/>
          </p:nvSpPr>
          <p:spPr bwMode="auto">
            <a:xfrm>
              <a:off x="5659438" y="2195513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1" name="Freeform 636"/>
            <p:cNvSpPr/>
            <p:nvPr/>
          </p:nvSpPr>
          <p:spPr bwMode="auto">
            <a:xfrm>
              <a:off x="5729288" y="2195513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2" name="Freeform 637"/>
            <p:cNvSpPr/>
            <p:nvPr/>
          </p:nvSpPr>
          <p:spPr bwMode="auto">
            <a:xfrm>
              <a:off x="5659438" y="21256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3" name="Freeform 638"/>
            <p:cNvSpPr/>
            <p:nvPr/>
          </p:nvSpPr>
          <p:spPr bwMode="auto">
            <a:xfrm>
              <a:off x="5589588" y="2057401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4" name="Freeform 639"/>
            <p:cNvSpPr/>
            <p:nvPr/>
          </p:nvSpPr>
          <p:spPr bwMode="auto">
            <a:xfrm>
              <a:off x="5588001" y="2406651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1 h 153"/>
                <a:gd name="T38" fmla="*/ 6 w 153"/>
                <a:gd name="T39" fmla="*/ 46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5" name="Freeform 640"/>
            <p:cNvSpPr/>
            <p:nvPr/>
          </p:nvSpPr>
          <p:spPr bwMode="auto">
            <a:xfrm>
              <a:off x="5588001" y="22621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5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6" name="Freeform 641"/>
            <p:cNvSpPr/>
            <p:nvPr/>
          </p:nvSpPr>
          <p:spPr bwMode="auto">
            <a:xfrm>
              <a:off x="5588001" y="23320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7" name="Freeform 642"/>
            <p:cNvSpPr/>
            <p:nvPr/>
          </p:nvSpPr>
          <p:spPr bwMode="auto">
            <a:xfrm>
              <a:off x="5588001" y="2195513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8" name="Freeform 643"/>
            <p:cNvSpPr/>
            <p:nvPr/>
          </p:nvSpPr>
          <p:spPr bwMode="auto">
            <a:xfrm>
              <a:off x="5518151" y="2195513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9" name="Freeform 644"/>
            <p:cNvSpPr/>
            <p:nvPr/>
          </p:nvSpPr>
          <p:spPr bwMode="auto">
            <a:xfrm>
              <a:off x="5446713" y="2195513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5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5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5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0" name="Freeform 645"/>
            <p:cNvSpPr/>
            <p:nvPr/>
          </p:nvSpPr>
          <p:spPr bwMode="auto">
            <a:xfrm>
              <a:off x="5588001" y="21256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1" name="Freeform 646"/>
            <p:cNvSpPr/>
            <p:nvPr/>
          </p:nvSpPr>
          <p:spPr bwMode="auto">
            <a:xfrm>
              <a:off x="5729288" y="21256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2" name="Freeform 647"/>
            <p:cNvSpPr/>
            <p:nvPr/>
          </p:nvSpPr>
          <p:spPr bwMode="auto">
            <a:xfrm>
              <a:off x="5937251" y="21256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3" name="Freeform 648"/>
            <p:cNvSpPr/>
            <p:nvPr/>
          </p:nvSpPr>
          <p:spPr bwMode="auto">
            <a:xfrm>
              <a:off x="6008688" y="2125663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4" name="Freeform 649"/>
            <p:cNvSpPr/>
            <p:nvPr/>
          </p:nvSpPr>
          <p:spPr bwMode="auto">
            <a:xfrm>
              <a:off x="6076951" y="21256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5" name="Freeform 650"/>
            <p:cNvSpPr/>
            <p:nvPr/>
          </p:nvSpPr>
          <p:spPr bwMode="auto">
            <a:xfrm>
              <a:off x="6146801" y="21256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6" name="Freeform 651"/>
            <p:cNvSpPr/>
            <p:nvPr/>
          </p:nvSpPr>
          <p:spPr bwMode="auto">
            <a:xfrm>
              <a:off x="6216651" y="21256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7" name="Freeform 652"/>
            <p:cNvSpPr/>
            <p:nvPr/>
          </p:nvSpPr>
          <p:spPr bwMode="auto">
            <a:xfrm>
              <a:off x="6286501" y="21256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8" name="Freeform 653"/>
            <p:cNvSpPr/>
            <p:nvPr/>
          </p:nvSpPr>
          <p:spPr bwMode="auto">
            <a:xfrm>
              <a:off x="6567488" y="22653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9" name="Freeform 654"/>
            <p:cNvSpPr/>
            <p:nvPr/>
          </p:nvSpPr>
          <p:spPr bwMode="auto">
            <a:xfrm>
              <a:off x="6637338" y="2265363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2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0" name="Freeform 655"/>
            <p:cNvSpPr/>
            <p:nvPr/>
          </p:nvSpPr>
          <p:spPr bwMode="auto">
            <a:xfrm>
              <a:off x="6707188" y="2265363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1" name="Freeform 656"/>
            <p:cNvSpPr/>
            <p:nvPr/>
          </p:nvSpPr>
          <p:spPr bwMode="auto">
            <a:xfrm>
              <a:off x="6777038" y="22653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5 w 154"/>
                <a:gd name="T39" fmla="*/ 46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2" name="Freeform 657"/>
            <p:cNvSpPr/>
            <p:nvPr/>
          </p:nvSpPr>
          <p:spPr bwMode="auto">
            <a:xfrm>
              <a:off x="6846888" y="226536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49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5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3" name="Freeform 658"/>
            <p:cNvSpPr/>
            <p:nvPr/>
          </p:nvSpPr>
          <p:spPr bwMode="auto">
            <a:xfrm>
              <a:off x="6916738" y="226536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49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5 h 153"/>
                <a:gd name="T28" fmla="*/ 9 w 155"/>
                <a:gd name="T29" fmla="*/ 113 h 153"/>
                <a:gd name="T30" fmla="*/ 3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4" name="Freeform 659"/>
            <p:cNvSpPr/>
            <p:nvPr/>
          </p:nvSpPr>
          <p:spPr bwMode="auto">
            <a:xfrm>
              <a:off x="6986588" y="2265363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2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49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6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8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49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5" name="Freeform 660"/>
            <p:cNvSpPr/>
            <p:nvPr/>
          </p:nvSpPr>
          <p:spPr bwMode="auto">
            <a:xfrm>
              <a:off x="7056438" y="22653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5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6 w 154"/>
                <a:gd name="T47" fmla="*/ 5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49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6" name="Freeform 661"/>
            <p:cNvSpPr/>
            <p:nvPr/>
          </p:nvSpPr>
          <p:spPr bwMode="auto">
            <a:xfrm>
              <a:off x="7126288" y="226536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0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0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7" name="Freeform 662"/>
            <p:cNvSpPr/>
            <p:nvPr/>
          </p:nvSpPr>
          <p:spPr bwMode="auto">
            <a:xfrm>
              <a:off x="6567488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8" name="Freeform 663"/>
            <p:cNvSpPr/>
            <p:nvPr/>
          </p:nvSpPr>
          <p:spPr bwMode="auto">
            <a:xfrm>
              <a:off x="6637338" y="219868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9" name="Freeform 664"/>
            <p:cNvSpPr/>
            <p:nvPr/>
          </p:nvSpPr>
          <p:spPr bwMode="auto">
            <a:xfrm>
              <a:off x="6707188" y="219868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0" name="Freeform 665"/>
            <p:cNvSpPr/>
            <p:nvPr/>
          </p:nvSpPr>
          <p:spPr bwMode="auto">
            <a:xfrm>
              <a:off x="6777038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7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1" name="Freeform 666"/>
            <p:cNvSpPr/>
            <p:nvPr/>
          </p:nvSpPr>
          <p:spPr bwMode="auto">
            <a:xfrm>
              <a:off x="6846888" y="2198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2" name="Freeform 667"/>
            <p:cNvSpPr/>
            <p:nvPr/>
          </p:nvSpPr>
          <p:spPr bwMode="auto">
            <a:xfrm>
              <a:off x="6916738" y="2198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9 w 155"/>
                <a:gd name="T5" fmla="*/ 107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3" name="Freeform 668"/>
            <p:cNvSpPr/>
            <p:nvPr/>
          </p:nvSpPr>
          <p:spPr bwMode="auto">
            <a:xfrm>
              <a:off x="6986588" y="219868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2 h 153"/>
                <a:gd name="T4" fmla="*/ 148 w 154"/>
                <a:gd name="T5" fmla="*/ 107 h 153"/>
                <a:gd name="T6" fmla="*/ 142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4" name="Freeform 669"/>
            <p:cNvSpPr/>
            <p:nvPr/>
          </p:nvSpPr>
          <p:spPr bwMode="auto">
            <a:xfrm>
              <a:off x="7056438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7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5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5" name="Freeform 670"/>
            <p:cNvSpPr/>
            <p:nvPr/>
          </p:nvSpPr>
          <p:spPr bwMode="auto">
            <a:xfrm>
              <a:off x="6567488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6" name="Freeform 671"/>
            <p:cNvSpPr/>
            <p:nvPr/>
          </p:nvSpPr>
          <p:spPr bwMode="auto">
            <a:xfrm>
              <a:off x="6637338" y="21288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7" name="Freeform 672"/>
            <p:cNvSpPr/>
            <p:nvPr/>
          </p:nvSpPr>
          <p:spPr bwMode="auto">
            <a:xfrm>
              <a:off x="6429376" y="226536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0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49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5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8" name="Freeform 673"/>
            <p:cNvSpPr/>
            <p:nvPr/>
          </p:nvSpPr>
          <p:spPr bwMode="auto">
            <a:xfrm>
              <a:off x="6497638" y="22653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9" name="Freeform 674"/>
            <p:cNvSpPr/>
            <p:nvPr/>
          </p:nvSpPr>
          <p:spPr bwMode="auto">
            <a:xfrm>
              <a:off x="6429376" y="2198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2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0" name="Freeform 675"/>
            <p:cNvSpPr/>
            <p:nvPr/>
          </p:nvSpPr>
          <p:spPr bwMode="auto">
            <a:xfrm>
              <a:off x="6497638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7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1" name="Freeform 676"/>
            <p:cNvSpPr/>
            <p:nvPr/>
          </p:nvSpPr>
          <p:spPr bwMode="auto">
            <a:xfrm>
              <a:off x="6567488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2" name="Freeform 677"/>
            <p:cNvSpPr/>
            <p:nvPr/>
          </p:nvSpPr>
          <p:spPr bwMode="auto">
            <a:xfrm>
              <a:off x="6637338" y="2406651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3" name="Freeform 678"/>
            <p:cNvSpPr/>
            <p:nvPr/>
          </p:nvSpPr>
          <p:spPr bwMode="auto">
            <a:xfrm>
              <a:off x="6707188" y="2406651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4" name="Freeform 679"/>
            <p:cNvSpPr/>
            <p:nvPr/>
          </p:nvSpPr>
          <p:spPr bwMode="auto">
            <a:xfrm>
              <a:off x="6567488" y="2341563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5" name="Freeform 680"/>
            <p:cNvSpPr/>
            <p:nvPr/>
          </p:nvSpPr>
          <p:spPr bwMode="auto">
            <a:xfrm>
              <a:off x="6637338" y="2341563"/>
              <a:ext cx="47625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6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2 h 154"/>
                <a:gd name="T46" fmla="*/ 47 w 153"/>
                <a:gd name="T47" fmla="*/ 5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6" name="Freeform 681"/>
            <p:cNvSpPr/>
            <p:nvPr/>
          </p:nvSpPr>
          <p:spPr bwMode="auto">
            <a:xfrm>
              <a:off x="6707188" y="2341563"/>
              <a:ext cx="47625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7" name="Freeform 682"/>
            <p:cNvSpPr/>
            <p:nvPr/>
          </p:nvSpPr>
          <p:spPr bwMode="auto">
            <a:xfrm>
              <a:off x="6429376" y="24066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9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8" name="Freeform 683"/>
            <p:cNvSpPr/>
            <p:nvPr/>
          </p:nvSpPr>
          <p:spPr bwMode="auto">
            <a:xfrm>
              <a:off x="6497638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9" name="Freeform 684"/>
            <p:cNvSpPr/>
            <p:nvPr/>
          </p:nvSpPr>
          <p:spPr bwMode="auto">
            <a:xfrm>
              <a:off x="6429376" y="2341563"/>
              <a:ext cx="49213" cy="47625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5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6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2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7 h 154"/>
                <a:gd name="T62" fmla="*/ 144 w 155"/>
                <a:gd name="T63" fmla="*/ 40 h 154"/>
                <a:gd name="T64" fmla="*/ 151 w 155"/>
                <a:gd name="T65" fmla="*/ 53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0" name="Freeform 685"/>
            <p:cNvSpPr/>
            <p:nvPr/>
          </p:nvSpPr>
          <p:spPr bwMode="auto">
            <a:xfrm>
              <a:off x="6357938" y="22653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0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1" name="Freeform 686"/>
            <p:cNvSpPr/>
            <p:nvPr/>
          </p:nvSpPr>
          <p:spPr bwMode="auto">
            <a:xfrm>
              <a:off x="6357938" y="2341563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2" name="Freeform 687"/>
            <p:cNvSpPr/>
            <p:nvPr/>
          </p:nvSpPr>
          <p:spPr bwMode="auto">
            <a:xfrm>
              <a:off x="6497638" y="2341563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3" name="Freeform 688"/>
            <p:cNvSpPr/>
            <p:nvPr/>
          </p:nvSpPr>
          <p:spPr bwMode="auto">
            <a:xfrm>
              <a:off x="6567488" y="254635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9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9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4" name="Freeform 689"/>
            <p:cNvSpPr/>
            <p:nvPr/>
          </p:nvSpPr>
          <p:spPr bwMode="auto">
            <a:xfrm>
              <a:off x="6637338" y="2546351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3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2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9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99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9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5" name="Freeform 690"/>
            <p:cNvSpPr/>
            <p:nvPr/>
          </p:nvSpPr>
          <p:spPr bwMode="auto">
            <a:xfrm>
              <a:off x="6707188" y="2546351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2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9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2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9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9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6" name="Freeform 691"/>
            <p:cNvSpPr/>
            <p:nvPr/>
          </p:nvSpPr>
          <p:spPr bwMode="auto">
            <a:xfrm>
              <a:off x="6707188" y="261937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7" name="Freeform 692"/>
            <p:cNvSpPr/>
            <p:nvPr/>
          </p:nvSpPr>
          <p:spPr bwMode="auto">
            <a:xfrm>
              <a:off x="6567488" y="248126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8" name="Freeform 693"/>
            <p:cNvSpPr/>
            <p:nvPr/>
          </p:nvSpPr>
          <p:spPr bwMode="auto">
            <a:xfrm>
              <a:off x="6637338" y="248126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9" name="Freeform 694"/>
            <p:cNvSpPr/>
            <p:nvPr/>
          </p:nvSpPr>
          <p:spPr bwMode="auto">
            <a:xfrm>
              <a:off x="6707188" y="248126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0" name="Freeform 695"/>
            <p:cNvSpPr/>
            <p:nvPr/>
          </p:nvSpPr>
          <p:spPr bwMode="auto">
            <a:xfrm>
              <a:off x="6497638" y="248126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1" name="Freeform 696"/>
            <p:cNvSpPr/>
            <p:nvPr/>
          </p:nvSpPr>
          <p:spPr bwMode="auto">
            <a:xfrm>
              <a:off x="6429376" y="21288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2" name="Freeform 697"/>
            <p:cNvSpPr/>
            <p:nvPr/>
          </p:nvSpPr>
          <p:spPr bwMode="auto">
            <a:xfrm>
              <a:off x="6497638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3" name="Freeform 698"/>
            <p:cNvSpPr/>
            <p:nvPr/>
          </p:nvSpPr>
          <p:spPr bwMode="auto">
            <a:xfrm>
              <a:off x="6707188" y="21288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4" name="Freeform 699"/>
            <p:cNvSpPr/>
            <p:nvPr/>
          </p:nvSpPr>
          <p:spPr bwMode="auto">
            <a:xfrm>
              <a:off x="6777038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5" name="Freeform 700"/>
            <p:cNvSpPr/>
            <p:nvPr/>
          </p:nvSpPr>
          <p:spPr bwMode="auto">
            <a:xfrm>
              <a:off x="6846888" y="21288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6" name="Freeform 701"/>
            <p:cNvSpPr/>
            <p:nvPr/>
          </p:nvSpPr>
          <p:spPr bwMode="auto">
            <a:xfrm>
              <a:off x="6916738" y="21288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3 h 154"/>
                <a:gd name="T30" fmla="*/ 3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2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7" name="Freeform 702"/>
            <p:cNvSpPr/>
            <p:nvPr/>
          </p:nvSpPr>
          <p:spPr bwMode="auto">
            <a:xfrm>
              <a:off x="6986588" y="21288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2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2" y="119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8" name="Freeform 703"/>
            <p:cNvSpPr/>
            <p:nvPr/>
          </p:nvSpPr>
          <p:spPr bwMode="auto">
            <a:xfrm>
              <a:off x="7056438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5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4 w 154"/>
                <a:gd name="T45" fmla="*/ 13 h 154"/>
                <a:gd name="T46" fmla="*/ 46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5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9" name="Freeform 704"/>
            <p:cNvSpPr/>
            <p:nvPr/>
          </p:nvSpPr>
          <p:spPr bwMode="auto">
            <a:xfrm>
              <a:off x="5937251" y="20574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0" name="Freeform 705"/>
            <p:cNvSpPr/>
            <p:nvPr/>
          </p:nvSpPr>
          <p:spPr bwMode="auto">
            <a:xfrm>
              <a:off x="6008688" y="2057401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3 w 153"/>
                <a:gd name="T43" fmla="*/ 23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1" name="Freeform 706"/>
            <p:cNvSpPr/>
            <p:nvPr/>
          </p:nvSpPr>
          <p:spPr bwMode="auto">
            <a:xfrm>
              <a:off x="6076951" y="2057401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3 w 153"/>
                <a:gd name="T43" fmla="*/ 23 h 153"/>
                <a:gd name="T44" fmla="*/ 34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2" name="Freeform 707"/>
            <p:cNvSpPr/>
            <p:nvPr/>
          </p:nvSpPr>
          <p:spPr bwMode="auto">
            <a:xfrm>
              <a:off x="6146801" y="20574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3" name="Freeform 708"/>
            <p:cNvSpPr/>
            <p:nvPr/>
          </p:nvSpPr>
          <p:spPr bwMode="auto">
            <a:xfrm>
              <a:off x="6216651" y="20574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4" name="Freeform 709"/>
            <p:cNvSpPr/>
            <p:nvPr/>
          </p:nvSpPr>
          <p:spPr bwMode="auto">
            <a:xfrm>
              <a:off x="6286501" y="20574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5" name="Freeform 710"/>
            <p:cNvSpPr/>
            <p:nvPr/>
          </p:nvSpPr>
          <p:spPr bwMode="auto">
            <a:xfrm>
              <a:off x="6357938" y="2057401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6" name="Freeform 711"/>
            <p:cNvSpPr/>
            <p:nvPr/>
          </p:nvSpPr>
          <p:spPr bwMode="auto">
            <a:xfrm>
              <a:off x="6008688" y="1990726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7" name="Freeform 712"/>
            <p:cNvSpPr/>
            <p:nvPr/>
          </p:nvSpPr>
          <p:spPr bwMode="auto">
            <a:xfrm>
              <a:off x="6076951" y="1990726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8" name="Freeform 713"/>
            <p:cNvSpPr/>
            <p:nvPr/>
          </p:nvSpPr>
          <p:spPr bwMode="auto">
            <a:xfrm>
              <a:off x="6146801" y="1990726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9" name="Freeform 714"/>
            <p:cNvSpPr/>
            <p:nvPr/>
          </p:nvSpPr>
          <p:spPr bwMode="auto">
            <a:xfrm>
              <a:off x="6216651" y="1990726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0" name="Freeform 715"/>
            <p:cNvSpPr/>
            <p:nvPr/>
          </p:nvSpPr>
          <p:spPr bwMode="auto">
            <a:xfrm>
              <a:off x="6286501" y="1990726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1" name="Freeform 716"/>
            <p:cNvSpPr/>
            <p:nvPr/>
          </p:nvSpPr>
          <p:spPr bwMode="auto">
            <a:xfrm>
              <a:off x="5797551" y="19208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2" name="Freeform 717"/>
            <p:cNvSpPr/>
            <p:nvPr/>
          </p:nvSpPr>
          <p:spPr bwMode="auto">
            <a:xfrm>
              <a:off x="5797551" y="1851026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3" name="Freeform 718"/>
            <p:cNvSpPr/>
            <p:nvPr/>
          </p:nvSpPr>
          <p:spPr bwMode="auto">
            <a:xfrm>
              <a:off x="5659438" y="2057401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4" name="Freeform 719"/>
            <p:cNvSpPr/>
            <p:nvPr/>
          </p:nvSpPr>
          <p:spPr bwMode="auto">
            <a:xfrm>
              <a:off x="5729288" y="20574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5" name="Freeform 720"/>
            <p:cNvSpPr/>
            <p:nvPr/>
          </p:nvSpPr>
          <p:spPr bwMode="auto">
            <a:xfrm>
              <a:off x="5659438" y="1990726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6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6" name="Freeform 721"/>
            <p:cNvSpPr/>
            <p:nvPr/>
          </p:nvSpPr>
          <p:spPr bwMode="auto">
            <a:xfrm>
              <a:off x="5729288" y="1990726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7" name="Freeform 722"/>
            <p:cNvSpPr/>
            <p:nvPr/>
          </p:nvSpPr>
          <p:spPr bwMode="auto">
            <a:xfrm>
              <a:off x="5659438" y="19208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6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8" name="Freeform 723"/>
            <p:cNvSpPr/>
            <p:nvPr/>
          </p:nvSpPr>
          <p:spPr bwMode="auto">
            <a:xfrm>
              <a:off x="5589588" y="1852613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5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9" name="Freeform 724"/>
            <p:cNvSpPr/>
            <p:nvPr/>
          </p:nvSpPr>
          <p:spPr bwMode="auto">
            <a:xfrm>
              <a:off x="5588001" y="19208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0" name="Freeform 725"/>
            <p:cNvSpPr/>
            <p:nvPr/>
          </p:nvSpPr>
          <p:spPr bwMode="auto">
            <a:xfrm>
              <a:off x="5518151" y="18526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11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7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1" name="Freeform 726"/>
            <p:cNvSpPr/>
            <p:nvPr/>
          </p:nvSpPr>
          <p:spPr bwMode="auto">
            <a:xfrm>
              <a:off x="5516563" y="19208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2" name="Freeform 727"/>
            <p:cNvSpPr/>
            <p:nvPr/>
          </p:nvSpPr>
          <p:spPr bwMode="auto">
            <a:xfrm>
              <a:off x="5729288" y="19208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3" name="Freeform 728"/>
            <p:cNvSpPr/>
            <p:nvPr/>
          </p:nvSpPr>
          <p:spPr bwMode="auto">
            <a:xfrm>
              <a:off x="5659438" y="18494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4" name="Freeform 729"/>
            <p:cNvSpPr/>
            <p:nvPr/>
          </p:nvSpPr>
          <p:spPr bwMode="auto">
            <a:xfrm>
              <a:off x="5729288" y="18494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5" name="Freeform 730"/>
            <p:cNvSpPr/>
            <p:nvPr/>
          </p:nvSpPr>
          <p:spPr bwMode="auto">
            <a:xfrm>
              <a:off x="5659438" y="177800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6" name="Freeform 731"/>
            <p:cNvSpPr/>
            <p:nvPr/>
          </p:nvSpPr>
          <p:spPr bwMode="auto">
            <a:xfrm>
              <a:off x="5729288" y="177800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7" name="Freeform 732"/>
            <p:cNvSpPr/>
            <p:nvPr/>
          </p:nvSpPr>
          <p:spPr bwMode="auto">
            <a:xfrm>
              <a:off x="5729288" y="170973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8" name="Freeform 733"/>
            <p:cNvSpPr/>
            <p:nvPr/>
          </p:nvSpPr>
          <p:spPr bwMode="auto">
            <a:xfrm>
              <a:off x="5937251" y="19208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9" name="Freeform 734"/>
            <p:cNvSpPr/>
            <p:nvPr/>
          </p:nvSpPr>
          <p:spPr bwMode="auto">
            <a:xfrm>
              <a:off x="6008688" y="1920876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0" name="Freeform 735"/>
            <p:cNvSpPr/>
            <p:nvPr/>
          </p:nvSpPr>
          <p:spPr bwMode="auto">
            <a:xfrm>
              <a:off x="6076951" y="19208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1" name="Freeform 736"/>
            <p:cNvSpPr/>
            <p:nvPr/>
          </p:nvSpPr>
          <p:spPr bwMode="auto">
            <a:xfrm>
              <a:off x="6146801" y="1920876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2" name="Freeform 737"/>
            <p:cNvSpPr/>
            <p:nvPr/>
          </p:nvSpPr>
          <p:spPr bwMode="auto">
            <a:xfrm>
              <a:off x="6216651" y="19208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3" name="Freeform 738"/>
            <p:cNvSpPr/>
            <p:nvPr/>
          </p:nvSpPr>
          <p:spPr bwMode="auto">
            <a:xfrm>
              <a:off x="6286501" y="19208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4" name="Freeform 739"/>
            <p:cNvSpPr/>
            <p:nvPr/>
          </p:nvSpPr>
          <p:spPr bwMode="auto">
            <a:xfrm>
              <a:off x="6567488" y="20605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5" name="Freeform 740"/>
            <p:cNvSpPr/>
            <p:nvPr/>
          </p:nvSpPr>
          <p:spPr bwMode="auto">
            <a:xfrm>
              <a:off x="6637338" y="206057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6" name="Freeform 741"/>
            <p:cNvSpPr/>
            <p:nvPr/>
          </p:nvSpPr>
          <p:spPr bwMode="auto">
            <a:xfrm>
              <a:off x="6707188" y="206057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7" name="Freeform 742"/>
            <p:cNvSpPr/>
            <p:nvPr/>
          </p:nvSpPr>
          <p:spPr bwMode="auto">
            <a:xfrm>
              <a:off x="6777038" y="20605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8" name="Freeform 743"/>
            <p:cNvSpPr/>
            <p:nvPr/>
          </p:nvSpPr>
          <p:spPr bwMode="auto">
            <a:xfrm>
              <a:off x="6846888" y="20605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9" name="Freeform 744"/>
            <p:cNvSpPr/>
            <p:nvPr/>
          </p:nvSpPr>
          <p:spPr bwMode="auto">
            <a:xfrm>
              <a:off x="6916738" y="20605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0" name="Freeform 745"/>
            <p:cNvSpPr/>
            <p:nvPr/>
          </p:nvSpPr>
          <p:spPr bwMode="auto">
            <a:xfrm>
              <a:off x="6986588" y="206057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2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1" name="Freeform 746"/>
            <p:cNvSpPr/>
            <p:nvPr/>
          </p:nvSpPr>
          <p:spPr bwMode="auto">
            <a:xfrm>
              <a:off x="7056438" y="20605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5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6 w 154"/>
                <a:gd name="T47" fmla="*/ 6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5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2" name="Freeform 747"/>
            <p:cNvSpPr/>
            <p:nvPr/>
          </p:nvSpPr>
          <p:spPr bwMode="auto">
            <a:xfrm>
              <a:off x="7126288" y="206057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3" name="Freeform 748"/>
            <p:cNvSpPr/>
            <p:nvPr/>
          </p:nvSpPr>
          <p:spPr bwMode="auto">
            <a:xfrm>
              <a:off x="6567488" y="19939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4" name="Freeform 749"/>
            <p:cNvSpPr/>
            <p:nvPr/>
          </p:nvSpPr>
          <p:spPr bwMode="auto">
            <a:xfrm>
              <a:off x="6637338" y="1993901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5" name="Freeform 750"/>
            <p:cNvSpPr/>
            <p:nvPr/>
          </p:nvSpPr>
          <p:spPr bwMode="auto">
            <a:xfrm>
              <a:off x="6707188" y="1993901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6" name="Freeform 751"/>
            <p:cNvSpPr/>
            <p:nvPr/>
          </p:nvSpPr>
          <p:spPr bwMode="auto">
            <a:xfrm>
              <a:off x="6777038" y="19939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7" name="Freeform 752"/>
            <p:cNvSpPr/>
            <p:nvPr/>
          </p:nvSpPr>
          <p:spPr bwMode="auto">
            <a:xfrm>
              <a:off x="6846888" y="19939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8" name="Freeform 753"/>
            <p:cNvSpPr/>
            <p:nvPr/>
          </p:nvSpPr>
          <p:spPr bwMode="auto">
            <a:xfrm>
              <a:off x="6916738" y="19939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9" name="Freeform 754"/>
            <p:cNvSpPr/>
            <p:nvPr/>
          </p:nvSpPr>
          <p:spPr bwMode="auto">
            <a:xfrm>
              <a:off x="6986588" y="1993901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2 h 153"/>
                <a:gd name="T4" fmla="*/ 148 w 154"/>
                <a:gd name="T5" fmla="*/ 106 h 153"/>
                <a:gd name="T6" fmla="*/ 142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0" name="Freeform 755"/>
            <p:cNvSpPr/>
            <p:nvPr/>
          </p:nvSpPr>
          <p:spPr bwMode="auto">
            <a:xfrm>
              <a:off x="7056438" y="19939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1" name="Freeform 756"/>
            <p:cNvSpPr/>
            <p:nvPr/>
          </p:nvSpPr>
          <p:spPr bwMode="auto">
            <a:xfrm>
              <a:off x="6567488" y="19240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2" name="Freeform 757"/>
            <p:cNvSpPr/>
            <p:nvPr/>
          </p:nvSpPr>
          <p:spPr bwMode="auto">
            <a:xfrm>
              <a:off x="6637338" y="1924051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19 h 153"/>
                <a:gd name="T8" fmla="*/ 131 w 153"/>
                <a:gd name="T9" fmla="*/ 130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3" name="Freeform 758"/>
            <p:cNvSpPr/>
            <p:nvPr/>
          </p:nvSpPr>
          <p:spPr bwMode="auto">
            <a:xfrm>
              <a:off x="6429376" y="20605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4" name="Freeform 759"/>
            <p:cNvSpPr/>
            <p:nvPr/>
          </p:nvSpPr>
          <p:spPr bwMode="auto">
            <a:xfrm>
              <a:off x="6497638" y="20605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5" name="Freeform 760"/>
            <p:cNvSpPr/>
            <p:nvPr/>
          </p:nvSpPr>
          <p:spPr bwMode="auto">
            <a:xfrm>
              <a:off x="6567488" y="28209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6" name="Freeform 761"/>
            <p:cNvSpPr/>
            <p:nvPr/>
          </p:nvSpPr>
          <p:spPr bwMode="auto">
            <a:xfrm>
              <a:off x="6637338" y="282098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7" name="Freeform 762"/>
            <p:cNvSpPr/>
            <p:nvPr/>
          </p:nvSpPr>
          <p:spPr bwMode="auto">
            <a:xfrm>
              <a:off x="6567488" y="27543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8" name="Freeform 763"/>
            <p:cNvSpPr/>
            <p:nvPr/>
          </p:nvSpPr>
          <p:spPr bwMode="auto">
            <a:xfrm>
              <a:off x="6637338" y="2754313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9" name="Freeform 764"/>
            <p:cNvSpPr/>
            <p:nvPr/>
          </p:nvSpPr>
          <p:spPr bwMode="auto">
            <a:xfrm>
              <a:off x="6567488" y="26844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0" name="Freeform 765"/>
            <p:cNvSpPr/>
            <p:nvPr/>
          </p:nvSpPr>
          <p:spPr bwMode="auto">
            <a:xfrm>
              <a:off x="6637338" y="268446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1" name="Freeform 766"/>
            <p:cNvSpPr/>
            <p:nvPr/>
          </p:nvSpPr>
          <p:spPr bwMode="auto">
            <a:xfrm>
              <a:off x="6497638" y="28209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5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2" name="Freeform 767"/>
            <p:cNvSpPr/>
            <p:nvPr/>
          </p:nvSpPr>
          <p:spPr bwMode="auto">
            <a:xfrm>
              <a:off x="6497638" y="27543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3" name="Freeform 768"/>
            <p:cNvSpPr/>
            <p:nvPr/>
          </p:nvSpPr>
          <p:spPr bwMode="auto">
            <a:xfrm>
              <a:off x="6567488" y="296386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4" name="Freeform 769"/>
            <p:cNvSpPr/>
            <p:nvPr/>
          </p:nvSpPr>
          <p:spPr bwMode="auto">
            <a:xfrm>
              <a:off x="6637338" y="2963863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5" name="Freeform 770"/>
            <p:cNvSpPr/>
            <p:nvPr/>
          </p:nvSpPr>
          <p:spPr bwMode="auto">
            <a:xfrm>
              <a:off x="6567488" y="28971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6" name="Freeform 771"/>
            <p:cNvSpPr/>
            <p:nvPr/>
          </p:nvSpPr>
          <p:spPr bwMode="auto">
            <a:xfrm>
              <a:off x="6637338" y="28971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7" name="Freeform 772"/>
            <p:cNvSpPr/>
            <p:nvPr/>
          </p:nvSpPr>
          <p:spPr bwMode="auto">
            <a:xfrm>
              <a:off x="6497638" y="296386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8" name="Freeform 773"/>
            <p:cNvSpPr/>
            <p:nvPr/>
          </p:nvSpPr>
          <p:spPr bwMode="auto">
            <a:xfrm>
              <a:off x="6497638" y="28971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9" name="Freeform 774"/>
            <p:cNvSpPr/>
            <p:nvPr/>
          </p:nvSpPr>
          <p:spPr bwMode="auto">
            <a:xfrm>
              <a:off x="6567488" y="310356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0" name="Freeform 775"/>
            <p:cNvSpPr/>
            <p:nvPr/>
          </p:nvSpPr>
          <p:spPr bwMode="auto">
            <a:xfrm>
              <a:off x="6497638" y="310356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5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1" name="Freeform 776"/>
            <p:cNvSpPr/>
            <p:nvPr/>
          </p:nvSpPr>
          <p:spPr bwMode="auto">
            <a:xfrm>
              <a:off x="6637338" y="310356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2" name="Freeform 777"/>
            <p:cNvSpPr/>
            <p:nvPr/>
          </p:nvSpPr>
          <p:spPr bwMode="auto">
            <a:xfrm>
              <a:off x="6567488" y="30368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3" name="Freeform 778"/>
            <p:cNvSpPr/>
            <p:nvPr/>
          </p:nvSpPr>
          <p:spPr bwMode="auto">
            <a:xfrm>
              <a:off x="6637338" y="303688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4" name="Freeform 779"/>
            <p:cNvSpPr/>
            <p:nvPr/>
          </p:nvSpPr>
          <p:spPr bwMode="auto">
            <a:xfrm>
              <a:off x="6497638" y="30368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5" name="Freeform 780"/>
            <p:cNvSpPr/>
            <p:nvPr/>
          </p:nvSpPr>
          <p:spPr bwMode="auto">
            <a:xfrm>
              <a:off x="6426201" y="3036888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6" name="Freeform 781"/>
            <p:cNvSpPr/>
            <p:nvPr/>
          </p:nvSpPr>
          <p:spPr bwMode="auto">
            <a:xfrm>
              <a:off x="6567488" y="3243263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7" name="Freeform 782"/>
            <p:cNvSpPr/>
            <p:nvPr/>
          </p:nvSpPr>
          <p:spPr bwMode="auto">
            <a:xfrm>
              <a:off x="6567488" y="33178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8" name="Freeform 783"/>
            <p:cNvSpPr/>
            <p:nvPr/>
          </p:nvSpPr>
          <p:spPr bwMode="auto">
            <a:xfrm>
              <a:off x="6637338" y="3243263"/>
              <a:ext cx="47625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6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2 h 154"/>
                <a:gd name="T46" fmla="*/ 47 w 153"/>
                <a:gd name="T47" fmla="*/ 5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9" name="Freeform 784"/>
            <p:cNvSpPr/>
            <p:nvPr/>
          </p:nvSpPr>
          <p:spPr bwMode="auto">
            <a:xfrm>
              <a:off x="6567488" y="317658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3 h 155"/>
                <a:gd name="T42" fmla="*/ 22 w 154"/>
                <a:gd name="T43" fmla="*/ 23 h 155"/>
                <a:gd name="T44" fmla="*/ 33 w 154"/>
                <a:gd name="T45" fmla="*/ 13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0" name="Freeform 785"/>
            <p:cNvSpPr/>
            <p:nvPr/>
          </p:nvSpPr>
          <p:spPr bwMode="auto">
            <a:xfrm>
              <a:off x="6637338" y="3176588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3 h 155"/>
                <a:gd name="T42" fmla="*/ 23 w 153"/>
                <a:gd name="T43" fmla="*/ 23 h 155"/>
                <a:gd name="T44" fmla="*/ 34 w 153"/>
                <a:gd name="T45" fmla="*/ 13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1" name="Freeform 786"/>
            <p:cNvSpPr/>
            <p:nvPr/>
          </p:nvSpPr>
          <p:spPr bwMode="auto">
            <a:xfrm>
              <a:off x="6497638" y="317658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4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3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2" name="Freeform 787"/>
            <p:cNvSpPr/>
            <p:nvPr/>
          </p:nvSpPr>
          <p:spPr bwMode="auto">
            <a:xfrm>
              <a:off x="6497638" y="26844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3" name="Freeform 788"/>
            <p:cNvSpPr/>
            <p:nvPr/>
          </p:nvSpPr>
          <p:spPr bwMode="auto">
            <a:xfrm>
              <a:off x="6567488" y="26162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4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3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4" name="Freeform 789"/>
            <p:cNvSpPr/>
            <p:nvPr/>
          </p:nvSpPr>
          <p:spPr bwMode="auto">
            <a:xfrm>
              <a:off x="6637338" y="2616201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4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3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5" name="Freeform 790"/>
            <p:cNvSpPr/>
            <p:nvPr/>
          </p:nvSpPr>
          <p:spPr bwMode="auto">
            <a:xfrm>
              <a:off x="6497638" y="26162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7 h 155"/>
                <a:gd name="T28" fmla="*/ 9 w 154"/>
                <a:gd name="T29" fmla="*/ 114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3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6" name="Freeform 791"/>
            <p:cNvSpPr/>
            <p:nvPr/>
          </p:nvSpPr>
          <p:spPr bwMode="auto">
            <a:xfrm>
              <a:off x="6429376" y="19939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7" name="Freeform 792"/>
            <p:cNvSpPr/>
            <p:nvPr/>
          </p:nvSpPr>
          <p:spPr bwMode="auto">
            <a:xfrm>
              <a:off x="6497638" y="19939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8" name="Freeform 793"/>
            <p:cNvSpPr/>
            <p:nvPr/>
          </p:nvSpPr>
          <p:spPr bwMode="auto">
            <a:xfrm>
              <a:off x="6429376" y="1924051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9" name="Freeform 794"/>
            <p:cNvSpPr/>
            <p:nvPr/>
          </p:nvSpPr>
          <p:spPr bwMode="auto">
            <a:xfrm>
              <a:off x="6429376" y="29575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5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0" name="Freeform 795"/>
            <p:cNvSpPr/>
            <p:nvPr/>
          </p:nvSpPr>
          <p:spPr bwMode="auto">
            <a:xfrm>
              <a:off x="6429376" y="28908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1" name="Freeform 796"/>
            <p:cNvSpPr/>
            <p:nvPr/>
          </p:nvSpPr>
          <p:spPr bwMode="auto">
            <a:xfrm>
              <a:off x="6429376" y="2819401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2" name="Freeform 797"/>
            <p:cNvSpPr/>
            <p:nvPr/>
          </p:nvSpPr>
          <p:spPr bwMode="auto">
            <a:xfrm>
              <a:off x="6429376" y="2752726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2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9 h 154"/>
                <a:gd name="T62" fmla="*/ 144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3" name="Freeform 798"/>
            <p:cNvSpPr/>
            <p:nvPr/>
          </p:nvSpPr>
          <p:spPr bwMode="auto">
            <a:xfrm>
              <a:off x="6429376" y="26860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1 h 154"/>
                <a:gd name="T64" fmla="*/ 151 w 155"/>
                <a:gd name="T65" fmla="*/ 55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4" name="Freeform 799"/>
            <p:cNvSpPr/>
            <p:nvPr/>
          </p:nvSpPr>
          <p:spPr bwMode="auto">
            <a:xfrm>
              <a:off x="6429376" y="2616201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1 h 154"/>
                <a:gd name="T64" fmla="*/ 151 w 155"/>
                <a:gd name="T65" fmla="*/ 55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5" name="Freeform 800"/>
            <p:cNvSpPr/>
            <p:nvPr/>
          </p:nvSpPr>
          <p:spPr bwMode="auto">
            <a:xfrm>
              <a:off x="6497638" y="19240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6" name="Freeform 801"/>
            <p:cNvSpPr/>
            <p:nvPr/>
          </p:nvSpPr>
          <p:spPr bwMode="auto">
            <a:xfrm>
              <a:off x="6707188" y="1924051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19 h 153"/>
                <a:gd name="T8" fmla="*/ 131 w 153"/>
                <a:gd name="T9" fmla="*/ 130 h 153"/>
                <a:gd name="T10" fmla="*/ 120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7" name="Freeform 802"/>
            <p:cNvSpPr/>
            <p:nvPr/>
          </p:nvSpPr>
          <p:spPr bwMode="auto">
            <a:xfrm>
              <a:off x="6777038" y="19240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8" name="Freeform 803"/>
            <p:cNvSpPr/>
            <p:nvPr/>
          </p:nvSpPr>
          <p:spPr bwMode="auto">
            <a:xfrm>
              <a:off x="6846888" y="1924051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9" name="Freeform 804"/>
            <p:cNvSpPr/>
            <p:nvPr/>
          </p:nvSpPr>
          <p:spPr bwMode="auto">
            <a:xfrm>
              <a:off x="6916738" y="1924051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9 w 155"/>
                <a:gd name="T5" fmla="*/ 106 h 153"/>
                <a:gd name="T6" fmla="*/ 142 w 155"/>
                <a:gd name="T7" fmla="*/ 119 h 153"/>
                <a:gd name="T8" fmla="*/ 132 w 155"/>
                <a:gd name="T9" fmla="*/ 130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0" name="Freeform 805"/>
            <p:cNvSpPr/>
            <p:nvPr/>
          </p:nvSpPr>
          <p:spPr bwMode="auto">
            <a:xfrm>
              <a:off x="6986588" y="1924051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2 h 153"/>
                <a:gd name="T4" fmla="*/ 148 w 154"/>
                <a:gd name="T5" fmla="*/ 106 h 153"/>
                <a:gd name="T6" fmla="*/ 142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2" y="119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1" name="Freeform 806"/>
            <p:cNvSpPr/>
            <p:nvPr/>
          </p:nvSpPr>
          <p:spPr bwMode="auto">
            <a:xfrm>
              <a:off x="7056438" y="19240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6 h 153"/>
                <a:gd name="T6" fmla="*/ 140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2" name="Freeform 807"/>
            <p:cNvSpPr/>
            <p:nvPr/>
          </p:nvSpPr>
          <p:spPr bwMode="auto">
            <a:xfrm>
              <a:off x="6567488" y="18494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3" name="Freeform 809"/>
            <p:cNvSpPr/>
            <p:nvPr/>
          </p:nvSpPr>
          <p:spPr bwMode="auto">
            <a:xfrm>
              <a:off x="6637338" y="18494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4" name="Freeform 810"/>
            <p:cNvSpPr/>
            <p:nvPr/>
          </p:nvSpPr>
          <p:spPr bwMode="auto">
            <a:xfrm>
              <a:off x="6707188" y="18494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5" name="Freeform 811"/>
            <p:cNvSpPr/>
            <p:nvPr/>
          </p:nvSpPr>
          <p:spPr bwMode="auto">
            <a:xfrm>
              <a:off x="6777038" y="18494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6" name="Freeform 812"/>
            <p:cNvSpPr/>
            <p:nvPr/>
          </p:nvSpPr>
          <p:spPr bwMode="auto">
            <a:xfrm>
              <a:off x="6846888" y="18494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7" name="Freeform 813"/>
            <p:cNvSpPr/>
            <p:nvPr/>
          </p:nvSpPr>
          <p:spPr bwMode="auto">
            <a:xfrm>
              <a:off x="6916738" y="18494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8" name="Freeform 814"/>
            <p:cNvSpPr/>
            <p:nvPr/>
          </p:nvSpPr>
          <p:spPr bwMode="auto">
            <a:xfrm>
              <a:off x="6986588" y="18494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2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2" y="119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9" name="Freeform 815"/>
            <p:cNvSpPr/>
            <p:nvPr/>
          </p:nvSpPr>
          <p:spPr bwMode="auto">
            <a:xfrm>
              <a:off x="7056438" y="18494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5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4 w 154"/>
                <a:gd name="T45" fmla="*/ 13 h 154"/>
                <a:gd name="T46" fmla="*/ 46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5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0" name="Freeform 816"/>
            <p:cNvSpPr/>
            <p:nvPr/>
          </p:nvSpPr>
          <p:spPr bwMode="auto">
            <a:xfrm>
              <a:off x="6567488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1" name="Freeform 817"/>
            <p:cNvSpPr/>
            <p:nvPr/>
          </p:nvSpPr>
          <p:spPr bwMode="auto">
            <a:xfrm>
              <a:off x="6637338" y="177800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5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2" name="Freeform 818"/>
            <p:cNvSpPr/>
            <p:nvPr/>
          </p:nvSpPr>
          <p:spPr bwMode="auto">
            <a:xfrm>
              <a:off x="6429376" y="18494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3" name="Freeform 819"/>
            <p:cNvSpPr/>
            <p:nvPr/>
          </p:nvSpPr>
          <p:spPr bwMode="auto">
            <a:xfrm>
              <a:off x="6497638" y="18494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4" name="Freeform 820"/>
            <p:cNvSpPr/>
            <p:nvPr/>
          </p:nvSpPr>
          <p:spPr bwMode="auto">
            <a:xfrm>
              <a:off x="6429376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7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5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5" name="Freeform 821"/>
            <p:cNvSpPr/>
            <p:nvPr/>
          </p:nvSpPr>
          <p:spPr bwMode="auto">
            <a:xfrm>
              <a:off x="6497638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5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5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6" name="Freeform 822"/>
            <p:cNvSpPr/>
            <p:nvPr/>
          </p:nvSpPr>
          <p:spPr bwMode="auto">
            <a:xfrm>
              <a:off x="6707188" y="177800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7" name="Freeform 823"/>
            <p:cNvSpPr/>
            <p:nvPr/>
          </p:nvSpPr>
          <p:spPr bwMode="auto">
            <a:xfrm>
              <a:off x="6777038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5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5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8" name="Freeform 824"/>
            <p:cNvSpPr/>
            <p:nvPr/>
          </p:nvSpPr>
          <p:spPr bwMode="auto">
            <a:xfrm>
              <a:off x="6846888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5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9" name="Freeform 825"/>
            <p:cNvSpPr/>
            <p:nvPr/>
          </p:nvSpPr>
          <p:spPr bwMode="auto">
            <a:xfrm>
              <a:off x="6916738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7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5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0" name="Freeform 826"/>
            <p:cNvSpPr/>
            <p:nvPr/>
          </p:nvSpPr>
          <p:spPr bwMode="auto">
            <a:xfrm>
              <a:off x="6986588" y="17780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2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1" name="Freeform 827"/>
            <p:cNvSpPr/>
            <p:nvPr/>
          </p:nvSpPr>
          <p:spPr bwMode="auto">
            <a:xfrm>
              <a:off x="7056438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3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5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5 h 155"/>
                <a:gd name="T56" fmla="*/ 113 w 154"/>
                <a:gd name="T57" fmla="*/ 10 h 155"/>
                <a:gd name="T58" fmla="*/ 125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5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5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2" name="Freeform 828"/>
            <p:cNvSpPr/>
            <p:nvPr/>
          </p:nvSpPr>
          <p:spPr bwMode="auto">
            <a:xfrm>
              <a:off x="6567488" y="17081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3" name="Freeform 829"/>
            <p:cNvSpPr/>
            <p:nvPr/>
          </p:nvSpPr>
          <p:spPr bwMode="auto">
            <a:xfrm>
              <a:off x="6637338" y="1708150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5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4" name="Freeform 830"/>
            <p:cNvSpPr/>
            <p:nvPr/>
          </p:nvSpPr>
          <p:spPr bwMode="auto">
            <a:xfrm>
              <a:off x="6429376" y="17081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5" name="Freeform 831"/>
            <p:cNvSpPr/>
            <p:nvPr/>
          </p:nvSpPr>
          <p:spPr bwMode="auto">
            <a:xfrm>
              <a:off x="6284913" y="17081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3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6" name="Freeform 832"/>
            <p:cNvSpPr/>
            <p:nvPr/>
          </p:nvSpPr>
          <p:spPr bwMode="auto">
            <a:xfrm>
              <a:off x="6359526" y="199390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7" name="Freeform 833"/>
            <p:cNvSpPr/>
            <p:nvPr/>
          </p:nvSpPr>
          <p:spPr bwMode="auto">
            <a:xfrm>
              <a:off x="6359526" y="1924050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1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8" name="Freeform 834"/>
            <p:cNvSpPr/>
            <p:nvPr/>
          </p:nvSpPr>
          <p:spPr bwMode="auto">
            <a:xfrm>
              <a:off x="6359526" y="18494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1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9" name="Freeform 835"/>
            <p:cNvSpPr/>
            <p:nvPr/>
          </p:nvSpPr>
          <p:spPr bwMode="auto">
            <a:xfrm>
              <a:off x="6284913" y="18494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3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0" name="Freeform 836"/>
            <p:cNvSpPr/>
            <p:nvPr/>
          </p:nvSpPr>
          <p:spPr bwMode="auto">
            <a:xfrm>
              <a:off x="6359526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1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10 w 154"/>
                <a:gd name="T29" fmla="*/ 115 h 155"/>
                <a:gd name="T30" fmla="*/ 4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4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1" name="Freeform 837"/>
            <p:cNvSpPr/>
            <p:nvPr/>
          </p:nvSpPr>
          <p:spPr bwMode="auto">
            <a:xfrm>
              <a:off x="6146801" y="18494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2" name="Freeform 838"/>
            <p:cNvSpPr/>
            <p:nvPr/>
          </p:nvSpPr>
          <p:spPr bwMode="auto">
            <a:xfrm>
              <a:off x="6216651" y="18494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3" name="Freeform 839"/>
            <p:cNvSpPr/>
            <p:nvPr/>
          </p:nvSpPr>
          <p:spPr bwMode="auto">
            <a:xfrm>
              <a:off x="6146801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7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5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4" name="Freeform 840"/>
            <p:cNvSpPr/>
            <p:nvPr/>
          </p:nvSpPr>
          <p:spPr bwMode="auto">
            <a:xfrm>
              <a:off x="6216651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5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5" name="Freeform 841"/>
            <p:cNvSpPr/>
            <p:nvPr/>
          </p:nvSpPr>
          <p:spPr bwMode="auto">
            <a:xfrm>
              <a:off x="6008688" y="18494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9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6" name="Freeform 842"/>
            <p:cNvSpPr/>
            <p:nvPr/>
          </p:nvSpPr>
          <p:spPr bwMode="auto">
            <a:xfrm>
              <a:off x="6078538" y="18494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4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7" name="Freeform 843"/>
            <p:cNvSpPr/>
            <p:nvPr/>
          </p:nvSpPr>
          <p:spPr bwMode="auto">
            <a:xfrm>
              <a:off x="6008688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9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5 h 155"/>
                <a:gd name="T56" fmla="*/ 115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8" name="Freeform 844"/>
            <p:cNvSpPr/>
            <p:nvPr/>
          </p:nvSpPr>
          <p:spPr bwMode="auto">
            <a:xfrm>
              <a:off x="6078538" y="17780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4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9" name="Freeform 845"/>
            <p:cNvSpPr/>
            <p:nvPr/>
          </p:nvSpPr>
          <p:spPr bwMode="auto">
            <a:xfrm>
              <a:off x="5938838" y="18494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2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0" name="Freeform 846"/>
            <p:cNvSpPr/>
            <p:nvPr/>
          </p:nvSpPr>
          <p:spPr bwMode="auto">
            <a:xfrm>
              <a:off x="5938838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3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5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1" name="Freeform 847"/>
            <p:cNvSpPr/>
            <p:nvPr/>
          </p:nvSpPr>
          <p:spPr bwMode="auto">
            <a:xfrm>
              <a:off x="6146801" y="17081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2" name="Freeform 848"/>
            <p:cNvSpPr/>
            <p:nvPr/>
          </p:nvSpPr>
          <p:spPr bwMode="auto">
            <a:xfrm>
              <a:off x="6216651" y="17081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3" name="Freeform 849"/>
            <p:cNvSpPr/>
            <p:nvPr/>
          </p:nvSpPr>
          <p:spPr bwMode="auto">
            <a:xfrm>
              <a:off x="6008688" y="17081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5 h 154"/>
                <a:gd name="T28" fmla="*/ 9 w 155"/>
                <a:gd name="T29" fmla="*/ 114 h 154"/>
                <a:gd name="T30" fmla="*/ 4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4" name="Freeform 850"/>
            <p:cNvSpPr/>
            <p:nvPr/>
          </p:nvSpPr>
          <p:spPr bwMode="auto">
            <a:xfrm>
              <a:off x="6078538" y="170815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8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5" name="Freeform 851"/>
            <p:cNvSpPr/>
            <p:nvPr/>
          </p:nvSpPr>
          <p:spPr bwMode="auto">
            <a:xfrm>
              <a:off x="5938838" y="17081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6" name="Freeform 852"/>
            <p:cNvSpPr/>
            <p:nvPr/>
          </p:nvSpPr>
          <p:spPr bwMode="auto">
            <a:xfrm>
              <a:off x="6146801" y="16398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1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7" name="Freeform 853"/>
            <p:cNvSpPr/>
            <p:nvPr/>
          </p:nvSpPr>
          <p:spPr bwMode="auto">
            <a:xfrm>
              <a:off x="6216651" y="16398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8" name="Freeform 854"/>
            <p:cNvSpPr/>
            <p:nvPr/>
          </p:nvSpPr>
          <p:spPr bwMode="auto">
            <a:xfrm>
              <a:off x="6008688" y="16398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1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9" name="Freeform 855"/>
            <p:cNvSpPr/>
            <p:nvPr/>
          </p:nvSpPr>
          <p:spPr bwMode="auto">
            <a:xfrm>
              <a:off x="6078538" y="16398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4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0" name="Freeform 856"/>
            <p:cNvSpPr/>
            <p:nvPr/>
          </p:nvSpPr>
          <p:spPr bwMode="auto">
            <a:xfrm>
              <a:off x="5938838" y="16398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1" name="Freeform 857"/>
            <p:cNvSpPr/>
            <p:nvPr/>
          </p:nvSpPr>
          <p:spPr bwMode="auto">
            <a:xfrm>
              <a:off x="5867401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7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7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3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5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2" name="Freeform 858"/>
            <p:cNvSpPr/>
            <p:nvPr/>
          </p:nvSpPr>
          <p:spPr bwMode="auto">
            <a:xfrm>
              <a:off x="5867401" y="17081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3" name="Freeform 859"/>
            <p:cNvSpPr/>
            <p:nvPr/>
          </p:nvSpPr>
          <p:spPr bwMode="auto">
            <a:xfrm>
              <a:off x="5867401" y="16398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4" name="Freeform 860"/>
            <p:cNvSpPr/>
            <p:nvPr/>
          </p:nvSpPr>
          <p:spPr bwMode="auto">
            <a:xfrm>
              <a:off x="5799138" y="177800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5" name="Freeform 861"/>
            <p:cNvSpPr/>
            <p:nvPr/>
          </p:nvSpPr>
          <p:spPr bwMode="auto">
            <a:xfrm>
              <a:off x="5799138" y="1708150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6" name="Freeform 862"/>
            <p:cNvSpPr/>
            <p:nvPr/>
          </p:nvSpPr>
          <p:spPr bwMode="auto">
            <a:xfrm>
              <a:off x="5799138" y="16398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7" name="Freeform 863"/>
            <p:cNvSpPr/>
            <p:nvPr/>
          </p:nvSpPr>
          <p:spPr bwMode="auto">
            <a:xfrm>
              <a:off x="5938838" y="1431925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6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1 h 153"/>
                <a:gd name="T38" fmla="*/ 5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8" name="Freeform 864"/>
            <p:cNvSpPr/>
            <p:nvPr/>
          </p:nvSpPr>
          <p:spPr bwMode="auto">
            <a:xfrm>
              <a:off x="5867401" y="1431925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1 h 153"/>
                <a:gd name="T38" fmla="*/ 6 w 155"/>
                <a:gd name="T39" fmla="*/ 47 h 153"/>
                <a:gd name="T40" fmla="*/ 13 w 155"/>
                <a:gd name="T41" fmla="*/ 34 h 153"/>
                <a:gd name="T42" fmla="*/ 23 w 155"/>
                <a:gd name="T43" fmla="*/ 23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9" name="Freeform 865"/>
            <p:cNvSpPr/>
            <p:nvPr/>
          </p:nvSpPr>
          <p:spPr bwMode="auto">
            <a:xfrm>
              <a:off x="5938838" y="1355725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5 w 154"/>
                <a:gd name="T39" fmla="*/ 46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0" name="Freeform 866"/>
            <p:cNvSpPr/>
            <p:nvPr/>
          </p:nvSpPr>
          <p:spPr bwMode="auto">
            <a:xfrm>
              <a:off x="5867401" y="1355725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6 h 154"/>
                <a:gd name="T40" fmla="*/ 13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1" name="Freeform 867"/>
            <p:cNvSpPr/>
            <p:nvPr/>
          </p:nvSpPr>
          <p:spPr bwMode="auto">
            <a:xfrm>
              <a:off x="5799138" y="1431925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2" name="Freeform 868"/>
            <p:cNvSpPr/>
            <p:nvPr/>
          </p:nvSpPr>
          <p:spPr bwMode="auto">
            <a:xfrm>
              <a:off x="5722938" y="1431925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4 h 153"/>
                <a:gd name="T42" fmla="*/ 22 w 153"/>
                <a:gd name="T43" fmla="*/ 23 h 153"/>
                <a:gd name="T44" fmla="*/ 34 w 153"/>
                <a:gd name="T45" fmla="*/ 12 h 153"/>
                <a:gd name="T46" fmla="*/ 46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3" name="Freeform 869"/>
            <p:cNvSpPr/>
            <p:nvPr/>
          </p:nvSpPr>
          <p:spPr bwMode="auto">
            <a:xfrm>
              <a:off x="6497638" y="17081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4" name="Freeform 870"/>
            <p:cNvSpPr/>
            <p:nvPr/>
          </p:nvSpPr>
          <p:spPr bwMode="auto">
            <a:xfrm>
              <a:off x="6707188" y="1708150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5" name="Freeform 871"/>
            <p:cNvSpPr/>
            <p:nvPr/>
          </p:nvSpPr>
          <p:spPr bwMode="auto">
            <a:xfrm>
              <a:off x="6637338" y="156686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6" name="Freeform 872"/>
            <p:cNvSpPr/>
            <p:nvPr/>
          </p:nvSpPr>
          <p:spPr bwMode="auto">
            <a:xfrm>
              <a:off x="6637338" y="14970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8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7" name="Freeform 873"/>
            <p:cNvSpPr/>
            <p:nvPr/>
          </p:nvSpPr>
          <p:spPr bwMode="auto">
            <a:xfrm>
              <a:off x="6707188" y="14970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8" name="Freeform 874"/>
            <p:cNvSpPr/>
            <p:nvPr/>
          </p:nvSpPr>
          <p:spPr bwMode="auto">
            <a:xfrm>
              <a:off x="6777038" y="17081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9" name="Freeform 875"/>
            <p:cNvSpPr/>
            <p:nvPr/>
          </p:nvSpPr>
          <p:spPr bwMode="auto">
            <a:xfrm>
              <a:off x="6846888" y="17081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0" name="Freeform 876"/>
            <p:cNvSpPr/>
            <p:nvPr/>
          </p:nvSpPr>
          <p:spPr bwMode="auto">
            <a:xfrm>
              <a:off x="6777038" y="1639888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5 w 154"/>
                <a:gd name="T39" fmla="*/ 47 h 153"/>
                <a:gd name="T40" fmla="*/ 13 w 154"/>
                <a:gd name="T41" fmla="*/ 33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1" name="Freeform 877"/>
            <p:cNvSpPr/>
            <p:nvPr/>
          </p:nvSpPr>
          <p:spPr bwMode="auto">
            <a:xfrm>
              <a:off x="6846888" y="1639888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2" name="Freeform 878"/>
            <p:cNvSpPr/>
            <p:nvPr/>
          </p:nvSpPr>
          <p:spPr bwMode="auto">
            <a:xfrm>
              <a:off x="6916738" y="17081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5 h 154"/>
                <a:gd name="T28" fmla="*/ 9 w 155"/>
                <a:gd name="T29" fmla="*/ 114 h 154"/>
                <a:gd name="T30" fmla="*/ 3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5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3" name="Freeform 879"/>
            <p:cNvSpPr/>
            <p:nvPr/>
          </p:nvSpPr>
          <p:spPr bwMode="auto">
            <a:xfrm>
              <a:off x="6986588" y="170815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2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4" name="Freeform 880"/>
            <p:cNvSpPr/>
            <p:nvPr/>
          </p:nvSpPr>
          <p:spPr bwMode="auto">
            <a:xfrm>
              <a:off x="7056438" y="17081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5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6 w 154"/>
                <a:gd name="T47" fmla="*/ 5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5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5" name="Freeform 881"/>
            <p:cNvSpPr/>
            <p:nvPr/>
          </p:nvSpPr>
          <p:spPr bwMode="auto">
            <a:xfrm>
              <a:off x="6986588" y="1639888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2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3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6" name="Freeform 882"/>
            <p:cNvSpPr/>
            <p:nvPr/>
          </p:nvSpPr>
          <p:spPr bwMode="auto">
            <a:xfrm>
              <a:off x="7056438" y="1639888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5 w 154"/>
                <a:gd name="T39" fmla="*/ 47 h 153"/>
                <a:gd name="T40" fmla="*/ 13 w 154"/>
                <a:gd name="T41" fmla="*/ 33 h 153"/>
                <a:gd name="T42" fmla="*/ 22 w 154"/>
                <a:gd name="T43" fmla="*/ 23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5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7" name="Freeform 883"/>
            <p:cNvSpPr/>
            <p:nvPr/>
          </p:nvSpPr>
          <p:spPr bwMode="auto">
            <a:xfrm>
              <a:off x="7332663" y="226536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0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49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5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6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8" name="Freeform 884"/>
            <p:cNvSpPr/>
            <p:nvPr/>
          </p:nvSpPr>
          <p:spPr bwMode="auto">
            <a:xfrm>
              <a:off x="7402513" y="2265363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0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49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9" name="Freeform 885"/>
            <p:cNvSpPr/>
            <p:nvPr/>
          </p:nvSpPr>
          <p:spPr bwMode="auto">
            <a:xfrm>
              <a:off x="7472363" y="22653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0" name="Freeform 886"/>
            <p:cNvSpPr/>
            <p:nvPr/>
          </p:nvSpPr>
          <p:spPr bwMode="auto">
            <a:xfrm>
              <a:off x="7542213" y="226536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0 w 153"/>
                <a:gd name="T9" fmla="*/ 130 h 153"/>
                <a:gd name="T10" fmla="*/ 119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0" y="130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1" name="Freeform 887"/>
            <p:cNvSpPr/>
            <p:nvPr/>
          </p:nvSpPr>
          <p:spPr bwMode="auto">
            <a:xfrm>
              <a:off x="7612063" y="226536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0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0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49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2" name="Freeform 888"/>
            <p:cNvSpPr/>
            <p:nvPr/>
          </p:nvSpPr>
          <p:spPr bwMode="auto">
            <a:xfrm>
              <a:off x="7681913" y="22653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3 w 154"/>
                <a:gd name="T43" fmla="*/ 21 h 153"/>
                <a:gd name="T44" fmla="*/ 35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3" name="Freeform 889"/>
            <p:cNvSpPr/>
            <p:nvPr/>
          </p:nvSpPr>
          <p:spPr bwMode="auto">
            <a:xfrm>
              <a:off x="7751763" y="2265363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4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4" name="Freeform 890"/>
            <p:cNvSpPr/>
            <p:nvPr/>
          </p:nvSpPr>
          <p:spPr bwMode="auto">
            <a:xfrm>
              <a:off x="7821613" y="226536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5" name="Freeform 891"/>
            <p:cNvSpPr/>
            <p:nvPr/>
          </p:nvSpPr>
          <p:spPr bwMode="auto">
            <a:xfrm>
              <a:off x="7891463" y="22653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5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6" name="Freeform 892"/>
            <p:cNvSpPr/>
            <p:nvPr/>
          </p:nvSpPr>
          <p:spPr bwMode="auto">
            <a:xfrm>
              <a:off x="7332663" y="2198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9 w 155"/>
                <a:gd name="T5" fmla="*/ 107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7" name="Freeform 893"/>
            <p:cNvSpPr/>
            <p:nvPr/>
          </p:nvSpPr>
          <p:spPr bwMode="auto">
            <a:xfrm>
              <a:off x="7402513" y="219868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2 h 153"/>
                <a:gd name="T4" fmla="*/ 149 w 154"/>
                <a:gd name="T5" fmla="*/ 107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8" name="Freeform 894"/>
            <p:cNvSpPr/>
            <p:nvPr/>
          </p:nvSpPr>
          <p:spPr bwMode="auto">
            <a:xfrm>
              <a:off x="7472363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7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39" name="Freeform 895"/>
            <p:cNvSpPr/>
            <p:nvPr/>
          </p:nvSpPr>
          <p:spPr bwMode="auto">
            <a:xfrm>
              <a:off x="7542213" y="21986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8 w 153"/>
                <a:gd name="T5" fmla="*/ 107 h 153"/>
                <a:gd name="T6" fmla="*/ 141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0" name="Freeform 896"/>
            <p:cNvSpPr/>
            <p:nvPr/>
          </p:nvSpPr>
          <p:spPr bwMode="auto">
            <a:xfrm>
              <a:off x="7612063" y="21986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1" name="Freeform 897"/>
            <p:cNvSpPr/>
            <p:nvPr/>
          </p:nvSpPr>
          <p:spPr bwMode="auto">
            <a:xfrm>
              <a:off x="7681913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2" name="Freeform 898"/>
            <p:cNvSpPr/>
            <p:nvPr/>
          </p:nvSpPr>
          <p:spPr bwMode="auto">
            <a:xfrm>
              <a:off x="7751763" y="219868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8 w 153"/>
                <a:gd name="T5" fmla="*/ 107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4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3" name="Freeform 899"/>
            <p:cNvSpPr/>
            <p:nvPr/>
          </p:nvSpPr>
          <p:spPr bwMode="auto">
            <a:xfrm>
              <a:off x="7821613" y="21986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4" name="Freeform 900"/>
            <p:cNvSpPr/>
            <p:nvPr/>
          </p:nvSpPr>
          <p:spPr bwMode="auto">
            <a:xfrm>
              <a:off x="7332663" y="21288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19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5" name="Freeform 901"/>
            <p:cNvSpPr/>
            <p:nvPr/>
          </p:nvSpPr>
          <p:spPr bwMode="auto">
            <a:xfrm>
              <a:off x="7402513" y="21288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6" name="Freeform 902"/>
            <p:cNvSpPr/>
            <p:nvPr/>
          </p:nvSpPr>
          <p:spPr bwMode="auto">
            <a:xfrm>
              <a:off x="7194551" y="226536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2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0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49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5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8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5"/>
                  </a:lnTo>
                  <a:lnTo>
                    <a:pt x="132" y="130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6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1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4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7" name="Freeform 903"/>
            <p:cNvSpPr/>
            <p:nvPr/>
          </p:nvSpPr>
          <p:spPr bwMode="auto">
            <a:xfrm>
              <a:off x="7264401" y="2265363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0 h 153"/>
                <a:gd name="T10" fmla="*/ 119 w 153"/>
                <a:gd name="T11" fmla="*/ 140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8" name="Freeform 904"/>
            <p:cNvSpPr/>
            <p:nvPr/>
          </p:nvSpPr>
          <p:spPr bwMode="auto">
            <a:xfrm>
              <a:off x="7196138" y="2198688"/>
              <a:ext cx="46038" cy="46038"/>
            </a:xfrm>
            <a:custGeom>
              <a:avLst/>
              <a:gdLst>
                <a:gd name="T0" fmla="*/ 146 w 146"/>
                <a:gd name="T1" fmla="*/ 73 h 146"/>
                <a:gd name="T2" fmla="*/ 146 w 146"/>
                <a:gd name="T3" fmla="*/ 73 h 146"/>
                <a:gd name="T4" fmla="*/ 145 w 146"/>
                <a:gd name="T5" fmla="*/ 80 h 146"/>
                <a:gd name="T6" fmla="*/ 144 w 146"/>
                <a:gd name="T7" fmla="*/ 88 h 146"/>
                <a:gd name="T8" fmla="*/ 143 w 146"/>
                <a:gd name="T9" fmla="*/ 95 h 146"/>
                <a:gd name="T10" fmla="*/ 141 w 146"/>
                <a:gd name="T11" fmla="*/ 102 h 146"/>
                <a:gd name="T12" fmla="*/ 137 w 146"/>
                <a:gd name="T13" fmla="*/ 107 h 146"/>
                <a:gd name="T14" fmla="*/ 134 w 146"/>
                <a:gd name="T15" fmla="*/ 113 h 146"/>
                <a:gd name="T16" fmla="*/ 125 w 146"/>
                <a:gd name="T17" fmla="*/ 125 h 146"/>
                <a:gd name="T18" fmla="*/ 113 w 146"/>
                <a:gd name="T19" fmla="*/ 134 h 146"/>
                <a:gd name="T20" fmla="*/ 108 w 146"/>
                <a:gd name="T21" fmla="*/ 137 h 146"/>
                <a:gd name="T22" fmla="*/ 102 w 146"/>
                <a:gd name="T23" fmla="*/ 141 h 146"/>
                <a:gd name="T24" fmla="*/ 95 w 146"/>
                <a:gd name="T25" fmla="*/ 143 h 146"/>
                <a:gd name="T26" fmla="*/ 88 w 146"/>
                <a:gd name="T27" fmla="*/ 144 h 146"/>
                <a:gd name="T28" fmla="*/ 80 w 146"/>
                <a:gd name="T29" fmla="*/ 145 h 146"/>
                <a:gd name="T30" fmla="*/ 73 w 146"/>
                <a:gd name="T31" fmla="*/ 146 h 146"/>
                <a:gd name="T32" fmla="*/ 73 w 146"/>
                <a:gd name="T33" fmla="*/ 146 h 146"/>
                <a:gd name="T34" fmla="*/ 65 w 146"/>
                <a:gd name="T35" fmla="*/ 145 h 146"/>
                <a:gd name="T36" fmla="*/ 58 w 146"/>
                <a:gd name="T37" fmla="*/ 144 h 146"/>
                <a:gd name="T38" fmla="*/ 51 w 146"/>
                <a:gd name="T39" fmla="*/ 143 h 146"/>
                <a:gd name="T40" fmla="*/ 45 w 146"/>
                <a:gd name="T41" fmla="*/ 141 h 146"/>
                <a:gd name="T42" fmla="*/ 38 w 146"/>
                <a:gd name="T43" fmla="*/ 137 h 146"/>
                <a:gd name="T44" fmla="*/ 32 w 146"/>
                <a:gd name="T45" fmla="*/ 134 h 146"/>
                <a:gd name="T46" fmla="*/ 22 w 146"/>
                <a:gd name="T47" fmla="*/ 125 h 146"/>
                <a:gd name="T48" fmla="*/ 13 w 146"/>
                <a:gd name="T49" fmla="*/ 113 h 146"/>
                <a:gd name="T50" fmla="*/ 6 w 146"/>
                <a:gd name="T51" fmla="*/ 102 h 146"/>
                <a:gd name="T52" fmla="*/ 3 w 146"/>
                <a:gd name="T53" fmla="*/ 95 h 146"/>
                <a:gd name="T54" fmla="*/ 1 w 146"/>
                <a:gd name="T55" fmla="*/ 88 h 146"/>
                <a:gd name="T56" fmla="*/ 0 w 146"/>
                <a:gd name="T57" fmla="*/ 80 h 146"/>
                <a:gd name="T58" fmla="*/ 0 w 146"/>
                <a:gd name="T59" fmla="*/ 73 h 146"/>
                <a:gd name="T60" fmla="*/ 0 w 146"/>
                <a:gd name="T61" fmla="*/ 73 h 146"/>
                <a:gd name="T62" fmla="*/ 0 w 146"/>
                <a:gd name="T63" fmla="*/ 65 h 146"/>
                <a:gd name="T64" fmla="*/ 1 w 146"/>
                <a:gd name="T65" fmla="*/ 58 h 146"/>
                <a:gd name="T66" fmla="*/ 3 w 146"/>
                <a:gd name="T67" fmla="*/ 51 h 146"/>
                <a:gd name="T68" fmla="*/ 6 w 146"/>
                <a:gd name="T69" fmla="*/ 45 h 146"/>
                <a:gd name="T70" fmla="*/ 9 w 146"/>
                <a:gd name="T71" fmla="*/ 38 h 146"/>
                <a:gd name="T72" fmla="*/ 13 w 146"/>
                <a:gd name="T73" fmla="*/ 32 h 146"/>
                <a:gd name="T74" fmla="*/ 22 w 146"/>
                <a:gd name="T75" fmla="*/ 22 h 146"/>
                <a:gd name="T76" fmla="*/ 32 w 146"/>
                <a:gd name="T77" fmla="*/ 12 h 146"/>
                <a:gd name="T78" fmla="*/ 38 w 146"/>
                <a:gd name="T79" fmla="*/ 9 h 146"/>
                <a:gd name="T80" fmla="*/ 45 w 146"/>
                <a:gd name="T81" fmla="*/ 6 h 146"/>
                <a:gd name="T82" fmla="*/ 51 w 146"/>
                <a:gd name="T83" fmla="*/ 3 h 146"/>
                <a:gd name="T84" fmla="*/ 58 w 146"/>
                <a:gd name="T85" fmla="*/ 1 h 146"/>
                <a:gd name="T86" fmla="*/ 65 w 146"/>
                <a:gd name="T87" fmla="*/ 0 h 146"/>
                <a:gd name="T88" fmla="*/ 73 w 146"/>
                <a:gd name="T89" fmla="*/ 0 h 146"/>
                <a:gd name="T90" fmla="*/ 73 w 146"/>
                <a:gd name="T91" fmla="*/ 0 h 146"/>
                <a:gd name="T92" fmla="*/ 80 w 146"/>
                <a:gd name="T93" fmla="*/ 0 h 146"/>
                <a:gd name="T94" fmla="*/ 88 w 146"/>
                <a:gd name="T95" fmla="*/ 1 h 146"/>
                <a:gd name="T96" fmla="*/ 95 w 146"/>
                <a:gd name="T97" fmla="*/ 3 h 146"/>
                <a:gd name="T98" fmla="*/ 102 w 146"/>
                <a:gd name="T99" fmla="*/ 6 h 146"/>
                <a:gd name="T100" fmla="*/ 108 w 146"/>
                <a:gd name="T101" fmla="*/ 9 h 146"/>
                <a:gd name="T102" fmla="*/ 113 w 146"/>
                <a:gd name="T103" fmla="*/ 12 h 146"/>
                <a:gd name="T104" fmla="*/ 125 w 146"/>
                <a:gd name="T105" fmla="*/ 22 h 146"/>
                <a:gd name="T106" fmla="*/ 134 w 146"/>
                <a:gd name="T107" fmla="*/ 32 h 146"/>
                <a:gd name="T108" fmla="*/ 137 w 146"/>
                <a:gd name="T109" fmla="*/ 38 h 146"/>
                <a:gd name="T110" fmla="*/ 141 w 146"/>
                <a:gd name="T111" fmla="*/ 45 h 146"/>
                <a:gd name="T112" fmla="*/ 143 w 146"/>
                <a:gd name="T113" fmla="*/ 51 h 146"/>
                <a:gd name="T114" fmla="*/ 144 w 146"/>
                <a:gd name="T115" fmla="*/ 58 h 146"/>
                <a:gd name="T116" fmla="*/ 145 w 146"/>
                <a:gd name="T117" fmla="*/ 65 h 146"/>
                <a:gd name="T118" fmla="*/ 146 w 146"/>
                <a:gd name="T119" fmla="*/ 73 h 146"/>
                <a:gd name="T120" fmla="*/ 146 w 146"/>
                <a:gd name="T121" fmla="*/ 7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6" h="146">
                  <a:moveTo>
                    <a:pt x="146" y="73"/>
                  </a:moveTo>
                  <a:lnTo>
                    <a:pt x="146" y="73"/>
                  </a:lnTo>
                  <a:lnTo>
                    <a:pt x="145" y="80"/>
                  </a:lnTo>
                  <a:lnTo>
                    <a:pt x="144" y="88"/>
                  </a:lnTo>
                  <a:lnTo>
                    <a:pt x="143" y="95"/>
                  </a:lnTo>
                  <a:lnTo>
                    <a:pt x="141" y="102"/>
                  </a:lnTo>
                  <a:lnTo>
                    <a:pt x="137" y="107"/>
                  </a:lnTo>
                  <a:lnTo>
                    <a:pt x="134" y="113"/>
                  </a:lnTo>
                  <a:lnTo>
                    <a:pt x="125" y="125"/>
                  </a:lnTo>
                  <a:lnTo>
                    <a:pt x="113" y="134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5" y="143"/>
                  </a:lnTo>
                  <a:lnTo>
                    <a:pt x="88" y="144"/>
                  </a:lnTo>
                  <a:lnTo>
                    <a:pt x="80" y="145"/>
                  </a:lnTo>
                  <a:lnTo>
                    <a:pt x="73" y="146"/>
                  </a:lnTo>
                  <a:lnTo>
                    <a:pt x="73" y="146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3"/>
                  </a:lnTo>
                  <a:lnTo>
                    <a:pt x="45" y="141"/>
                  </a:lnTo>
                  <a:lnTo>
                    <a:pt x="38" y="137"/>
                  </a:lnTo>
                  <a:lnTo>
                    <a:pt x="32" y="134"/>
                  </a:lnTo>
                  <a:lnTo>
                    <a:pt x="22" y="125"/>
                  </a:lnTo>
                  <a:lnTo>
                    <a:pt x="13" y="113"/>
                  </a:lnTo>
                  <a:lnTo>
                    <a:pt x="6" y="102"/>
                  </a:lnTo>
                  <a:lnTo>
                    <a:pt x="3" y="95"/>
                  </a:lnTo>
                  <a:lnTo>
                    <a:pt x="1" y="88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22" y="22"/>
                  </a:lnTo>
                  <a:lnTo>
                    <a:pt x="32" y="12"/>
                  </a:lnTo>
                  <a:lnTo>
                    <a:pt x="38" y="9"/>
                  </a:lnTo>
                  <a:lnTo>
                    <a:pt x="45" y="6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2" y="6"/>
                  </a:lnTo>
                  <a:lnTo>
                    <a:pt x="108" y="9"/>
                  </a:lnTo>
                  <a:lnTo>
                    <a:pt x="113" y="12"/>
                  </a:lnTo>
                  <a:lnTo>
                    <a:pt x="125" y="22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1" y="45"/>
                  </a:lnTo>
                  <a:lnTo>
                    <a:pt x="143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6" y="73"/>
                  </a:lnTo>
                  <a:lnTo>
                    <a:pt x="146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49" name="Freeform 905"/>
            <p:cNvSpPr/>
            <p:nvPr/>
          </p:nvSpPr>
          <p:spPr bwMode="auto">
            <a:xfrm>
              <a:off x="7264401" y="219868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8 w 153"/>
                <a:gd name="T5" fmla="*/ 107 h 153"/>
                <a:gd name="T6" fmla="*/ 141 w 153"/>
                <a:gd name="T7" fmla="*/ 120 h 153"/>
                <a:gd name="T8" fmla="*/ 131 w 153"/>
                <a:gd name="T9" fmla="*/ 131 h 153"/>
                <a:gd name="T10" fmla="*/ 119 w 153"/>
                <a:gd name="T11" fmla="*/ 141 h 153"/>
                <a:gd name="T12" fmla="*/ 107 w 153"/>
                <a:gd name="T13" fmla="*/ 148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0" name="Freeform 906"/>
            <p:cNvSpPr/>
            <p:nvPr/>
          </p:nvSpPr>
          <p:spPr bwMode="auto">
            <a:xfrm>
              <a:off x="7196138" y="2130425"/>
              <a:ext cx="46038" cy="47625"/>
            </a:xfrm>
            <a:custGeom>
              <a:avLst/>
              <a:gdLst>
                <a:gd name="T0" fmla="*/ 146 w 146"/>
                <a:gd name="T1" fmla="*/ 74 h 147"/>
                <a:gd name="T2" fmla="*/ 146 w 146"/>
                <a:gd name="T3" fmla="*/ 74 h 147"/>
                <a:gd name="T4" fmla="*/ 145 w 146"/>
                <a:gd name="T5" fmla="*/ 80 h 147"/>
                <a:gd name="T6" fmla="*/ 144 w 146"/>
                <a:gd name="T7" fmla="*/ 88 h 147"/>
                <a:gd name="T8" fmla="*/ 143 w 146"/>
                <a:gd name="T9" fmla="*/ 95 h 147"/>
                <a:gd name="T10" fmla="*/ 141 w 146"/>
                <a:gd name="T11" fmla="*/ 102 h 147"/>
                <a:gd name="T12" fmla="*/ 137 w 146"/>
                <a:gd name="T13" fmla="*/ 108 h 147"/>
                <a:gd name="T14" fmla="*/ 134 w 146"/>
                <a:gd name="T15" fmla="*/ 115 h 147"/>
                <a:gd name="T16" fmla="*/ 125 w 146"/>
                <a:gd name="T17" fmla="*/ 125 h 147"/>
                <a:gd name="T18" fmla="*/ 113 w 146"/>
                <a:gd name="T19" fmla="*/ 134 h 147"/>
                <a:gd name="T20" fmla="*/ 108 w 146"/>
                <a:gd name="T21" fmla="*/ 138 h 147"/>
                <a:gd name="T22" fmla="*/ 102 w 146"/>
                <a:gd name="T23" fmla="*/ 141 h 147"/>
                <a:gd name="T24" fmla="*/ 95 w 146"/>
                <a:gd name="T25" fmla="*/ 143 h 147"/>
                <a:gd name="T26" fmla="*/ 88 w 146"/>
                <a:gd name="T27" fmla="*/ 145 h 147"/>
                <a:gd name="T28" fmla="*/ 80 w 146"/>
                <a:gd name="T29" fmla="*/ 146 h 147"/>
                <a:gd name="T30" fmla="*/ 73 w 146"/>
                <a:gd name="T31" fmla="*/ 147 h 147"/>
                <a:gd name="T32" fmla="*/ 73 w 146"/>
                <a:gd name="T33" fmla="*/ 147 h 147"/>
                <a:gd name="T34" fmla="*/ 65 w 146"/>
                <a:gd name="T35" fmla="*/ 146 h 147"/>
                <a:gd name="T36" fmla="*/ 58 w 146"/>
                <a:gd name="T37" fmla="*/ 145 h 147"/>
                <a:gd name="T38" fmla="*/ 51 w 146"/>
                <a:gd name="T39" fmla="*/ 143 h 147"/>
                <a:gd name="T40" fmla="*/ 45 w 146"/>
                <a:gd name="T41" fmla="*/ 141 h 147"/>
                <a:gd name="T42" fmla="*/ 38 w 146"/>
                <a:gd name="T43" fmla="*/ 138 h 147"/>
                <a:gd name="T44" fmla="*/ 32 w 146"/>
                <a:gd name="T45" fmla="*/ 134 h 147"/>
                <a:gd name="T46" fmla="*/ 22 w 146"/>
                <a:gd name="T47" fmla="*/ 125 h 147"/>
                <a:gd name="T48" fmla="*/ 13 w 146"/>
                <a:gd name="T49" fmla="*/ 115 h 147"/>
                <a:gd name="T50" fmla="*/ 9 w 146"/>
                <a:gd name="T51" fmla="*/ 108 h 147"/>
                <a:gd name="T52" fmla="*/ 6 w 146"/>
                <a:gd name="T53" fmla="*/ 102 h 147"/>
                <a:gd name="T54" fmla="*/ 3 w 146"/>
                <a:gd name="T55" fmla="*/ 95 h 147"/>
                <a:gd name="T56" fmla="*/ 1 w 146"/>
                <a:gd name="T57" fmla="*/ 88 h 147"/>
                <a:gd name="T58" fmla="*/ 0 w 146"/>
                <a:gd name="T59" fmla="*/ 80 h 147"/>
                <a:gd name="T60" fmla="*/ 0 w 146"/>
                <a:gd name="T61" fmla="*/ 74 h 147"/>
                <a:gd name="T62" fmla="*/ 0 w 146"/>
                <a:gd name="T63" fmla="*/ 74 h 147"/>
                <a:gd name="T64" fmla="*/ 0 w 146"/>
                <a:gd name="T65" fmla="*/ 66 h 147"/>
                <a:gd name="T66" fmla="*/ 1 w 146"/>
                <a:gd name="T67" fmla="*/ 59 h 147"/>
                <a:gd name="T68" fmla="*/ 3 w 146"/>
                <a:gd name="T69" fmla="*/ 52 h 147"/>
                <a:gd name="T70" fmla="*/ 6 w 146"/>
                <a:gd name="T71" fmla="*/ 45 h 147"/>
                <a:gd name="T72" fmla="*/ 13 w 146"/>
                <a:gd name="T73" fmla="*/ 32 h 147"/>
                <a:gd name="T74" fmla="*/ 22 w 146"/>
                <a:gd name="T75" fmla="*/ 22 h 147"/>
                <a:gd name="T76" fmla="*/ 32 w 146"/>
                <a:gd name="T77" fmla="*/ 13 h 147"/>
                <a:gd name="T78" fmla="*/ 38 w 146"/>
                <a:gd name="T79" fmla="*/ 9 h 147"/>
                <a:gd name="T80" fmla="*/ 45 w 146"/>
                <a:gd name="T81" fmla="*/ 6 h 147"/>
                <a:gd name="T82" fmla="*/ 51 w 146"/>
                <a:gd name="T83" fmla="*/ 4 h 147"/>
                <a:gd name="T84" fmla="*/ 58 w 146"/>
                <a:gd name="T85" fmla="*/ 3 h 147"/>
                <a:gd name="T86" fmla="*/ 65 w 146"/>
                <a:gd name="T87" fmla="*/ 1 h 147"/>
                <a:gd name="T88" fmla="*/ 73 w 146"/>
                <a:gd name="T89" fmla="*/ 0 h 147"/>
                <a:gd name="T90" fmla="*/ 73 w 146"/>
                <a:gd name="T91" fmla="*/ 0 h 147"/>
                <a:gd name="T92" fmla="*/ 80 w 146"/>
                <a:gd name="T93" fmla="*/ 1 h 147"/>
                <a:gd name="T94" fmla="*/ 88 w 146"/>
                <a:gd name="T95" fmla="*/ 3 h 147"/>
                <a:gd name="T96" fmla="*/ 95 w 146"/>
                <a:gd name="T97" fmla="*/ 4 h 147"/>
                <a:gd name="T98" fmla="*/ 102 w 146"/>
                <a:gd name="T99" fmla="*/ 6 h 147"/>
                <a:gd name="T100" fmla="*/ 108 w 146"/>
                <a:gd name="T101" fmla="*/ 9 h 147"/>
                <a:gd name="T102" fmla="*/ 113 w 146"/>
                <a:gd name="T103" fmla="*/ 13 h 147"/>
                <a:gd name="T104" fmla="*/ 125 w 146"/>
                <a:gd name="T105" fmla="*/ 22 h 147"/>
                <a:gd name="T106" fmla="*/ 134 w 146"/>
                <a:gd name="T107" fmla="*/ 32 h 147"/>
                <a:gd name="T108" fmla="*/ 137 w 146"/>
                <a:gd name="T109" fmla="*/ 39 h 147"/>
                <a:gd name="T110" fmla="*/ 141 w 146"/>
                <a:gd name="T111" fmla="*/ 45 h 147"/>
                <a:gd name="T112" fmla="*/ 143 w 146"/>
                <a:gd name="T113" fmla="*/ 52 h 147"/>
                <a:gd name="T114" fmla="*/ 144 w 146"/>
                <a:gd name="T115" fmla="*/ 59 h 147"/>
                <a:gd name="T116" fmla="*/ 145 w 146"/>
                <a:gd name="T117" fmla="*/ 66 h 147"/>
                <a:gd name="T118" fmla="*/ 146 w 146"/>
                <a:gd name="T119" fmla="*/ 74 h 147"/>
                <a:gd name="T120" fmla="*/ 146 w 146"/>
                <a:gd name="T121" fmla="*/ 74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6" h="147">
                  <a:moveTo>
                    <a:pt x="146" y="74"/>
                  </a:moveTo>
                  <a:lnTo>
                    <a:pt x="146" y="74"/>
                  </a:lnTo>
                  <a:lnTo>
                    <a:pt x="145" y="80"/>
                  </a:lnTo>
                  <a:lnTo>
                    <a:pt x="144" y="88"/>
                  </a:lnTo>
                  <a:lnTo>
                    <a:pt x="143" y="95"/>
                  </a:lnTo>
                  <a:lnTo>
                    <a:pt x="141" y="102"/>
                  </a:lnTo>
                  <a:lnTo>
                    <a:pt x="137" y="108"/>
                  </a:lnTo>
                  <a:lnTo>
                    <a:pt x="134" y="115"/>
                  </a:lnTo>
                  <a:lnTo>
                    <a:pt x="125" y="125"/>
                  </a:lnTo>
                  <a:lnTo>
                    <a:pt x="113" y="134"/>
                  </a:lnTo>
                  <a:lnTo>
                    <a:pt x="108" y="138"/>
                  </a:lnTo>
                  <a:lnTo>
                    <a:pt x="102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0" y="146"/>
                  </a:lnTo>
                  <a:lnTo>
                    <a:pt x="73" y="147"/>
                  </a:lnTo>
                  <a:lnTo>
                    <a:pt x="73" y="147"/>
                  </a:lnTo>
                  <a:lnTo>
                    <a:pt x="65" y="146"/>
                  </a:lnTo>
                  <a:lnTo>
                    <a:pt x="58" y="145"/>
                  </a:lnTo>
                  <a:lnTo>
                    <a:pt x="51" y="143"/>
                  </a:lnTo>
                  <a:lnTo>
                    <a:pt x="45" y="141"/>
                  </a:lnTo>
                  <a:lnTo>
                    <a:pt x="38" y="138"/>
                  </a:lnTo>
                  <a:lnTo>
                    <a:pt x="32" y="134"/>
                  </a:lnTo>
                  <a:lnTo>
                    <a:pt x="22" y="125"/>
                  </a:lnTo>
                  <a:lnTo>
                    <a:pt x="13" y="115"/>
                  </a:lnTo>
                  <a:lnTo>
                    <a:pt x="9" y="108"/>
                  </a:lnTo>
                  <a:lnTo>
                    <a:pt x="6" y="102"/>
                  </a:lnTo>
                  <a:lnTo>
                    <a:pt x="3" y="95"/>
                  </a:lnTo>
                  <a:lnTo>
                    <a:pt x="1" y="88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6"/>
                  </a:lnTo>
                  <a:lnTo>
                    <a:pt x="1" y="59"/>
                  </a:lnTo>
                  <a:lnTo>
                    <a:pt x="3" y="52"/>
                  </a:lnTo>
                  <a:lnTo>
                    <a:pt x="6" y="45"/>
                  </a:lnTo>
                  <a:lnTo>
                    <a:pt x="13" y="32"/>
                  </a:lnTo>
                  <a:lnTo>
                    <a:pt x="22" y="22"/>
                  </a:lnTo>
                  <a:lnTo>
                    <a:pt x="32" y="13"/>
                  </a:lnTo>
                  <a:lnTo>
                    <a:pt x="38" y="9"/>
                  </a:lnTo>
                  <a:lnTo>
                    <a:pt x="45" y="6"/>
                  </a:lnTo>
                  <a:lnTo>
                    <a:pt x="51" y="4"/>
                  </a:lnTo>
                  <a:lnTo>
                    <a:pt x="58" y="3"/>
                  </a:lnTo>
                  <a:lnTo>
                    <a:pt x="65" y="1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0" y="1"/>
                  </a:lnTo>
                  <a:lnTo>
                    <a:pt x="88" y="3"/>
                  </a:lnTo>
                  <a:lnTo>
                    <a:pt x="95" y="4"/>
                  </a:lnTo>
                  <a:lnTo>
                    <a:pt x="102" y="6"/>
                  </a:lnTo>
                  <a:lnTo>
                    <a:pt x="108" y="9"/>
                  </a:lnTo>
                  <a:lnTo>
                    <a:pt x="113" y="13"/>
                  </a:lnTo>
                  <a:lnTo>
                    <a:pt x="125" y="22"/>
                  </a:lnTo>
                  <a:lnTo>
                    <a:pt x="134" y="32"/>
                  </a:lnTo>
                  <a:lnTo>
                    <a:pt x="137" y="39"/>
                  </a:lnTo>
                  <a:lnTo>
                    <a:pt x="141" y="45"/>
                  </a:lnTo>
                  <a:lnTo>
                    <a:pt x="143" y="52"/>
                  </a:lnTo>
                  <a:lnTo>
                    <a:pt x="144" y="59"/>
                  </a:lnTo>
                  <a:lnTo>
                    <a:pt x="145" y="66"/>
                  </a:lnTo>
                  <a:lnTo>
                    <a:pt x="146" y="74"/>
                  </a:lnTo>
                  <a:lnTo>
                    <a:pt x="146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1" name="Freeform 907"/>
            <p:cNvSpPr/>
            <p:nvPr/>
          </p:nvSpPr>
          <p:spPr bwMode="auto">
            <a:xfrm>
              <a:off x="7123113" y="2198688"/>
              <a:ext cx="47625" cy="46038"/>
            </a:xfrm>
            <a:custGeom>
              <a:avLst/>
              <a:gdLst>
                <a:gd name="T0" fmla="*/ 147 w 147"/>
                <a:gd name="T1" fmla="*/ 73 h 146"/>
                <a:gd name="T2" fmla="*/ 147 w 147"/>
                <a:gd name="T3" fmla="*/ 73 h 146"/>
                <a:gd name="T4" fmla="*/ 147 w 147"/>
                <a:gd name="T5" fmla="*/ 80 h 146"/>
                <a:gd name="T6" fmla="*/ 146 w 147"/>
                <a:gd name="T7" fmla="*/ 88 h 146"/>
                <a:gd name="T8" fmla="*/ 143 w 147"/>
                <a:gd name="T9" fmla="*/ 95 h 146"/>
                <a:gd name="T10" fmla="*/ 141 w 147"/>
                <a:gd name="T11" fmla="*/ 102 h 146"/>
                <a:gd name="T12" fmla="*/ 138 w 147"/>
                <a:gd name="T13" fmla="*/ 107 h 146"/>
                <a:gd name="T14" fmla="*/ 134 w 147"/>
                <a:gd name="T15" fmla="*/ 113 h 146"/>
                <a:gd name="T16" fmla="*/ 125 w 147"/>
                <a:gd name="T17" fmla="*/ 125 h 146"/>
                <a:gd name="T18" fmla="*/ 115 w 147"/>
                <a:gd name="T19" fmla="*/ 134 h 146"/>
                <a:gd name="T20" fmla="*/ 108 w 147"/>
                <a:gd name="T21" fmla="*/ 137 h 146"/>
                <a:gd name="T22" fmla="*/ 102 w 147"/>
                <a:gd name="T23" fmla="*/ 141 h 146"/>
                <a:gd name="T24" fmla="*/ 95 w 147"/>
                <a:gd name="T25" fmla="*/ 143 h 146"/>
                <a:gd name="T26" fmla="*/ 88 w 147"/>
                <a:gd name="T27" fmla="*/ 144 h 146"/>
                <a:gd name="T28" fmla="*/ 82 w 147"/>
                <a:gd name="T29" fmla="*/ 145 h 146"/>
                <a:gd name="T30" fmla="*/ 74 w 147"/>
                <a:gd name="T31" fmla="*/ 146 h 146"/>
                <a:gd name="T32" fmla="*/ 74 w 147"/>
                <a:gd name="T33" fmla="*/ 146 h 146"/>
                <a:gd name="T34" fmla="*/ 67 w 147"/>
                <a:gd name="T35" fmla="*/ 145 h 146"/>
                <a:gd name="T36" fmla="*/ 59 w 147"/>
                <a:gd name="T37" fmla="*/ 144 h 146"/>
                <a:gd name="T38" fmla="*/ 52 w 147"/>
                <a:gd name="T39" fmla="*/ 143 h 146"/>
                <a:gd name="T40" fmla="*/ 45 w 147"/>
                <a:gd name="T41" fmla="*/ 141 h 146"/>
                <a:gd name="T42" fmla="*/ 39 w 147"/>
                <a:gd name="T43" fmla="*/ 137 h 146"/>
                <a:gd name="T44" fmla="*/ 32 w 147"/>
                <a:gd name="T45" fmla="*/ 134 h 146"/>
                <a:gd name="T46" fmla="*/ 22 w 147"/>
                <a:gd name="T47" fmla="*/ 125 h 146"/>
                <a:gd name="T48" fmla="*/ 13 w 147"/>
                <a:gd name="T49" fmla="*/ 113 h 146"/>
                <a:gd name="T50" fmla="*/ 10 w 147"/>
                <a:gd name="T51" fmla="*/ 107 h 146"/>
                <a:gd name="T52" fmla="*/ 6 w 147"/>
                <a:gd name="T53" fmla="*/ 102 h 146"/>
                <a:gd name="T54" fmla="*/ 4 w 147"/>
                <a:gd name="T55" fmla="*/ 95 h 146"/>
                <a:gd name="T56" fmla="*/ 3 w 147"/>
                <a:gd name="T57" fmla="*/ 88 h 146"/>
                <a:gd name="T58" fmla="*/ 2 w 147"/>
                <a:gd name="T59" fmla="*/ 80 h 146"/>
                <a:gd name="T60" fmla="*/ 0 w 147"/>
                <a:gd name="T61" fmla="*/ 73 h 146"/>
                <a:gd name="T62" fmla="*/ 0 w 147"/>
                <a:gd name="T63" fmla="*/ 73 h 146"/>
                <a:gd name="T64" fmla="*/ 2 w 147"/>
                <a:gd name="T65" fmla="*/ 65 h 146"/>
                <a:gd name="T66" fmla="*/ 3 w 147"/>
                <a:gd name="T67" fmla="*/ 58 h 146"/>
                <a:gd name="T68" fmla="*/ 4 w 147"/>
                <a:gd name="T69" fmla="*/ 51 h 146"/>
                <a:gd name="T70" fmla="*/ 6 w 147"/>
                <a:gd name="T71" fmla="*/ 45 h 146"/>
                <a:gd name="T72" fmla="*/ 10 w 147"/>
                <a:gd name="T73" fmla="*/ 38 h 146"/>
                <a:gd name="T74" fmla="*/ 13 w 147"/>
                <a:gd name="T75" fmla="*/ 32 h 146"/>
                <a:gd name="T76" fmla="*/ 22 w 147"/>
                <a:gd name="T77" fmla="*/ 22 h 146"/>
                <a:gd name="T78" fmla="*/ 32 w 147"/>
                <a:gd name="T79" fmla="*/ 12 h 146"/>
                <a:gd name="T80" fmla="*/ 39 w 147"/>
                <a:gd name="T81" fmla="*/ 9 h 146"/>
                <a:gd name="T82" fmla="*/ 45 w 147"/>
                <a:gd name="T83" fmla="*/ 6 h 146"/>
                <a:gd name="T84" fmla="*/ 52 w 147"/>
                <a:gd name="T85" fmla="*/ 3 h 146"/>
                <a:gd name="T86" fmla="*/ 59 w 147"/>
                <a:gd name="T87" fmla="*/ 1 h 146"/>
                <a:gd name="T88" fmla="*/ 67 w 147"/>
                <a:gd name="T89" fmla="*/ 0 h 146"/>
                <a:gd name="T90" fmla="*/ 74 w 147"/>
                <a:gd name="T91" fmla="*/ 0 h 146"/>
                <a:gd name="T92" fmla="*/ 74 w 147"/>
                <a:gd name="T93" fmla="*/ 0 h 146"/>
                <a:gd name="T94" fmla="*/ 82 w 147"/>
                <a:gd name="T95" fmla="*/ 0 h 146"/>
                <a:gd name="T96" fmla="*/ 88 w 147"/>
                <a:gd name="T97" fmla="*/ 1 h 146"/>
                <a:gd name="T98" fmla="*/ 95 w 147"/>
                <a:gd name="T99" fmla="*/ 3 h 146"/>
                <a:gd name="T100" fmla="*/ 102 w 147"/>
                <a:gd name="T101" fmla="*/ 6 h 146"/>
                <a:gd name="T102" fmla="*/ 108 w 147"/>
                <a:gd name="T103" fmla="*/ 9 h 146"/>
                <a:gd name="T104" fmla="*/ 115 w 147"/>
                <a:gd name="T105" fmla="*/ 12 h 146"/>
                <a:gd name="T106" fmla="*/ 125 w 147"/>
                <a:gd name="T107" fmla="*/ 22 h 146"/>
                <a:gd name="T108" fmla="*/ 134 w 147"/>
                <a:gd name="T109" fmla="*/ 32 h 146"/>
                <a:gd name="T110" fmla="*/ 138 w 147"/>
                <a:gd name="T111" fmla="*/ 38 h 146"/>
                <a:gd name="T112" fmla="*/ 141 w 147"/>
                <a:gd name="T113" fmla="*/ 45 h 146"/>
                <a:gd name="T114" fmla="*/ 143 w 147"/>
                <a:gd name="T115" fmla="*/ 51 h 146"/>
                <a:gd name="T116" fmla="*/ 146 w 147"/>
                <a:gd name="T117" fmla="*/ 58 h 146"/>
                <a:gd name="T118" fmla="*/ 147 w 147"/>
                <a:gd name="T119" fmla="*/ 65 h 146"/>
                <a:gd name="T120" fmla="*/ 147 w 147"/>
                <a:gd name="T121" fmla="*/ 73 h 146"/>
                <a:gd name="T122" fmla="*/ 147 w 147"/>
                <a:gd name="T123" fmla="*/ 7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7" h="146">
                  <a:moveTo>
                    <a:pt x="147" y="73"/>
                  </a:moveTo>
                  <a:lnTo>
                    <a:pt x="147" y="73"/>
                  </a:lnTo>
                  <a:lnTo>
                    <a:pt x="147" y="80"/>
                  </a:lnTo>
                  <a:lnTo>
                    <a:pt x="146" y="88"/>
                  </a:lnTo>
                  <a:lnTo>
                    <a:pt x="143" y="95"/>
                  </a:lnTo>
                  <a:lnTo>
                    <a:pt x="141" y="102"/>
                  </a:lnTo>
                  <a:lnTo>
                    <a:pt x="138" y="107"/>
                  </a:lnTo>
                  <a:lnTo>
                    <a:pt x="134" y="113"/>
                  </a:lnTo>
                  <a:lnTo>
                    <a:pt x="125" y="125"/>
                  </a:lnTo>
                  <a:lnTo>
                    <a:pt x="115" y="134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5" y="143"/>
                  </a:lnTo>
                  <a:lnTo>
                    <a:pt x="88" y="144"/>
                  </a:lnTo>
                  <a:lnTo>
                    <a:pt x="82" y="145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67" y="145"/>
                  </a:lnTo>
                  <a:lnTo>
                    <a:pt x="59" y="144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4"/>
                  </a:lnTo>
                  <a:lnTo>
                    <a:pt x="22" y="125"/>
                  </a:lnTo>
                  <a:lnTo>
                    <a:pt x="13" y="113"/>
                  </a:lnTo>
                  <a:lnTo>
                    <a:pt x="10" y="107"/>
                  </a:lnTo>
                  <a:lnTo>
                    <a:pt x="6" y="102"/>
                  </a:lnTo>
                  <a:lnTo>
                    <a:pt x="4" y="95"/>
                  </a:lnTo>
                  <a:lnTo>
                    <a:pt x="3" y="88"/>
                  </a:lnTo>
                  <a:lnTo>
                    <a:pt x="2" y="80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2" y="65"/>
                  </a:lnTo>
                  <a:lnTo>
                    <a:pt x="3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10" y="38"/>
                  </a:lnTo>
                  <a:lnTo>
                    <a:pt x="13" y="32"/>
                  </a:lnTo>
                  <a:lnTo>
                    <a:pt x="22" y="22"/>
                  </a:lnTo>
                  <a:lnTo>
                    <a:pt x="32" y="12"/>
                  </a:lnTo>
                  <a:lnTo>
                    <a:pt x="39" y="9"/>
                  </a:lnTo>
                  <a:lnTo>
                    <a:pt x="45" y="6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7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2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2" y="6"/>
                  </a:lnTo>
                  <a:lnTo>
                    <a:pt x="108" y="9"/>
                  </a:lnTo>
                  <a:lnTo>
                    <a:pt x="115" y="12"/>
                  </a:lnTo>
                  <a:lnTo>
                    <a:pt x="125" y="22"/>
                  </a:lnTo>
                  <a:lnTo>
                    <a:pt x="134" y="32"/>
                  </a:lnTo>
                  <a:lnTo>
                    <a:pt x="138" y="38"/>
                  </a:lnTo>
                  <a:lnTo>
                    <a:pt x="141" y="45"/>
                  </a:lnTo>
                  <a:lnTo>
                    <a:pt x="143" y="51"/>
                  </a:lnTo>
                  <a:lnTo>
                    <a:pt x="146" y="58"/>
                  </a:lnTo>
                  <a:lnTo>
                    <a:pt x="147" y="65"/>
                  </a:lnTo>
                  <a:lnTo>
                    <a:pt x="147" y="73"/>
                  </a:lnTo>
                  <a:lnTo>
                    <a:pt x="147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2" name="Freeform 908"/>
            <p:cNvSpPr/>
            <p:nvPr/>
          </p:nvSpPr>
          <p:spPr bwMode="auto">
            <a:xfrm>
              <a:off x="7123113" y="2130425"/>
              <a:ext cx="47625" cy="47625"/>
            </a:xfrm>
            <a:custGeom>
              <a:avLst/>
              <a:gdLst>
                <a:gd name="T0" fmla="*/ 147 w 147"/>
                <a:gd name="T1" fmla="*/ 74 h 147"/>
                <a:gd name="T2" fmla="*/ 147 w 147"/>
                <a:gd name="T3" fmla="*/ 74 h 147"/>
                <a:gd name="T4" fmla="*/ 147 w 147"/>
                <a:gd name="T5" fmla="*/ 80 h 147"/>
                <a:gd name="T6" fmla="*/ 146 w 147"/>
                <a:gd name="T7" fmla="*/ 88 h 147"/>
                <a:gd name="T8" fmla="*/ 143 w 147"/>
                <a:gd name="T9" fmla="*/ 95 h 147"/>
                <a:gd name="T10" fmla="*/ 141 w 147"/>
                <a:gd name="T11" fmla="*/ 102 h 147"/>
                <a:gd name="T12" fmla="*/ 138 w 147"/>
                <a:gd name="T13" fmla="*/ 108 h 147"/>
                <a:gd name="T14" fmla="*/ 134 w 147"/>
                <a:gd name="T15" fmla="*/ 115 h 147"/>
                <a:gd name="T16" fmla="*/ 125 w 147"/>
                <a:gd name="T17" fmla="*/ 125 h 147"/>
                <a:gd name="T18" fmla="*/ 115 w 147"/>
                <a:gd name="T19" fmla="*/ 134 h 147"/>
                <a:gd name="T20" fmla="*/ 108 w 147"/>
                <a:gd name="T21" fmla="*/ 138 h 147"/>
                <a:gd name="T22" fmla="*/ 102 w 147"/>
                <a:gd name="T23" fmla="*/ 141 h 147"/>
                <a:gd name="T24" fmla="*/ 95 w 147"/>
                <a:gd name="T25" fmla="*/ 143 h 147"/>
                <a:gd name="T26" fmla="*/ 88 w 147"/>
                <a:gd name="T27" fmla="*/ 145 h 147"/>
                <a:gd name="T28" fmla="*/ 82 w 147"/>
                <a:gd name="T29" fmla="*/ 146 h 147"/>
                <a:gd name="T30" fmla="*/ 74 w 147"/>
                <a:gd name="T31" fmla="*/ 147 h 147"/>
                <a:gd name="T32" fmla="*/ 74 w 147"/>
                <a:gd name="T33" fmla="*/ 147 h 147"/>
                <a:gd name="T34" fmla="*/ 67 w 147"/>
                <a:gd name="T35" fmla="*/ 146 h 147"/>
                <a:gd name="T36" fmla="*/ 59 w 147"/>
                <a:gd name="T37" fmla="*/ 145 h 147"/>
                <a:gd name="T38" fmla="*/ 52 w 147"/>
                <a:gd name="T39" fmla="*/ 143 h 147"/>
                <a:gd name="T40" fmla="*/ 45 w 147"/>
                <a:gd name="T41" fmla="*/ 141 h 147"/>
                <a:gd name="T42" fmla="*/ 39 w 147"/>
                <a:gd name="T43" fmla="*/ 138 h 147"/>
                <a:gd name="T44" fmla="*/ 32 w 147"/>
                <a:gd name="T45" fmla="*/ 134 h 147"/>
                <a:gd name="T46" fmla="*/ 22 w 147"/>
                <a:gd name="T47" fmla="*/ 125 h 147"/>
                <a:gd name="T48" fmla="*/ 13 w 147"/>
                <a:gd name="T49" fmla="*/ 115 h 147"/>
                <a:gd name="T50" fmla="*/ 10 w 147"/>
                <a:gd name="T51" fmla="*/ 108 h 147"/>
                <a:gd name="T52" fmla="*/ 6 w 147"/>
                <a:gd name="T53" fmla="*/ 102 h 147"/>
                <a:gd name="T54" fmla="*/ 4 w 147"/>
                <a:gd name="T55" fmla="*/ 95 h 147"/>
                <a:gd name="T56" fmla="*/ 3 w 147"/>
                <a:gd name="T57" fmla="*/ 88 h 147"/>
                <a:gd name="T58" fmla="*/ 2 w 147"/>
                <a:gd name="T59" fmla="*/ 80 h 147"/>
                <a:gd name="T60" fmla="*/ 0 w 147"/>
                <a:gd name="T61" fmla="*/ 74 h 147"/>
                <a:gd name="T62" fmla="*/ 0 w 147"/>
                <a:gd name="T63" fmla="*/ 74 h 147"/>
                <a:gd name="T64" fmla="*/ 2 w 147"/>
                <a:gd name="T65" fmla="*/ 66 h 147"/>
                <a:gd name="T66" fmla="*/ 3 w 147"/>
                <a:gd name="T67" fmla="*/ 59 h 147"/>
                <a:gd name="T68" fmla="*/ 4 w 147"/>
                <a:gd name="T69" fmla="*/ 52 h 147"/>
                <a:gd name="T70" fmla="*/ 6 w 147"/>
                <a:gd name="T71" fmla="*/ 45 h 147"/>
                <a:gd name="T72" fmla="*/ 10 w 147"/>
                <a:gd name="T73" fmla="*/ 39 h 147"/>
                <a:gd name="T74" fmla="*/ 13 w 147"/>
                <a:gd name="T75" fmla="*/ 32 h 147"/>
                <a:gd name="T76" fmla="*/ 22 w 147"/>
                <a:gd name="T77" fmla="*/ 22 h 147"/>
                <a:gd name="T78" fmla="*/ 32 w 147"/>
                <a:gd name="T79" fmla="*/ 13 h 147"/>
                <a:gd name="T80" fmla="*/ 39 w 147"/>
                <a:gd name="T81" fmla="*/ 9 h 147"/>
                <a:gd name="T82" fmla="*/ 45 w 147"/>
                <a:gd name="T83" fmla="*/ 6 h 147"/>
                <a:gd name="T84" fmla="*/ 52 w 147"/>
                <a:gd name="T85" fmla="*/ 4 h 147"/>
                <a:gd name="T86" fmla="*/ 59 w 147"/>
                <a:gd name="T87" fmla="*/ 3 h 147"/>
                <a:gd name="T88" fmla="*/ 67 w 147"/>
                <a:gd name="T89" fmla="*/ 1 h 147"/>
                <a:gd name="T90" fmla="*/ 74 w 147"/>
                <a:gd name="T91" fmla="*/ 0 h 147"/>
                <a:gd name="T92" fmla="*/ 74 w 147"/>
                <a:gd name="T93" fmla="*/ 0 h 147"/>
                <a:gd name="T94" fmla="*/ 82 w 147"/>
                <a:gd name="T95" fmla="*/ 1 h 147"/>
                <a:gd name="T96" fmla="*/ 88 w 147"/>
                <a:gd name="T97" fmla="*/ 3 h 147"/>
                <a:gd name="T98" fmla="*/ 95 w 147"/>
                <a:gd name="T99" fmla="*/ 4 h 147"/>
                <a:gd name="T100" fmla="*/ 102 w 147"/>
                <a:gd name="T101" fmla="*/ 6 h 147"/>
                <a:gd name="T102" fmla="*/ 108 w 147"/>
                <a:gd name="T103" fmla="*/ 9 h 147"/>
                <a:gd name="T104" fmla="*/ 115 w 147"/>
                <a:gd name="T105" fmla="*/ 13 h 147"/>
                <a:gd name="T106" fmla="*/ 125 w 147"/>
                <a:gd name="T107" fmla="*/ 22 h 147"/>
                <a:gd name="T108" fmla="*/ 134 w 147"/>
                <a:gd name="T109" fmla="*/ 32 h 147"/>
                <a:gd name="T110" fmla="*/ 138 w 147"/>
                <a:gd name="T111" fmla="*/ 39 h 147"/>
                <a:gd name="T112" fmla="*/ 141 w 147"/>
                <a:gd name="T113" fmla="*/ 45 h 147"/>
                <a:gd name="T114" fmla="*/ 143 w 147"/>
                <a:gd name="T115" fmla="*/ 52 h 147"/>
                <a:gd name="T116" fmla="*/ 146 w 147"/>
                <a:gd name="T117" fmla="*/ 59 h 147"/>
                <a:gd name="T118" fmla="*/ 147 w 147"/>
                <a:gd name="T119" fmla="*/ 66 h 147"/>
                <a:gd name="T120" fmla="*/ 147 w 147"/>
                <a:gd name="T121" fmla="*/ 74 h 147"/>
                <a:gd name="T122" fmla="*/ 147 w 147"/>
                <a:gd name="T123" fmla="*/ 74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7" h="147">
                  <a:moveTo>
                    <a:pt x="147" y="74"/>
                  </a:moveTo>
                  <a:lnTo>
                    <a:pt x="147" y="74"/>
                  </a:lnTo>
                  <a:lnTo>
                    <a:pt x="147" y="80"/>
                  </a:lnTo>
                  <a:lnTo>
                    <a:pt x="146" y="88"/>
                  </a:lnTo>
                  <a:lnTo>
                    <a:pt x="143" y="95"/>
                  </a:lnTo>
                  <a:lnTo>
                    <a:pt x="141" y="102"/>
                  </a:lnTo>
                  <a:lnTo>
                    <a:pt x="138" y="108"/>
                  </a:lnTo>
                  <a:lnTo>
                    <a:pt x="134" y="115"/>
                  </a:lnTo>
                  <a:lnTo>
                    <a:pt x="125" y="125"/>
                  </a:lnTo>
                  <a:lnTo>
                    <a:pt x="115" y="134"/>
                  </a:lnTo>
                  <a:lnTo>
                    <a:pt x="108" y="138"/>
                  </a:lnTo>
                  <a:lnTo>
                    <a:pt x="102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2" y="146"/>
                  </a:lnTo>
                  <a:lnTo>
                    <a:pt x="74" y="147"/>
                  </a:lnTo>
                  <a:lnTo>
                    <a:pt x="74" y="147"/>
                  </a:lnTo>
                  <a:lnTo>
                    <a:pt x="67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8"/>
                  </a:lnTo>
                  <a:lnTo>
                    <a:pt x="32" y="134"/>
                  </a:lnTo>
                  <a:lnTo>
                    <a:pt x="22" y="125"/>
                  </a:lnTo>
                  <a:lnTo>
                    <a:pt x="13" y="115"/>
                  </a:lnTo>
                  <a:lnTo>
                    <a:pt x="10" y="108"/>
                  </a:lnTo>
                  <a:lnTo>
                    <a:pt x="6" y="102"/>
                  </a:lnTo>
                  <a:lnTo>
                    <a:pt x="4" y="95"/>
                  </a:lnTo>
                  <a:lnTo>
                    <a:pt x="3" y="88"/>
                  </a:lnTo>
                  <a:lnTo>
                    <a:pt x="2" y="8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66"/>
                  </a:lnTo>
                  <a:lnTo>
                    <a:pt x="3" y="59"/>
                  </a:lnTo>
                  <a:lnTo>
                    <a:pt x="4" y="52"/>
                  </a:lnTo>
                  <a:lnTo>
                    <a:pt x="6" y="45"/>
                  </a:lnTo>
                  <a:lnTo>
                    <a:pt x="10" y="39"/>
                  </a:lnTo>
                  <a:lnTo>
                    <a:pt x="13" y="32"/>
                  </a:lnTo>
                  <a:lnTo>
                    <a:pt x="22" y="22"/>
                  </a:lnTo>
                  <a:lnTo>
                    <a:pt x="32" y="13"/>
                  </a:lnTo>
                  <a:lnTo>
                    <a:pt x="39" y="9"/>
                  </a:lnTo>
                  <a:lnTo>
                    <a:pt x="45" y="6"/>
                  </a:lnTo>
                  <a:lnTo>
                    <a:pt x="52" y="4"/>
                  </a:lnTo>
                  <a:lnTo>
                    <a:pt x="59" y="3"/>
                  </a:lnTo>
                  <a:lnTo>
                    <a:pt x="67" y="1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2" y="1"/>
                  </a:lnTo>
                  <a:lnTo>
                    <a:pt x="88" y="3"/>
                  </a:lnTo>
                  <a:lnTo>
                    <a:pt x="95" y="4"/>
                  </a:lnTo>
                  <a:lnTo>
                    <a:pt x="102" y="6"/>
                  </a:lnTo>
                  <a:lnTo>
                    <a:pt x="108" y="9"/>
                  </a:lnTo>
                  <a:lnTo>
                    <a:pt x="115" y="13"/>
                  </a:lnTo>
                  <a:lnTo>
                    <a:pt x="125" y="22"/>
                  </a:lnTo>
                  <a:lnTo>
                    <a:pt x="134" y="32"/>
                  </a:lnTo>
                  <a:lnTo>
                    <a:pt x="138" y="39"/>
                  </a:lnTo>
                  <a:lnTo>
                    <a:pt x="141" y="45"/>
                  </a:lnTo>
                  <a:lnTo>
                    <a:pt x="143" y="52"/>
                  </a:lnTo>
                  <a:lnTo>
                    <a:pt x="146" y="59"/>
                  </a:lnTo>
                  <a:lnTo>
                    <a:pt x="147" y="66"/>
                  </a:lnTo>
                  <a:lnTo>
                    <a:pt x="147" y="74"/>
                  </a:lnTo>
                  <a:lnTo>
                    <a:pt x="147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3" name="Freeform 909"/>
            <p:cNvSpPr/>
            <p:nvPr/>
          </p:nvSpPr>
          <p:spPr bwMode="auto">
            <a:xfrm>
              <a:off x="7264401" y="21288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19 w 153"/>
                <a:gd name="T11" fmla="*/ 141 h 154"/>
                <a:gd name="T12" fmla="*/ 107 w 153"/>
                <a:gd name="T13" fmla="*/ 148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4" name="Freeform 910"/>
            <p:cNvSpPr/>
            <p:nvPr/>
          </p:nvSpPr>
          <p:spPr bwMode="auto">
            <a:xfrm>
              <a:off x="7472363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5" name="Freeform 911"/>
            <p:cNvSpPr/>
            <p:nvPr/>
          </p:nvSpPr>
          <p:spPr bwMode="auto">
            <a:xfrm>
              <a:off x="7542213" y="21288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6" name="Freeform 912"/>
            <p:cNvSpPr/>
            <p:nvPr/>
          </p:nvSpPr>
          <p:spPr bwMode="auto">
            <a:xfrm>
              <a:off x="7612063" y="21288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7" name="Freeform 913"/>
            <p:cNvSpPr/>
            <p:nvPr/>
          </p:nvSpPr>
          <p:spPr bwMode="auto">
            <a:xfrm>
              <a:off x="7681913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8" name="Freeform 914"/>
            <p:cNvSpPr/>
            <p:nvPr/>
          </p:nvSpPr>
          <p:spPr bwMode="auto">
            <a:xfrm>
              <a:off x="7751763" y="21288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4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59" name="Freeform 915"/>
            <p:cNvSpPr/>
            <p:nvPr/>
          </p:nvSpPr>
          <p:spPr bwMode="auto">
            <a:xfrm>
              <a:off x="7821613" y="21288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0" name="Freeform 916"/>
            <p:cNvSpPr/>
            <p:nvPr/>
          </p:nvSpPr>
          <p:spPr bwMode="auto">
            <a:xfrm>
              <a:off x="6357938" y="2200275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1" name="Freeform 917"/>
            <p:cNvSpPr/>
            <p:nvPr/>
          </p:nvSpPr>
          <p:spPr bwMode="auto">
            <a:xfrm>
              <a:off x="6497638" y="352583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6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2" name="Freeform 918"/>
            <p:cNvSpPr/>
            <p:nvPr/>
          </p:nvSpPr>
          <p:spPr bwMode="auto">
            <a:xfrm>
              <a:off x="6497638" y="35972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3" name="Freeform 919"/>
            <p:cNvSpPr/>
            <p:nvPr/>
          </p:nvSpPr>
          <p:spPr bwMode="auto">
            <a:xfrm>
              <a:off x="6497638" y="3663950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4" name="Freeform 920"/>
            <p:cNvSpPr/>
            <p:nvPr/>
          </p:nvSpPr>
          <p:spPr bwMode="auto">
            <a:xfrm>
              <a:off x="6497638" y="373380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5" name="Freeform 921"/>
            <p:cNvSpPr/>
            <p:nvPr/>
          </p:nvSpPr>
          <p:spPr bwMode="auto">
            <a:xfrm>
              <a:off x="6497638" y="380523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6" name="Freeform 922"/>
            <p:cNvSpPr/>
            <p:nvPr/>
          </p:nvSpPr>
          <p:spPr bwMode="auto">
            <a:xfrm>
              <a:off x="6497638" y="38750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7" name="Freeform 923"/>
            <p:cNvSpPr/>
            <p:nvPr/>
          </p:nvSpPr>
          <p:spPr bwMode="auto">
            <a:xfrm>
              <a:off x="6497638" y="3946525"/>
              <a:ext cx="49213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8" name="Freeform 924"/>
            <p:cNvSpPr/>
            <p:nvPr/>
          </p:nvSpPr>
          <p:spPr bwMode="auto">
            <a:xfrm>
              <a:off x="6497638" y="4016375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69" name="Freeform 925"/>
            <p:cNvSpPr/>
            <p:nvPr/>
          </p:nvSpPr>
          <p:spPr bwMode="auto">
            <a:xfrm>
              <a:off x="6497638" y="408781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0" name="Freeform 926"/>
            <p:cNvSpPr/>
            <p:nvPr/>
          </p:nvSpPr>
          <p:spPr bwMode="auto">
            <a:xfrm>
              <a:off x="6497638" y="415766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1" name="Freeform 927"/>
            <p:cNvSpPr/>
            <p:nvPr/>
          </p:nvSpPr>
          <p:spPr bwMode="auto">
            <a:xfrm>
              <a:off x="6497638" y="422751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2" name="Freeform 928"/>
            <p:cNvSpPr/>
            <p:nvPr/>
          </p:nvSpPr>
          <p:spPr bwMode="auto">
            <a:xfrm>
              <a:off x="6497638" y="4298950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0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3" name="Freeform 929"/>
            <p:cNvSpPr/>
            <p:nvPr/>
          </p:nvSpPr>
          <p:spPr bwMode="auto">
            <a:xfrm>
              <a:off x="6497638" y="4368800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4" name="Freeform 930"/>
            <p:cNvSpPr/>
            <p:nvPr/>
          </p:nvSpPr>
          <p:spPr bwMode="auto">
            <a:xfrm>
              <a:off x="6497638" y="4440238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5" name="Freeform 931"/>
            <p:cNvSpPr/>
            <p:nvPr/>
          </p:nvSpPr>
          <p:spPr bwMode="auto">
            <a:xfrm>
              <a:off x="6497638" y="45069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6" name="Freeform 932"/>
            <p:cNvSpPr/>
            <p:nvPr/>
          </p:nvSpPr>
          <p:spPr bwMode="auto">
            <a:xfrm>
              <a:off x="6497638" y="45767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2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7" name="Freeform 933"/>
            <p:cNvSpPr/>
            <p:nvPr/>
          </p:nvSpPr>
          <p:spPr bwMode="auto">
            <a:xfrm>
              <a:off x="6564313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8" name="Freeform 934"/>
            <p:cNvSpPr/>
            <p:nvPr/>
          </p:nvSpPr>
          <p:spPr bwMode="auto">
            <a:xfrm>
              <a:off x="6564313" y="35972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79" name="Freeform 935"/>
            <p:cNvSpPr/>
            <p:nvPr/>
          </p:nvSpPr>
          <p:spPr bwMode="auto">
            <a:xfrm>
              <a:off x="6564313" y="36639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0" name="Freeform 936"/>
            <p:cNvSpPr/>
            <p:nvPr/>
          </p:nvSpPr>
          <p:spPr bwMode="auto">
            <a:xfrm>
              <a:off x="6564313" y="37338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1" name="Freeform 937"/>
            <p:cNvSpPr/>
            <p:nvPr/>
          </p:nvSpPr>
          <p:spPr bwMode="auto">
            <a:xfrm>
              <a:off x="6564313" y="38052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2" name="Freeform 938"/>
            <p:cNvSpPr/>
            <p:nvPr/>
          </p:nvSpPr>
          <p:spPr bwMode="auto">
            <a:xfrm>
              <a:off x="6564313" y="38750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3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3" name="Freeform 939"/>
            <p:cNvSpPr/>
            <p:nvPr/>
          </p:nvSpPr>
          <p:spPr bwMode="auto">
            <a:xfrm>
              <a:off x="6564313" y="394652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4" name="Freeform 940"/>
            <p:cNvSpPr/>
            <p:nvPr/>
          </p:nvSpPr>
          <p:spPr bwMode="auto">
            <a:xfrm>
              <a:off x="6564313" y="40163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5" name="Freeform 941"/>
            <p:cNvSpPr/>
            <p:nvPr/>
          </p:nvSpPr>
          <p:spPr bwMode="auto">
            <a:xfrm>
              <a:off x="6564313" y="40878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6" name="Freeform 942"/>
            <p:cNvSpPr/>
            <p:nvPr/>
          </p:nvSpPr>
          <p:spPr bwMode="auto">
            <a:xfrm>
              <a:off x="6635751" y="352583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3 w 155"/>
                <a:gd name="T45" fmla="*/ 13 h 155"/>
                <a:gd name="T46" fmla="*/ 47 w 155"/>
                <a:gd name="T47" fmla="*/ 6 h 155"/>
                <a:gd name="T48" fmla="*/ 61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6 w 155"/>
                <a:gd name="T61" fmla="*/ 28 h 155"/>
                <a:gd name="T62" fmla="*/ 144 w 155"/>
                <a:gd name="T63" fmla="*/ 40 h 155"/>
                <a:gd name="T64" fmla="*/ 150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7" name="Freeform 943"/>
            <p:cNvSpPr/>
            <p:nvPr/>
          </p:nvSpPr>
          <p:spPr bwMode="auto">
            <a:xfrm>
              <a:off x="6635751" y="35972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3 w 155"/>
                <a:gd name="T45" fmla="*/ 14 h 155"/>
                <a:gd name="T46" fmla="*/ 47 w 155"/>
                <a:gd name="T47" fmla="*/ 7 h 155"/>
                <a:gd name="T48" fmla="*/ 61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1 h 155"/>
                <a:gd name="T64" fmla="*/ 150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8" name="Freeform 944"/>
            <p:cNvSpPr/>
            <p:nvPr/>
          </p:nvSpPr>
          <p:spPr bwMode="auto">
            <a:xfrm>
              <a:off x="6635751" y="366395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2 h 153"/>
                <a:gd name="T44" fmla="*/ 33 w 155"/>
                <a:gd name="T45" fmla="*/ 12 h 153"/>
                <a:gd name="T46" fmla="*/ 47 w 155"/>
                <a:gd name="T47" fmla="*/ 6 h 153"/>
                <a:gd name="T48" fmla="*/ 61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0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89" name="Freeform 945"/>
            <p:cNvSpPr/>
            <p:nvPr/>
          </p:nvSpPr>
          <p:spPr bwMode="auto">
            <a:xfrm>
              <a:off x="6635751" y="37338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3 w 155"/>
                <a:gd name="T45" fmla="*/ 14 h 154"/>
                <a:gd name="T46" fmla="*/ 47 w 155"/>
                <a:gd name="T47" fmla="*/ 6 h 154"/>
                <a:gd name="T48" fmla="*/ 61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0" name="Freeform 946"/>
            <p:cNvSpPr/>
            <p:nvPr/>
          </p:nvSpPr>
          <p:spPr bwMode="auto">
            <a:xfrm>
              <a:off x="6635751" y="38052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3 w 155"/>
                <a:gd name="T45" fmla="*/ 14 h 154"/>
                <a:gd name="T46" fmla="*/ 47 w 155"/>
                <a:gd name="T47" fmla="*/ 7 h 154"/>
                <a:gd name="T48" fmla="*/ 61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1 h 154"/>
                <a:gd name="T64" fmla="*/ 150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1" name="Freeform 947"/>
            <p:cNvSpPr/>
            <p:nvPr/>
          </p:nvSpPr>
          <p:spPr bwMode="auto">
            <a:xfrm>
              <a:off x="6635751" y="38750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3 w 155"/>
                <a:gd name="T41" fmla="*/ 34 h 153"/>
                <a:gd name="T42" fmla="*/ 23 w 155"/>
                <a:gd name="T43" fmla="*/ 23 h 153"/>
                <a:gd name="T44" fmla="*/ 33 w 155"/>
                <a:gd name="T45" fmla="*/ 13 h 153"/>
                <a:gd name="T46" fmla="*/ 47 w 155"/>
                <a:gd name="T47" fmla="*/ 6 h 153"/>
                <a:gd name="T48" fmla="*/ 61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0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2" name="Freeform 948"/>
            <p:cNvSpPr/>
            <p:nvPr/>
          </p:nvSpPr>
          <p:spPr bwMode="auto">
            <a:xfrm>
              <a:off x="6635751" y="3946525"/>
              <a:ext cx="49213" cy="47625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3 w 155"/>
                <a:gd name="T45" fmla="*/ 12 h 154"/>
                <a:gd name="T46" fmla="*/ 47 w 155"/>
                <a:gd name="T47" fmla="*/ 6 h 154"/>
                <a:gd name="T48" fmla="*/ 61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7 h 154"/>
                <a:gd name="T62" fmla="*/ 144 w 155"/>
                <a:gd name="T63" fmla="*/ 40 h 154"/>
                <a:gd name="T64" fmla="*/ 150 w 155"/>
                <a:gd name="T65" fmla="*/ 54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3" name="Freeform 949"/>
            <p:cNvSpPr/>
            <p:nvPr/>
          </p:nvSpPr>
          <p:spPr bwMode="auto">
            <a:xfrm>
              <a:off x="6635751" y="4016375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3 w 155"/>
                <a:gd name="T45" fmla="*/ 14 h 154"/>
                <a:gd name="T46" fmla="*/ 47 w 155"/>
                <a:gd name="T47" fmla="*/ 7 h 154"/>
                <a:gd name="T48" fmla="*/ 61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1 h 154"/>
                <a:gd name="T64" fmla="*/ 150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4" name="Freeform 950"/>
            <p:cNvSpPr/>
            <p:nvPr/>
          </p:nvSpPr>
          <p:spPr bwMode="auto">
            <a:xfrm>
              <a:off x="6702426" y="352583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5" name="Freeform 951"/>
            <p:cNvSpPr/>
            <p:nvPr/>
          </p:nvSpPr>
          <p:spPr bwMode="auto">
            <a:xfrm>
              <a:off x="6702426" y="36639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6" name="Freeform 952"/>
            <p:cNvSpPr/>
            <p:nvPr/>
          </p:nvSpPr>
          <p:spPr bwMode="auto">
            <a:xfrm>
              <a:off x="6702426" y="373380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7" name="Freeform 953"/>
            <p:cNvSpPr/>
            <p:nvPr/>
          </p:nvSpPr>
          <p:spPr bwMode="auto">
            <a:xfrm>
              <a:off x="6702426" y="380523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8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8" name="Freeform 954"/>
            <p:cNvSpPr/>
            <p:nvPr/>
          </p:nvSpPr>
          <p:spPr bwMode="auto">
            <a:xfrm>
              <a:off x="6702426" y="38750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99" name="Freeform 955"/>
            <p:cNvSpPr/>
            <p:nvPr/>
          </p:nvSpPr>
          <p:spPr bwMode="auto">
            <a:xfrm>
              <a:off x="6702426" y="394652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0" name="Freeform 956"/>
            <p:cNvSpPr/>
            <p:nvPr/>
          </p:nvSpPr>
          <p:spPr bwMode="auto">
            <a:xfrm>
              <a:off x="6775451" y="352583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1" name="Freeform 957"/>
            <p:cNvSpPr/>
            <p:nvPr/>
          </p:nvSpPr>
          <p:spPr bwMode="auto">
            <a:xfrm>
              <a:off x="6775451" y="366395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2" name="Freeform 958"/>
            <p:cNvSpPr/>
            <p:nvPr/>
          </p:nvSpPr>
          <p:spPr bwMode="auto">
            <a:xfrm>
              <a:off x="6775451" y="37338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3" name="Freeform 959"/>
            <p:cNvSpPr/>
            <p:nvPr/>
          </p:nvSpPr>
          <p:spPr bwMode="auto">
            <a:xfrm>
              <a:off x="6775451" y="38052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4" name="Freeform 960"/>
            <p:cNvSpPr/>
            <p:nvPr/>
          </p:nvSpPr>
          <p:spPr bwMode="auto">
            <a:xfrm>
              <a:off x="6775451" y="38750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5" name="Freeform 961"/>
            <p:cNvSpPr/>
            <p:nvPr/>
          </p:nvSpPr>
          <p:spPr bwMode="auto">
            <a:xfrm>
              <a:off x="6846888" y="366395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6" name="Freeform 962"/>
            <p:cNvSpPr/>
            <p:nvPr/>
          </p:nvSpPr>
          <p:spPr bwMode="auto">
            <a:xfrm>
              <a:off x="6846888" y="373380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7" name="Freeform 963"/>
            <p:cNvSpPr/>
            <p:nvPr/>
          </p:nvSpPr>
          <p:spPr bwMode="auto">
            <a:xfrm>
              <a:off x="6846888" y="38052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8" name="Freeform 964"/>
            <p:cNvSpPr/>
            <p:nvPr/>
          </p:nvSpPr>
          <p:spPr bwMode="auto">
            <a:xfrm>
              <a:off x="6918326" y="3663950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09" name="Freeform 965"/>
            <p:cNvSpPr/>
            <p:nvPr/>
          </p:nvSpPr>
          <p:spPr bwMode="auto">
            <a:xfrm>
              <a:off x="6564313" y="436880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0" name="Freeform 966"/>
            <p:cNvSpPr/>
            <p:nvPr/>
          </p:nvSpPr>
          <p:spPr bwMode="auto">
            <a:xfrm>
              <a:off x="6564313" y="4440238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1" name="Freeform 967"/>
            <p:cNvSpPr/>
            <p:nvPr/>
          </p:nvSpPr>
          <p:spPr bwMode="auto">
            <a:xfrm>
              <a:off x="6564313" y="45069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2" name="Freeform 968"/>
            <p:cNvSpPr/>
            <p:nvPr/>
          </p:nvSpPr>
          <p:spPr bwMode="auto">
            <a:xfrm>
              <a:off x="6564313" y="45767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3" name="Freeform 969"/>
            <p:cNvSpPr/>
            <p:nvPr/>
          </p:nvSpPr>
          <p:spPr bwMode="auto">
            <a:xfrm>
              <a:off x="6146801" y="47879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4" name="Freeform 970"/>
            <p:cNvSpPr/>
            <p:nvPr/>
          </p:nvSpPr>
          <p:spPr bwMode="auto">
            <a:xfrm>
              <a:off x="6146801" y="48593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4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5" name="Freeform 971"/>
            <p:cNvSpPr/>
            <p:nvPr/>
          </p:nvSpPr>
          <p:spPr bwMode="auto">
            <a:xfrm>
              <a:off x="6216651" y="47879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6" name="Freeform 972"/>
            <p:cNvSpPr/>
            <p:nvPr/>
          </p:nvSpPr>
          <p:spPr bwMode="auto">
            <a:xfrm>
              <a:off x="6216651" y="48593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0 w 154"/>
                <a:gd name="T23" fmla="*/ 146 h 155"/>
                <a:gd name="T24" fmla="*/ 29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7" name="Freeform 973"/>
            <p:cNvSpPr/>
            <p:nvPr/>
          </p:nvSpPr>
          <p:spPr bwMode="auto">
            <a:xfrm>
              <a:off x="6286501" y="47879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8" name="Freeform 974"/>
            <p:cNvSpPr/>
            <p:nvPr/>
          </p:nvSpPr>
          <p:spPr bwMode="auto">
            <a:xfrm>
              <a:off x="6286501" y="48593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3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19" name="Freeform 975"/>
            <p:cNvSpPr/>
            <p:nvPr/>
          </p:nvSpPr>
          <p:spPr bwMode="auto">
            <a:xfrm>
              <a:off x="6357938" y="4787900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0" name="Freeform 976"/>
            <p:cNvSpPr/>
            <p:nvPr/>
          </p:nvSpPr>
          <p:spPr bwMode="auto">
            <a:xfrm>
              <a:off x="6357938" y="48593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1" name="Freeform 977"/>
            <p:cNvSpPr/>
            <p:nvPr/>
          </p:nvSpPr>
          <p:spPr bwMode="auto">
            <a:xfrm>
              <a:off x="6777038" y="45767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2" name="Freeform 978"/>
            <p:cNvSpPr/>
            <p:nvPr/>
          </p:nvSpPr>
          <p:spPr bwMode="auto">
            <a:xfrm>
              <a:off x="6707188" y="464820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0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2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9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2"/>
                  </a:lnTo>
                  <a:lnTo>
                    <a:pt x="91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1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9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3" name="Freeform 979"/>
            <p:cNvSpPr/>
            <p:nvPr/>
          </p:nvSpPr>
          <p:spPr bwMode="auto">
            <a:xfrm>
              <a:off x="6707188" y="4718050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6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2 h 154"/>
                <a:gd name="T46" fmla="*/ 47 w 153"/>
                <a:gd name="T47" fmla="*/ 5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4" name="Freeform 980"/>
            <p:cNvSpPr/>
            <p:nvPr/>
          </p:nvSpPr>
          <p:spPr bwMode="auto">
            <a:xfrm>
              <a:off x="6777038" y="46482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2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9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9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9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5" name="Freeform 981"/>
            <p:cNvSpPr/>
            <p:nvPr/>
          </p:nvSpPr>
          <p:spPr bwMode="auto">
            <a:xfrm>
              <a:off x="6777038" y="47117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6" name="Freeform 982"/>
            <p:cNvSpPr/>
            <p:nvPr/>
          </p:nvSpPr>
          <p:spPr bwMode="auto">
            <a:xfrm>
              <a:off x="6777038" y="4786313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7" name="Freeform 983"/>
            <p:cNvSpPr/>
            <p:nvPr/>
          </p:nvSpPr>
          <p:spPr bwMode="auto">
            <a:xfrm>
              <a:off x="6777038" y="4854575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8" name="Freeform 984"/>
            <p:cNvSpPr/>
            <p:nvPr/>
          </p:nvSpPr>
          <p:spPr bwMode="auto">
            <a:xfrm>
              <a:off x="6846888" y="45069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9" name="Freeform 985"/>
            <p:cNvSpPr/>
            <p:nvPr/>
          </p:nvSpPr>
          <p:spPr bwMode="auto">
            <a:xfrm>
              <a:off x="6846888" y="45767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0" name="Freeform 986"/>
            <p:cNvSpPr/>
            <p:nvPr/>
          </p:nvSpPr>
          <p:spPr bwMode="auto">
            <a:xfrm>
              <a:off x="6846888" y="464661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3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1" name="Freeform 987"/>
            <p:cNvSpPr/>
            <p:nvPr/>
          </p:nvSpPr>
          <p:spPr bwMode="auto">
            <a:xfrm>
              <a:off x="6707188" y="47879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2" name="Freeform 988"/>
            <p:cNvSpPr/>
            <p:nvPr/>
          </p:nvSpPr>
          <p:spPr bwMode="auto">
            <a:xfrm>
              <a:off x="6707188" y="48593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0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99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3" name="Freeform 989"/>
            <p:cNvSpPr/>
            <p:nvPr/>
          </p:nvSpPr>
          <p:spPr bwMode="auto">
            <a:xfrm>
              <a:off x="6146801" y="4930775"/>
              <a:ext cx="49213" cy="47625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49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5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6 w 155"/>
                <a:gd name="T39" fmla="*/ 46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2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5 w 155"/>
                <a:gd name="T63" fmla="*/ 40 h 154"/>
                <a:gd name="T64" fmla="*/ 151 w 155"/>
                <a:gd name="T65" fmla="*/ 53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4" name="Freeform 990"/>
            <p:cNvSpPr/>
            <p:nvPr/>
          </p:nvSpPr>
          <p:spPr bwMode="auto">
            <a:xfrm>
              <a:off x="6146801" y="5000625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5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4 h 154"/>
                <a:gd name="T34" fmla="*/ 0 w 155"/>
                <a:gd name="T35" fmla="*/ 77 h 154"/>
                <a:gd name="T36" fmla="*/ 3 w 155"/>
                <a:gd name="T37" fmla="*/ 61 h 154"/>
                <a:gd name="T38" fmla="*/ 6 w 155"/>
                <a:gd name="T39" fmla="*/ 46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5" name="Freeform 991"/>
            <p:cNvSpPr/>
            <p:nvPr/>
          </p:nvSpPr>
          <p:spPr bwMode="auto">
            <a:xfrm>
              <a:off x="6216651" y="493077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49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6" name="Freeform 992"/>
            <p:cNvSpPr/>
            <p:nvPr/>
          </p:nvSpPr>
          <p:spPr bwMode="auto">
            <a:xfrm>
              <a:off x="6216651" y="500062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6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6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7" name="Freeform 993"/>
            <p:cNvSpPr/>
            <p:nvPr/>
          </p:nvSpPr>
          <p:spPr bwMode="auto">
            <a:xfrm>
              <a:off x="6286501" y="493077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49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6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8" name="Freeform 994"/>
            <p:cNvSpPr/>
            <p:nvPr/>
          </p:nvSpPr>
          <p:spPr bwMode="auto">
            <a:xfrm>
              <a:off x="6286501" y="500062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6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9" name="Freeform 995"/>
            <p:cNvSpPr/>
            <p:nvPr/>
          </p:nvSpPr>
          <p:spPr bwMode="auto">
            <a:xfrm>
              <a:off x="5935663" y="4227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0" name="Freeform 996"/>
            <p:cNvSpPr/>
            <p:nvPr/>
          </p:nvSpPr>
          <p:spPr bwMode="auto">
            <a:xfrm>
              <a:off x="5935663" y="4298950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1" name="Freeform 997"/>
            <p:cNvSpPr/>
            <p:nvPr/>
          </p:nvSpPr>
          <p:spPr bwMode="auto">
            <a:xfrm>
              <a:off x="6005513" y="4227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2" name="Freeform 998"/>
            <p:cNvSpPr/>
            <p:nvPr/>
          </p:nvSpPr>
          <p:spPr bwMode="auto">
            <a:xfrm>
              <a:off x="6005513" y="4298950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0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3" name="Freeform 999"/>
            <p:cNvSpPr/>
            <p:nvPr/>
          </p:nvSpPr>
          <p:spPr bwMode="auto">
            <a:xfrm>
              <a:off x="6075363" y="422751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4" name="Freeform 1000"/>
            <p:cNvSpPr/>
            <p:nvPr/>
          </p:nvSpPr>
          <p:spPr bwMode="auto">
            <a:xfrm>
              <a:off x="5727701" y="42275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4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2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5" name="Freeform 1001"/>
            <p:cNvSpPr/>
            <p:nvPr/>
          </p:nvSpPr>
          <p:spPr bwMode="auto">
            <a:xfrm>
              <a:off x="5795963" y="42275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3 w 155"/>
                <a:gd name="T31" fmla="*/ 100 h 154"/>
                <a:gd name="T32" fmla="*/ 1 w 155"/>
                <a:gd name="T33" fmla="*/ 84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4 w 155"/>
                <a:gd name="T57" fmla="*/ 9 h 154"/>
                <a:gd name="T58" fmla="*/ 127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6" name="Freeform 1002"/>
            <p:cNvSpPr/>
            <p:nvPr/>
          </p:nvSpPr>
          <p:spPr bwMode="auto">
            <a:xfrm>
              <a:off x="5867401" y="422751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7" name="Freeform 1003"/>
            <p:cNvSpPr/>
            <p:nvPr/>
          </p:nvSpPr>
          <p:spPr bwMode="auto">
            <a:xfrm>
              <a:off x="6075363" y="4298950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8" name="Freeform 1004"/>
            <p:cNvSpPr/>
            <p:nvPr/>
          </p:nvSpPr>
          <p:spPr bwMode="auto">
            <a:xfrm>
              <a:off x="5935663" y="436880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49" name="Freeform 1005"/>
            <p:cNvSpPr/>
            <p:nvPr/>
          </p:nvSpPr>
          <p:spPr bwMode="auto">
            <a:xfrm>
              <a:off x="5935663" y="4440238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0" name="Freeform 1006"/>
            <p:cNvSpPr/>
            <p:nvPr/>
          </p:nvSpPr>
          <p:spPr bwMode="auto">
            <a:xfrm>
              <a:off x="6005513" y="436880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1" name="Freeform 1007"/>
            <p:cNvSpPr/>
            <p:nvPr/>
          </p:nvSpPr>
          <p:spPr bwMode="auto">
            <a:xfrm>
              <a:off x="6005513" y="4440238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6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2" name="Freeform 1008"/>
            <p:cNvSpPr/>
            <p:nvPr/>
          </p:nvSpPr>
          <p:spPr bwMode="auto">
            <a:xfrm>
              <a:off x="6075363" y="4368800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3" name="Freeform 1010"/>
            <p:cNvSpPr/>
            <p:nvPr/>
          </p:nvSpPr>
          <p:spPr bwMode="auto">
            <a:xfrm>
              <a:off x="6075363" y="4440238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4" name="Freeform 1011"/>
            <p:cNvSpPr/>
            <p:nvPr/>
          </p:nvSpPr>
          <p:spPr bwMode="auto">
            <a:xfrm>
              <a:off x="5935663" y="45069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5" name="Freeform 1012"/>
            <p:cNvSpPr/>
            <p:nvPr/>
          </p:nvSpPr>
          <p:spPr bwMode="auto">
            <a:xfrm>
              <a:off x="5935663" y="45767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6" name="Freeform 1013"/>
            <p:cNvSpPr/>
            <p:nvPr/>
          </p:nvSpPr>
          <p:spPr bwMode="auto">
            <a:xfrm>
              <a:off x="6005513" y="45069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7" name="Freeform 1014"/>
            <p:cNvSpPr/>
            <p:nvPr/>
          </p:nvSpPr>
          <p:spPr bwMode="auto">
            <a:xfrm>
              <a:off x="6005513" y="45767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8" name="Freeform 1015"/>
            <p:cNvSpPr/>
            <p:nvPr/>
          </p:nvSpPr>
          <p:spPr bwMode="auto">
            <a:xfrm>
              <a:off x="6075363" y="45069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59" name="Freeform 1016"/>
            <p:cNvSpPr/>
            <p:nvPr/>
          </p:nvSpPr>
          <p:spPr bwMode="auto">
            <a:xfrm>
              <a:off x="6075363" y="45767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0" name="Freeform 1017"/>
            <p:cNvSpPr/>
            <p:nvPr/>
          </p:nvSpPr>
          <p:spPr bwMode="auto">
            <a:xfrm>
              <a:off x="5935663" y="46482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9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9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1" name="Freeform 1018"/>
            <p:cNvSpPr/>
            <p:nvPr/>
          </p:nvSpPr>
          <p:spPr bwMode="auto">
            <a:xfrm>
              <a:off x="5935663" y="47180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2" name="Freeform 1019"/>
            <p:cNvSpPr/>
            <p:nvPr/>
          </p:nvSpPr>
          <p:spPr bwMode="auto">
            <a:xfrm>
              <a:off x="6005513" y="46482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2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9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99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9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3" name="Freeform 1020"/>
            <p:cNvSpPr/>
            <p:nvPr/>
          </p:nvSpPr>
          <p:spPr bwMode="auto">
            <a:xfrm>
              <a:off x="6005513" y="47180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4" name="Freeform 1021"/>
            <p:cNvSpPr/>
            <p:nvPr/>
          </p:nvSpPr>
          <p:spPr bwMode="auto">
            <a:xfrm>
              <a:off x="6075363" y="464820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2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9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2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9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9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5" name="Freeform 1022"/>
            <p:cNvSpPr/>
            <p:nvPr/>
          </p:nvSpPr>
          <p:spPr bwMode="auto">
            <a:xfrm>
              <a:off x="6075363" y="4718050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6" name="Freeform 1023"/>
            <p:cNvSpPr/>
            <p:nvPr/>
          </p:nvSpPr>
          <p:spPr bwMode="auto">
            <a:xfrm>
              <a:off x="5935663" y="47879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7" name="Freeform 1024"/>
            <p:cNvSpPr/>
            <p:nvPr/>
          </p:nvSpPr>
          <p:spPr bwMode="auto">
            <a:xfrm>
              <a:off x="5935663" y="48593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8" name="Freeform 1025"/>
            <p:cNvSpPr/>
            <p:nvPr/>
          </p:nvSpPr>
          <p:spPr bwMode="auto">
            <a:xfrm>
              <a:off x="6005513" y="47879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9" name="Freeform 1026"/>
            <p:cNvSpPr/>
            <p:nvPr/>
          </p:nvSpPr>
          <p:spPr bwMode="auto">
            <a:xfrm>
              <a:off x="6005513" y="48593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99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0" name="Freeform 1027"/>
            <p:cNvSpPr/>
            <p:nvPr/>
          </p:nvSpPr>
          <p:spPr bwMode="auto">
            <a:xfrm>
              <a:off x="6075363" y="47879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1" name="Freeform 1028"/>
            <p:cNvSpPr/>
            <p:nvPr/>
          </p:nvSpPr>
          <p:spPr bwMode="auto">
            <a:xfrm>
              <a:off x="6075363" y="48593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2" name="Freeform 1029"/>
            <p:cNvSpPr/>
            <p:nvPr/>
          </p:nvSpPr>
          <p:spPr bwMode="auto">
            <a:xfrm>
              <a:off x="5935663" y="493077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49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3" name="Freeform 1030"/>
            <p:cNvSpPr/>
            <p:nvPr/>
          </p:nvSpPr>
          <p:spPr bwMode="auto">
            <a:xfrm>
              <a:off x="5935663" y="500062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6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4" name="Freeform 1031"/>
            <p:cNvSpPr/>
            <p:nvPr/>
          </p:nvSpPr>
          <p:spPr bwMode="auto">
            <a:xfrm>
              <a:off x="6005513" y="4930775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49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6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5" name="Freeform 1032"/>
            <p:cNvSpPr/>
            <p:nvPr/>
          </p:nvSpPr>
          <p:spPr bwMode="auto">
            <a:xfrm>
              <a:off x="6005513" y="500062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6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6" name="Freeform 1033"/>
            <p:cNvSpPr/>
            <p:nvPr/>
          </p:nvSpPr>
          <p:spPr bwMode="auto">
            <a:xfrm>
              <a:off x="6075363" y="4930775"/>
              <a:ext cx="49213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49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7" name="Freeform 1034"/>
            <p:cNvSpPr/>
            <p:nvPr/>
          </p:nvSpPr>
          <p:spPr bwMode="auto">
            <a:xfrm>
              <a:off x="6075363" y="50006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6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8" name="Freeform 1035"/>
            <p:cNvSpPr/>
            <p:nvPr/>
          </p:nvSpPr>
          <p:spPr bwMode="auto">
            <a:xfrm>
              <a:off x="5727700" y="4298950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0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79" name="Freeform 1036"/>
            <p:cNvSpPr/>
            <p:nvPr/>
          </p:nvSpPr>
          <p:spPr bwMode="auto">
            <a:xfrm>
              <a:off x="5797550" y="4298950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19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0" name="Freeform 1037"/>
            <p:cNvSpPr/>
            <p:nvPr/>
          </p:nvSpPr>
          <p:spPr bwMode="auto">
            <a:xfrm>
              <a:off x="5867400" y="4298950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1" name="Freeform 1038"/>
            <p:cNvSpPr/>
            <p:nvPr/>
          </p:nvSpPr>
          <p:spPr bwMode="auto">
            <a:xfrm>
              <a:off x="5727700" y="436880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6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2" name="Freeform 1039"/>
            <p:cNvSpPr/>
            <p:nvPr/>
          </p:nvSpPr>
          <p:spPr bwMode="auto">
            <a:xfrm>
              <a:off x="5727700" y="4440238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11 w 155"/>
                <a:gd name="T29" fmla="*/ 114 h 154"/>
                <a:gd name="T30" fmla="*/ 4 w 155"/>
                <a:gd name="T31" fmla="*/ 101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7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2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3" y="92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3" name="Freeform 1040"/>
            <p:cNvSpPr/>
            <p:nvPr/>
          </p:nvSpPr>
          <p:spPr bwMode="auto">
            <a:xfrm>
              <a:off x="5797550" y="436880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2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4" name="Freeform 1041"/>
            <p:cNvSpPr/>
            <p:nvPr/>
          </p:nvSpPr>
          <p:spPr bwMode="auto">
            <a:xfrm>
              <a:off x="5797550" y="4440238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2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5" name="Freeform 1042"/>
            <p:cNvSpPr/>
            <p:nvPr/>
          </p:nvSpPr>
          <p:spPr bwMode="auto">
            <a:xfrm>
              <a:off x="5867400" y="436880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6" name="Freeform 1043"/>
            <p:cNvSpPr/>
            <p:nvPr/>
          </p:nvSpPr>
          <p:spPr bwMode="auto">
            <a:xfrm>
              <a:off x="5867400" y="4440238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7" name="Freeform 1044"/>
            <p:cNvSpPr/>
            <p:nvPr/>
          </p:nvSpPr>
          <p:spPr bwMode="auto">
            <a:xfrm>
              <a:off x="5727700" y="45069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8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1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8" name="Freeform 1045"/>
            <p:cNvSpPr/>
            <p:nvPr/>
          </p:nvSpPr>
          <p:spPr bwMode="auto">
            <a:xfrm>
              <a:off x="5727700" y="45767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2 h 155"/>
                <a:gd name="T22" fmla="*/ 42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8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2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8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89" name="Freeform 1046"/>
            <p:cNvSpPr/>
            <p:nvPr/>
          </p:nvSpPr>
          <p:spPr bwMode="auto">
            <a:xfrm>
              <a:off x="5661025" y="45767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0" name="Freeform 1047"/>
            <p:cNvSpPr/>
            <p:nvPr/>
          </p:nvSpPr>
          <p:spPr bwMode="auto">
            <a:xfrm>
              <a:off x="5797550" y="45069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1" name="Freeform 1048"/>
            <p:cNvSpPr/>
            <p:nvPr/>
          </p:nvSpPr>
          <p:spPr bwMode="auto">
            <a:xfrm>
              <a:off x="5797550" y="45767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2" name="Freeform 1049"/>
            <p:cNvSpPr/>
            <p:nvPr/>
          </p:nvSpPr>
          <p:spPr bwMode="auto">
            <a:xfrm>
              <a:off x="5867400" y="45069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3" name="Freeform 1050"/>
            <p:cNvSpPr/>
            <p:nvPr/>
          </p:nvSpPr>
          <p:spPr bwMode="auto">
            <a:xfrm>
              <a:off x="5867400" y="45767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2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2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4" name="Freeform 1051"/>
            <p:cNvSpPr/>
            <p:nvPr/>
          </p:nvSpPr>
          <p:spPr bwMode="auto">
            <a:xfrm>
              <a:off x="7751763" y="26162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5" name="Freeform 1052"/>
            <p:cNvSpPr/>
            <p:nvPr/>
          </p:nvSpPr>
          <p:spPr bwMode="auto">
            <a:xfrm>
              <a:off x="7751763" y="26876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6" name="Freeform 1053"/>
            <p:cNvSpPr/>
            <p:nvPr/>
          </p:nvSpPr>
          <p:spPr bwMode="auto">
            <a:xfrm>
              <a:off x="7821613" y="26162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7" name="Freeform 1054"/>
            <p:cNvSpPr/>
            <p:nvPr/>
          </p:nvSpPr>
          <p:spPr bwMode="auto">
            <a:xfrm>
              <a:off x="7821613" y="26876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8" name="Freeform 1055"/>
            <p:cNvSpPr/>
            <p:nvPr/>
          </p:nvSpPr>
          <p:spPr bwMode="auto">
            <a:xfrm>
              <a:off x="7891463" y="26162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4 w 153"/>
                <a:gd name="T41" fmla="*/ 35 h 155"/>
                <a:gd name="T42" fmla="*/ 23 w 153"/>
                <a:gd name="T43" fmla="*/ 23 h 155"/>
                <a:gd name="T44" fmla="*/ 34 w 153"/>
                <a:gd name="T45" fmla="*/ 13 h 155"/>
                <a:gd name="T46" fmla="*/ 47 w 153"/>
                <a:gd name="T47" fmla="*/ 6 h 155"/>
                <a:gd name="T48" fmla="*/ 62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9" name="Freeform 1056"/>
            <p:cNvSpPr/>
            <p:nvPr/>
          </p:nvSpPr>
          <p:spPr bwMode="auto">
            <a:xfrm>
              <a:off x="7891463" y="26876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4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0" name="Freeform 1057"/>
            <p:cNvSpPr/>
            <p:nvPr/>
          </p:nvSpPr>
          <p:spPr bwMode="auto">
            <a:xfrm>
              <a:off x="7962900" y="26162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1" name="Freeform 1058"/>
            <p:cNvSpPr/>
            <p:nvPr/>
          </p:nvSpPr>
          <p:spPr bwMode="auto">
            <a:xfrm>
              <a:off x="7962900" y="26876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2" name="Freeform 1059"/>
            <p:cNvSpPr/>
            <p:nvPr/>
          </p:nvSpPr>
          <p:spPr bwMode="auto">
            <a:xfrm>
              <a:off x="8031163" y="26162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4 h 155"/>
                <a:gd name="T24" fmla="*/ 29 w 155"/>
                <a:gd name="T25" fmla="*/ 136 h 155"/>
                <a:gd name="T26" fmla="*/ 19 w 155"/>
                <a:gd name="T27" fmla="*/ 126 h 155"/>
                <a:gd name="T28" fmla="*/ 11 w 155"/>
                <a:gd name="T29" fmla="*/ 113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7 h 155"/>
                <a:gd name="T60" fmla="*/ 138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3" name="Freeform 1060"/>
            <p:cNvSpPr/>
            <p:nvPr/>
          </p:nvSpPr>
          <p:spPr bwMode="auto">
            <a:xfrm>
              <a:off x="8031163" y="26876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8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4" name="Freeform 1061"/>
            <p:cNvSpPr/>
            <p:nvPr/>
          </p:nvSpPr>
          <p:spPr bwMode="auto">
            <a:xfrm>
              <a:off x="7751763" y="27574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5" name="Freeform 1062"/>
            <p:cNvSpPr/>
            <p:nvPr/>
          </p:nvSpPr>
          <p:spPr bwMode="auto">
            <a:xfrm>
              <a:off x="7751763" y="28289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6" name="Freeform 1063"/>
            <p:cNvSpPr/>
            <p:nvPr/>
          </p:nvSpPr>
          <p:spPr bwMode="auto">
            <a:xfrm>
              <a:off x="7821613" y="27574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7" name="Freeform 1064"/>
            <p:cNvSpPr/>
            <p:nvPr/>
          </p:nvSpPr>
          <p:spPr bwMode="auto">
            <a:xfrm>
              <a:off x="7821613" y="28289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8" name="Freeform 1065"/>
            <p:cNvSpPr/>
            <p:nvPr/>
          </p:nvSpPr>
          <p:spPr bwMode="auto">
            <a:xfrm>
              <a:off x="7891463" y="27574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4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09" name="Freeform 1066"/>
            <p:cNvSpPr/>
            <p:nvPr/>
          </p:nvSpPr>
          <p:spPr bwMode="auto">
            <a:xfrm>
              <a:off x="7891463" y="28289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4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0" name="Freeform 1067"/>
            <p:cNvSpPr/>
            <p:nvPr/>
          </p:nvSpPr>
          <p:spPr bwMode="auto">
            <a:xfrm>
              <a:off x="7962900" y="27574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1" name="Freeform 1068"/>
            <p:cNvSpPr/>
            <p:nvPr/>
          </p:nvSpPr>
          <p:spPr bwMode="auto">
            <a:xfrm>
              <a:off x="7962900" y="28289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2" name="Freeform 1069"/>
            <p:cNvSpPr/>
            <p:nvPr/>
          </p:nvSpPr>
          <p:spPr bwMode="auto">
            <a:xfrm>
              <a:off x="8031163" y="27574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3" name="Freeform 1070"/>
            <p:cNvSpPr/>
            <p:nvPr/>
          </p:nvSpPr>
          <p:spPr bwMode="auto">
            <a:xfrm>
              <a:off x="8031163" y="28289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9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4" name="Freeform 1071"/>
            <p:cNvSpPr/>
            <p:nvPr/>
          </p:nvSpPr>
          <p:spPr bwMode="auto">
            <a:xfrm>
              <a:off x="7751763" y="2895600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5" name="Freeform 1072"/>
            <p:cNvSpPr/>
            <p:nvPr/>
          </p:nvSpPr>
          <p:spPr bwMode="auto">
            <a:xfrm>
              <a:off x="7751763" y="29670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6" name="Freeform 1073"/>
            <p:cNvSpPr/>
            <p:nvPr/>
          </p:nvSpPr>
          <p:spPr bwMode="auto">
            <a:xfrm>
              <a:off x="7821613" y="28956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7" name="Freeform 1074"/>
            <p:cNvSpPr/>
            <p:nvPr/>
          </p:nvSpPr>
          <p:spPr bwMode="auto">
            <a:xfrm>
              <a:off x="7821613" y="29670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8" name="Freeform 1075"/>
            <p:cNvSpPr/>
            <p:nvPr/>
          </p:nvSpPr>
          <p:spPr bwMode="auto">
            <a:xfrm>
              <a:off x="7891463" y="2895600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4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19" name="Freeform 1076"/>
            <p:cNvSpPr/>
            <p:nvPr/>
          </p:nvSpPr>
          <p:spPr bwMode="auto">
            <a:xfrm>
              <a:off x="7891463" y="29670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4 w 153"/>
                <a:gd name="T41" fmla="*/ 34 h 154"/>
                <a:gd name="T42" fmla="*/ 23 w 153"/>
                <a:gd name="T43" fmla="*/ 23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0" name="Freeform 1077"/>
            <p:cNvSpPr/>
            <p:nvPr/>
          </p:nvSpPr>
          <p:spPr bwMode="auto">
            <a:xfrm>
              <a:off x="7962900" y="28956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1" name="Freeform 1078"/>
            <p:cNvSpPr/>
            <p:nvPr/>
          </p:nvSpPr>
          <p:spPr bwMode="auto">
            <a:xfrm>
              <a:off x="7962900" y="29670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70 w 154"/>
                <a:gd name="T19" fmla="*/ 153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2" name="Freeform 1079"/>
            <p:cNvSpPr/>
            <p:nvPr/>
          </p:nvSpPr>
          <p:spPr bwMode="auto">
            <a:xfrm>
              <a:off x="8031163" y="2895600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11 w 155"/>
                <a:gd name="T29" fmla="*/ 114 h 154"/>
                <a:gd name="T30" fmla="*/ 4 w 155"/>
                <a:gd name="T31" fmla="*/ 101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7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2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3" y="92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3" name="Freeform 1080"/>
            <p:cNvSpPr/>
            <p:nvPr/>
          </p:nvSpPr>
          <p:spPr bwMode="auto">
            <a:xfrm>
              <a:off x="8031163" y="29670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6 h 154"/>
                <a:gd name="T6" fmla="*/ 142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4" name="Freeform 1081"/>
            <p:cNvSpPr/>
            <p:nvPr/>
          </p:nvSpPr>
          <p:spPr bwMode="auto">
            <a:xfrm>
              <a:off x="7751763" y="303688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5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9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5" name="Freeform 1082"/>
            <p:cNvSpPr/>
            <p:nvPr/>
          </p:nvSpPr>
          <p:spPr bwMode="auto">
            <a:xfrm>
              <a:off x="7751763" y="3108325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6" name="Freeform 1083"/>
            <p:cNvSpPr/>
            <p:nvPr/>
          </p:nvSpPr>
          <p:spPr bwMode="auto">
            <a:xfrm>
              <a:off x="7821613" y="30368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7" name="Freeform 1084"/>
            <p:cNvSpPr/>
            <p:nvPr/>
          </p:nvSpPr>
          <p:spPr bwMode="auto">
            <a:xfrm>
              <a:off x="7821613" y="3108325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8" name="Freeform 1085"/>
            <p:cNvSpPr/>
            <p:nvPr/>
          </p:nvSpPr>
          <p:spPr bwMode="auto">
            <a:xfrm>
              <a:off x="7891463" y="303688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4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29" name="Freeform 1086"/>
            <p:cNvSpPr/>
            <p:nvPr/>
          </p:nvSpPr>
          <p:spPr bwMode="auto">
            <a:xfrm>
              <a:off x="7891463" y="3108325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4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0" name="Freeform 1087"/>
            <p:cNvSpPr/>
            <p:nvPr/>
          </p:nvSpPr>
          <p:spPr bwMode="auto">
            <a:xfrm>
              <a:off x="7962900" y="30368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5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1" name="Freeform 1088"/>
            <p:cNvSpPr/>
            <p:nvPr/>
          </p:nvSpPr>
          <p:spPr bwMode="auto">
            <a:xfrm>
              <a:off x="7962900" y="3108325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2" name="Freeform 1089"/>
            <p:cNvSpPr/>
            <p:nvPr/>
          </p:nvSpPr>
          <p:spPr bwMode="auto">
            <a:xfrm>
              <a:off x="8031163" y="303688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1 h 154"/>
                <a:gd name="T32" fmla="*/ 2 w 155"/>
                <a:gd name="T33" fmla="*/ 85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8 w 155"/>
                <a:gd name="T61" fmla="*/ 29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3" name="Freeform 1090"/>
            <p:cNvSpPr/>
            <p:nvPr/>
          </p:nvSpPr>
          <p:spPr bwMode="auto">
            <a:xfrm>
              <a:off x="8031163" y="3108325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100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4" name="Freeform 1091"/>
            <p:cNvSpPr/>
            <p:nvPr/>
          </p:nvSpPr>
          <p:spPr bwMode="auto">
            <a:xfrm>
              <a:off x="7404100" y="2616200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6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5" name="Freeform 1092"/>
            <p:cNvSpPr/>
            <p:nvPr/>
          </p:nvSpPr>
          <p:spPr bwMode="auto">
            <a:xfrm>
              <a:off x="7404100" y="26876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6" name="Freeform 1093"/>
            <p:cNvSpPr/>
            <p:nvPr/>
          </p:nvSpPr>
          <p:spPr bwMode="auto">
            <a:xfrm>
              <a:off x="7472363" y="26162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7" name="Freeform 1094"/>
            <p:cNvSpPr/>
            <p:nvPr/>
          </p:nvSpPr>
          <p:spPr bwMode="auto">
            <a:xfrm>
              <a:off x="7472363" y="26876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8" name="Freeform 1095"/>
            <p:cNvSpPr/>
            <p:nvPr/>
          </p:nvSpPr>
          <p:spPr bwMode="auto">
            <a:xfrm>
              <a:off x="7542213" y="26162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39" name="Freeform 1096"/>
            <p:cNvSpPr/>
            <p:nvPr/>
          </p:nvSpPr>
          <p:spPr bwMode="auto">
            <a:xfrm>
              <a:off x="7542213" y="26876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0" name="Freeform 1097"/>
            <p:cNvSpPr/>
            <p:nvPr/>
          </p:nvSpPr>
          <p:spPr bwMode="auto">
            <a:xfrm>
              <a:off x="7613650" y="2616200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1" name="Freeform 1098"/>
            <p:cNvSpPr/>
            <p:nvPr/>
          </p:nvSpPr>
          <p:spPr bwMode="auto">
            <a:xfrm>
              <a:off x="7613650" y="26876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2" name="Freeform 1099"/>
            <p:cNvSpPr/>
            <p:nvPr/>
          </p:nvSpPr>
          <p:spPr bwMode="auto">
            <a:xfrm>
              <a:off x="7683500" y="2616200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3" name="Freeform 1100"/>
            <p:cNvSpPr/>
            <p:nvPr/>
          </p:nvSpPr>
          <p:spPr bwMode="auto">
            <a:xfrm>
              <a:off x="7683500" y="26876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4" name="Freeform 1101"/>
            <p:cNvSpPr/>
            <p:nvPr/>
          </p:nvSpPr>
          <p:spPr bwMode="auto">
            <a:xfrm>
              <a:off x="7404100" y="27574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5" name="Freeform 1102"/>
            <p:cNvSpPr/>
            <p:nvPr/>
          </p:nvSpPr>
          <p:spPr bwMode="auto">
            <a:xfrm>
              <a:off x="7404100" y="282892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6" name="Freeform 1103"/>
            <p:cNvSpPr/>
            <p:nvPr/>
          </p:nvSpPr>
          <p:spPr bwMode="auto">
            <a:xfrm>
              <a:off x="7472363" y="27574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7" name="Freeform 1104"/>
            <p:cNvSpPr/>
            <p:nvPr/>
          </p:nvSpPr>
          <p:spPr bwMode="auto">
            <a:xfrm>
              <a:off x="7472363" y="28289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8" name="Freeform 1105"/>
            <p:cNvSpPr/>
            <p:nvPr/>
          </p:nvSpPr>
          <p:spPr bwMode="auto">
            <a:xfrm>
              <a:off x="7542213" y="27574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49" name="Freeform 1106"/>
            <p:cNvSpPr/>
            <p:nvPr/>
          </p:nvSpPr>
          <p:spPr bwMode="auto">
            <a:xfrm>
              <a:off x="7542213" y="28289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0" name="Freeform 1107"/>
            <p:cNvSpPr/>
            <p:nvPr/>
          </p:nvSpPr>
          <p:spPr bwMode="auto">
            <a:xfrm>
              <a:off x="7613650" y="27574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1" name="Freeform 1108"/>
            <p:cNvSpPr/>
            <p:nvPr/>
          </p:nvSpPr>
          <p:spPr bwMode="auto">
            <a:xfrm>
              <a:off x="7613650" y="282892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2" name="Freeform 1109"/>
            <p:cNvSpPr/>
            <p:nvPr/>
          </p:nvSpPr>
          <p:spPr bwMode="auto">
            <a:xfrm>
              <a:off x="7683500" y="27574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3" name="Freeform 1110"/>
            <p:cNvSpPr/>
            <p:nvPr/>
          </p:nvSpPr>
          <p:spPr bwMode="auto">
            <a:xfrm>
              <a:off x="7683500" y="282892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4" name="Freeform 1111"/>
            <p:cNvSpPr/>
            <p:nvPr/>
          </p:nvSpPr>
          <p:spPr bwMode="auto">
            <a:xfrm>
              <a:off x="7404100" y="2895600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5" name="Freeform 1112"/>
            <p:cNvSpPr/>
            <p:nvPr/>
          </p:nvSpPr>
          <p:spPr bwMode="auto">
            <a:xfrm>
              <a:off x="7404100" y="29670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6" name="Freeform 1113"/>
            <p:cNvSpPr/>
            <p:nvPr/>
          </p:nvSpPr>
          <p:spPr bwMode="auto">
            <a:xfrm>
              <a:off x="7472363" y="2895600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2 h 154"/>
                <a:gd name="T12" fmla="*/ 107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7" name="Freeform 1114"/>
            <p:cNvSpPr/>
            <p:nvPr/>
          </p:nvSpPr>
          <p:spPr bwMode="auto">
            <a:xfrm>
              <a:off x="7472363" y="29670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6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8" name="Freeform 1115"/>
            <p:cNvSpPr/>
            <p:nvPr/>
          </p:nvSpPr>
          <p:spPr bwMode="auto">
            <a:xfrm>
              <a:off x="7542213" y="28956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59" name="Freeform 1116"/>
            <p:cNvSpPr/>
            <p:nvPr/>
          </p:nvSpPr>
          <p:spPr bwMode="auto">
            <a:xfrm>
              <a:off x="7542213" y="29670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0" name="Freeform 1117"/>
            <p:cNvSpPr/>
            <p:nvPr/>
          </p:nvSpPr>
          <p:spPr bwMode="auto">
            <a:xfrm>
              <a:off x="7613650" y="2895600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1" name="Freeform 1118"/>
            <p:cNvSpPr/>
            <p:nvPr/>
          </p:nvSpPr>
          <p:spPr bwMode="auto">
            <a:xfrm>
              <a:off x="7613650" y="29670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6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2" name="Freeform 1119"/>
            <p:cNvSpPr/>
            <p:nvPr/>
          </p:nvSpPr>
          <p:spPr bwMode="auto">
            <a:xfrm>
              <a:off x="7683500" y="2895600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5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3" name="Freeform 1120"/>
            <p:cNvSpPr/>
            <p:nvPr/>
          </p:nvSpPr>
          <p:spPr bwMode="auto">
            <a:xfrm>
              <a:off x="7683500" y="29670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4" name="Freeform 1121"/>
            <p:cNvSpPr/>
            <p:nvPr/>
          </p:nvSpPr>
          <p:spPr bwMode="auto">
            <a:xfrm>
              <a:off x="7191375" y="26162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4 h 155"/>
                <a:gd name="T24" fmla="*/ 29 w 155"/>
                <a:gd name="T25" fmla="*/ 136 h 155"/>
                <a:gd name="T26" fmla="*/ 19 w 155"/>
                <a:gd name="T27" fmla="*/ 126 h 155"/>
                <a:gd name="T28" fmla="*/ 11 w 155"/>
                <a:gd name="T29" fmla="*/ 113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7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5" name="Freeform 1122"/>
            <p:cNvSpPr/>
            <p:nvPr/>
          </p:nvSpPr>
          <p:spPr bwMode="auto">
            <a:xfrm>
              <a:off x="7191375" y="26876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6" name="Freeform 1123"/>
            <p:cNvSpPr/>
            <p:nvPr/>
          </p:nvSpPr>
          <p:spPr bwMode="auto">
            <a:xfrm>
              <a:off x="7261225" y="26162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4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7" name="Freeform 1124"/>
            <p:cNvSpPr/>
            <p:nvPr/>
          </p:nvSpPr>
          <p:spPr bwMode="auto">
            <a:xfrm>
              <a:off x="7261225" y="26876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8" name="Freeform 1125"/>
            <p:cNvSpPr/>
            <p:nvPr/>
          </p:nvSpPr>
          <p:spPr bwMode="auto">
            <a:xfrm>
              <a:off x="7331075" y="26162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69" name="Freeform 1126"/>
            <p:cNvSpPr/>
            <p:nvPr/>
          </p:nvSpPr>
          <p:spPr bwMode="auto">
            <a:xfrm>
              <a:off x="7331075" y="26876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6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0" name="Freeform 1127"/>
            <p:cNvSpPr/>
            <p:nvPr/>
          </p:nvSpPr>
          <p:spPr bwMode="auto">
            <a:xfrm>
              <a:off x="7191375" y="27574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1" name="Freeform 1128"/>
            <p:cNvSpPr/>
            <p:nvPr/>
          </p:nvSpPr>
          <p:spPr bwMode="auto">
            <a:xfrm>
              <a:off x="7191375" y="28289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2" name="Freeform 1129"/>
            <p:cNvSpPr/>
            <p:nvPr/>
          </p:nvSpPr>
          <p:spPr bwMode="auto">
            <a:xfrm>
              <a:off x="7261225" y="27574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3" name="Freeform 1130"/>
            <p:cNvSpPr/>
            <p:nvPr/>
          </p:nvSpPr>
          <p:spPr bwMode="auto">
            <a:xfrm>
              <a:off x="7261225" y="28289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4" name="Freeform 1131"/>
            <p:cNvSpPr/>
            <p:nvPr/>
          </p:nvSpPr>
          <p:spPr bwMode="auto">
            <a:xfrm>
              <a:off x="7331075" y="27574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5" name="Freeform 1132"/>
            <p:cNvSpPr/>
            <p:nvPr/>
          </p:nvSpPr>
          <p:spPr bwMode="auto">
            <a:xfrm>
              <a:off x="7331075" y="28289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6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6" name="Freeform 1133"/>
            <p:cNvSpPr/>
            <p:nvPr/>
          </p:nvSpPr>
          <p:spPr bwMode="auto">
            <a:xfrm>
              <a:off x="7191375" y="2895600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11 w 155"/>
                <a:gd name="T29" fmla="*/ 114 h 154"/>
                <a:gd name="T30" fmla="*/ 4 w 155"/>
                <a:gd name="T31" fmla="*/ 101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2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3" y="92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7" name="Freeform 1134"/>
            <p:cNvSpPr/>
            <p:nvPr/>
          </p:nvSpPr>
          <p:spPr bwMode="auto">
            <a:xfrm>
              <a:off x="7191375" y="29670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6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8" name="Freeform 1135"/>
            <p:cNvSpPr/>
            <p:nvPr/>
          </p:nvSpPr>
          <p:spPr bwMode="auto">
            <a:xfrm>
              <a:off x="7261225" y="28956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79" name="Freeform 1136"/>
            <p:cNvSpPr/>
            <p:nvPr/>
          </p:nvSpPr>
          <p:spPr bwMode="auto">
            <a:xfrm>
              <a:off x="7261225" y="29670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2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0" name="Freeform 1137"/>
            <p:cNvSpPr/>
            <p:nvPr/>
          </p:nvSpPr>
          <p:spPr bwMode="auto">
            <a:xfrm>
              <a:off x="7331075" y="28956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1" name="Freeform 1138"/>
            <p:cNvSpPr/>
            <p:nvPr/>
          </p:nvSpPr>
          <p:spPr bwMode="auto">
            <a:xfrm>
              <a:off x="7331075" y="29670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6 w 154"/>
                <a:gd name="T17" fmla="*/ 154 h 154"/>
                <a:gd name="T18" fmla="*/ 70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2" name="Freeform 1139"/>
            <p:cNvSpPr/>
            <p:nvPr/>
          </p:nvSpPr>
          <p:spPr bwMode="auto">
            <a:xfrm>
              <a:off x="7261225" y="30353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2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3" name="Freeform 1140"/>
            <p:cNvSpPr/>
            <p:nvPr/>
          </p:nvSpPr>
          <p:spPr bwMode="auto">
            <a:xfrm>
              <a:off x="7261225" y="31067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2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9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2 h 155"/>
                <a:gd name="T54" fmla="*/ 101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2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9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9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4" name="Freeform 1141"/>
            <p:cNvSpPr/>
            <p:nvPr/>
          </p:nvSpPr>
          <p:spPr bwMode="auto">
            <a:xfrm>
              <a:off x="7331075" y="30353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5" name="Freeform 1142"/>
            <p:cNvSpPr/>
            <p:nvPr/>
          </p:nvSpPr>
          <p:spPr bwMode="auto">
            <a:xfrm>
              <a:off x="7331075" y="31067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6 w 154"/>
                <a:gd name="T17" fmla="*/ 155 h 155"/>
                <a:gd name="T18" fmla="*/ 70 w 154"/>
                <a:gd name="T19" fmla="*/ 155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9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5 w 154"/>
                <a:gd name="T53" fmla="*/ 2 h 155"/>
                <a:gd name="T54" fmla="*/ 99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99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99" y="5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7" y="49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6" name="Freeform 1143"/>
            <p:cNvSpPr/>
            <p:nvPr/>
          </p:nvSpPr>
          <p:spPr bwMode="auto">
            <a:xfrm>
              <a:off x="6842125" y="26162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7" name="Freeform 1144"/>
            <p:cNvSpPr/>
            <p:nvPr/>
          </p:nvSpPr>
          <p:spPr bwMode="auto">
            <a:xfrm>
              <a:off x="6842125" y="26876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8" name="Freeform 1145"/>
            <p:cNvSpPr/>
            <p:nvPr/>
          </p:nvSpPr>
          <p:spPr bwMode="auto">
            <a:xfrm>
              <a:off x="6911975" y="26162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3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7 h 155"/>
                <a:gd name="T60" fmla="*/ 136 w 155"/>
                <a:gd name="T61" fmla="*/ 28 h 155"/>
                <a:gd name="T62" fmla="*/ 144 w 155"/>
                <a:gd name="T63" fmla="*/ 40 h 155"/>
                <a:gd name="T64" fmla="*/ 150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89" name="Freeform 1146"/>
            <p:cNvSpPr/>
            <p:nvPr/>
          </p:nvSpPr>
          <p:spPr bwMode="auto">
            <a:xfrm>
              <a:off x="6911975" y="26876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4 h 155"/>
                <a:gd name="T42" fmla="*/ 23 w 155"/>
                <a:gd name="T43" fmla="*/ 23 h 155"/>
                <a:gd name="T44" fmla="*/ 33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1 h 155"/>
                <a:gd name="T64" fmla="*/ 150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0" name="Freeform 1147"/>
            <p:cNvSpPr/>
            <p:nvPr/>
          </p:nvSpPr>
          <p:spPr bwMode="auto">
            <a:xfrm>
              <a:off x="6981825" y="26162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1" name="Freeform 1148"/>
            <p:cNvSpPr/>
            <p:nvPr/>
          </p:nvSpPr>
          <p:spPr bwMode="auto">
            <a:xfrm>
              <a:off x="6981825" y="26876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2" name="Freeform 1149"/>
            <p:cNvSpPr/>
            <p:nvPr/>
          </p:nvSpPr>
          <p:spPr bwMode="auto">
            <a:xfrm>
              <a:off x="7051675" y="26162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6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3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7 h 155"/>
                <a:gd name="T60" fmla="*/ 136 w 155"/>
                <a:gd name="T61" fmla="*/ 28 h 155"/>
                <a:gd name="T62" fmla="*/ 144 w 155"/>
                <a:gd name="T63" fmla="*/ 40 h 155"/>
                <a:gd name="T64" fmla="*/ 151 w 155"/>
                <a:gd name="T65" fmla="*/ 54 h 155"/>
                <a:gd name="T66" fmla="*/ 153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3" name="Freeform 1150"/>
            <p:cNvSpPr/>
            <p:nvPr/>
          </p:nvSpPr>
          <p:spPr bwMode="auto">
            <a:xfrm>
              <a:off x="7051675" y="26876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6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5 h 155"/>
                <a:gd name="T30" fmla="*/ 3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1 h 155"/>
                <a:gd name="T64" fmla="*/ 151 w 155"/>
                <a:gd name="T65" fmla="*/ 55 h 155"/>
                <a:gd name="T66" fmla="*/ 153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4" name="Freeform 1151"/>
            <p:cNvSpPr/>
            <p:nvPr/>
          </p:nvSpPr>
          <p:spPr bwMode="auto">
            <a:xfrm>
              <a:off x="7121525" y="26162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3 w 154"/>
                <a:gd name="T21" fmla="*/ 151 h 155"/>
                <a:gd name="T22" fmla="*/ 40 w 154"/>
                <a:gd name="T23" fmla="*/ 144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1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5" name="Freeform 1152"/>
            <p:cNvSpPr/>
            <p:nvPr/>
          </p:nvSpPr>
          <p:spPr bwMode="auto">
            <a:xfrm>
              <a:off x="7121525" y="26876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3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6" name="Freeform 1153"/>
            <p:cNvSpPr/>
            <p:nvPr/>
          </p:nvSpPr>
          <p:spPr bwMode="auto">
            <a:xfrm>
              <a:off x="6842125" y="27574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7" name="Freeform 1154"/>
            <p:cNvSpPr/>
            <p:nvPr/>
          </p:nvSpPr>
          <p:spPr bwMode="auto">
            <a:xfrm>
              <a:off x="6842125" y="28289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8" name="Freeform 1155"/>
            <p:cNvSpPr/>
            <p:nvPr/>
          </p:nvSpPr>
          <p:spPr bwMode="auto">
            <a:xfrm>
              <a:off x="6777038" y="2616200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99" name="Freeform 1156"/>
            <p:cNvSpPr/>
            <p:nvPr/>
          </p:nvSpPr>
          <p:spPr bwMode="auto">
            <a:xfrm>
              <a:off x="6777038" y="26876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0" name="Freeform 1157"/>
            <p:cNvSpPr/>
            <p:nvPr/>
          </p:nvSpPr>
          <p:spPr bwMode="auto">
            <a:xfrm>
              <a:off x="6705600" y="26876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1" name="Freeform 1158"/>
            <p:cNvSpPr/>
            <p:nvPr/>
          </p:nvSpPr>
          <p:spPr bwMode="auto">
            <a:xfrm>
              <a:off x="6707188" y="2960688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2" name="Freeform 1159"/>
            <p:cNvSpPr/>
            <p:nvPr/>
          </p:nvSpPr>
          <p:spPr bwMode="auto">
            <a:xfrm>
              <a:off x="6707188" y="289401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3" name="Freeform 1160"/>
            <p:cNvSpPr/>
            <p:nvPr/>
          </p:nvSpPr>
          <p:spPr bwMode="auto">
            <a:xfrm>
              <a:off x="6707188" y="3101975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19 h 153"/>
                <a:gd name="T8" fmla="*/ 131 w 153"/>
                <a:gd name="T9" fmla="*/ 130 h 153"/>
                <a:gd name="T10" fmla="*/ 120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4" name="Freeform 1161"/>
            <p:cNvSpPr/>
            <p:nvPr/>
          </p:nvSpPr>
          <p:spPr bwMode="auto">
            <a:xfrm>
              <a:off x="6707188" y="3036888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19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5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5" name="Freeform 1162"/>
            <p:cNvSpPr/>
            <p:nvPr/>
          </p:nvSpPr>
          <p:spPr bwMode="auto">
            <a:xfrm>
              <a:off x="6707188" y="3243263"/>
              <a:ext cx="47625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6" name="Freeform 1163"/>
            <p:cNvSpPr/>
            <p:nvPr/>
          </p:nvSpPr>
          <p:spPr bwMode="auto">
            <a:xfrm>
              <a:off x="6707188" y="331470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7" name="Freeform 1164"/>
            <p:cNvSpPr/>
            <p:nvPr/>
          </p:nvSpPr>
          <p:spPr bwMode="auto">
            <a:xfrm>
              <a:off x="6707188" y="3176588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3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8" name="Freeform 1165"/>
            <p:cNvSpPr/>
            <p:nvPr/>
          </p:nvSpPr>
          <p:spPr bwMode="auto">
            <a:xfrm>
              <a:off x="6707188" y="282257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0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09" name="Freeform 1166"/>
            <p:cNvSpPr/>
            <p:nvPr/>
          </p:nvSpPr>
          <p:spPr bwMode="auto">
            <a:xfrm>
              <a:off x="6707188" y="2755900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0" name="Freeform 1167"/>
            <p:cNvSpPr/>
            <p:nvPr/>
          </p:nvSpPr>
          <p:spPr bwMode="auto">
            <a:xfrm>
              <a:off x="6705600" y="33829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1" name="Freeform 1168"/>
            <p:cNvSpPr/>
            <p:nvPr/>
          </p:nvSpPr>
          <p:spPr bwMode="auto">
            <a:xfrm>
              <a:off x="6634163" y="331470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1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5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6" y="7"/>
                  </a:lnTo>
                  <a:lnTo>
                    <a:pt x="53" y="5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2" name="Freeform 1169"/>
            <p:cNvSpPr/>
            <p:nvPr/>
          </p:nvSpPr>
          <p:spPr bwMode="auto">
            <a:xfrm>
              <a:off x="6632575" y="33829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3" name="Freeform 1170"/>
            <p:cNvSpPr/>
            <p:nvPr/>
          </p:nvSpPr>
          <p:spPr bwMode="auto">
            <a:xfrm>
              <a:off x="6777038" y="27574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4" name="Freeform 1171"/>
            <p:cNvSpPr/>
            <p:nvPr/>
          </p:nvSpPr>
          <p:spPr bwMode="auto">
            <a:xfrm>
              <a:off x="6777038" y="2828925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5" name="Freeform 1172"/>
            <p:cNvSpPr/>
            <p:nvPr/>
          </p:nvSpPr>
          <p:spPr bwMode="auto">
            <a:xfrm>
              <a:off x="6911975" y="27574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3 h 154"/>
                <a:gd name="T42" fmla="*/ 23 w 155"/>
                <a:gd name="T43" fmla="*/ 22 h 154"/>
                <a:gd name="T44" fmla="*/ 33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6" name="Freeform 1173"/>
            <p:cNvSpPr/>
            <p:nvPr/>
          </p:nvSpPr>
          <p:spPr bwMode="auto">
            <a:xfrm>
              <a:off x="6911975" y="28289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3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4 w 155"/>
                <a:gd name="T63" fmla="*/ 40 h 155"/>
                <a:gd name="T64" fmla="*/ 150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7" name="Freeform 1174"/>
            <p:cNvSpPr/>
            <p:nvPr/>
          </p:nvSpPr>
          <p:spPr bwMode="auto">
            <a:xfrm>
              <a:off x="6981825" y="27574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8" name="Freeform 1175"/>
            <p:cNvSpPr/>
            <p:nvPr/>
          </p:nvSpPr>
          <p:spPr bwMode="auto">
            <a:xfrm>
              <a:off x="6981825" y="28289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19" name="Freeform 1176"/>
            <p:cNvSpPr/>
            <p:nvPr/>
          </p:nvSpPr>
          <p:spPr bwMode="auto">
            <a:xfrm>
              <a:off x="7051675" y="27574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6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3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0" name="Freeform 1177"/>
            <p:cNvSpPr/>
            <p:nvPr/>
          </p:nvSpPr>
          <p:spPr bwMode="auto">
            <a:xfrm>
              <a:off x="7051675" y="28289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6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4 h 155"/>
                <a:gd name="T30" fmla="*/ 3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4 h 155"/>
                <a:gd name="T66" fmla="*/ 153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1" name="Freeform 1178"/>
            <p:cNvSpPr/>
            <p:nvPr/>
          </p:nvSpPr>
          <p:spPr bwMode="auto">
            <a:xfrm>
              <a:off x="7121525" y="27574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2" name="Freeform 1179"/>
            <p:cNvSpPr/>
            <p:nvPr/>
          </p:nvSpPr>
          <p:spPr bwMode="auto">
            <a:xfrm>
              <a:off x="7121525" y="28289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3" name="Freeform 1180"/>
            <p:cNvSpPr/>
            <p:nvPr/>
          </p:nvSpPr>
          <p:spPr bwMode="auto">
            <a:xfrm>
              <a:off x="6842125" y="2895600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5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4" name="Freeform 1181"/>
            <p:cNvSpPr/>
            <p:nvPr/>
          </p:nvSpPr>
          <p:spPr bwMode="auto">
            <a:xfrm>
              <a:off x="6911975" y="2895600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3 w 155"/>
                <a:gd name="T41" fmla="*/ 34 h 154"/>
                <a:gd name="T42" fmla="*/ 23 w 155"/>
                <a:gd name="T43" fmla="*/ 23 h 154"/>
                <a:gd name="T44" fmla="*/ 33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3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1 h 154"/>
                <a:gd name="T64" fmla="*/ 150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5" name="Freeform 1182"/>
            <p:cNvSpPr/>
            <p:nvPr/>
          </p:nvSpPr>
          <p:spPr bwMode="auto">
            <a:xfrm>
              <a:off x="6911975" y="29670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3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7 h 154"/>
                <a:gd name="T62" fmla="*/ 144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6" name="Freeform 1183"/>
            <p:cNvSpPr/>
            <p:nvPr/>
          </p:nvSpPr>
          <p:spPr bwMode="auto">
            <a:xfrm>
              <a:off x="6981825" y="2895600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7" name="Freeform 1184"/>
            <p:cNvSpPr/>
            <p:nvPr/>
          </p:nvSpPr>
          <p:spPr bwMode="auto">
            <a:xfrm>
              <a:off x="6981825" y="29670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6 h 154"/>
                <a:gd name="T6" fmla="*/ 141 w 153"/>
                <a:gd name="T7" fmla="*/ 120 h 154"/>
                <a:gd name="T8" fmla="*/ 131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8" name="Freeform 1185"/>
            <p:cNvSpPr/>
            <p:nvPr/>
          </p:nvSpPr>
          <p:spPr bwMode="auto">
            <a:xfrm>
              <a:off x="7051675" y="2895600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6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3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3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3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1 h 154"/>
                <a:gd name="T64" fmla="*/ 151 w 155"/>
                <a:gd name="T65" fmla="*/ 55 h 154"/>
                <a:gd name="T66" fmla="*/ 153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29" name="Freeform 1186"/>
            <p:cNvSpPr/>
            <p:nvPr/>
          </p:nvSpPr>
          <p:spPr bwMode="auto">
            <a:xfrm>
              <a:off x="7051675" y="29670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6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3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7 h 154"/>
                <a:gd name="T62" fmla="*/ 144 w 155"/>
                <a:gd name="T63" fmla="*/ 40 h 154"/>
                <a:gd name="T64" fmla="*/ 151 w 155"/>
                <a:gd name="T65" fmla="*/ 54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0" name="Freeform 1187"/>
            <p:cNvSpPr/>
            <p:nvPr/>
          </p:nvSpPr>
          <p:spPr bwMode="auto">
            <a:xfrm>
              <a:off x="7121525" y="28956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8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1" name="Freeform 1188"/>
            <p:cNvSpPr/>
            <p:nvPr/>
          </p:nvSpPr>
          <p:spPr bwMode="auto">
            <a:xfrm>
              <a:off x="7121525" y="29670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6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2" name="Freeform 1189"/>
            <p:cNvSpPr/>
            <p:nvPr/>
          </p:nvSpPr>
          <p:spPr bwMode="auto">
            <a:xfrm>
              <a:off x="7191375" y="30368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3" name="Freeform 1190"/>
            <p:cNvSpPr/>
            <p:nvPr/>
          </p:nvSpPr>
          <p:spPr bwMode="auto">
            <a:xfrm>
              <a:off x="6911975" y="30368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3 w 155"/>
                <a:gd name="T41" fmla="*/ 34 h 153"/>
                <a:gd name="T42" fmla="*/ 23 w 155"/>
                <a:gd name="T43" fmla="*/ 23 h 153"/>
                <a:gd name="T44" fmla="*/ 33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0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4" name="Freeform 1191"/>
            <p:cNvSpPr/>
            <p:nvPr/>
          </p:nvSpPr>
          <p:spPr bwMode="auto">
            <a:xfrm>
              <a:off x="6981825" y="30368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5" name="Freeform 1192"/>
            <p:cNvSpPr/>
            <p:nvPr/>
          </p:nvSpPr>
          <p:spPr bwMode="auto">
            <a:xfrm>
              <a:off x="7051675" y="30368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6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3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3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3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6" name="Freeform 1193"/>
            <p:cNvSpPr/>
            <p:nvPr/>
          </p:nvSpPr>
          <p:spPr bwMode="auto">
            <a:xfrm>
              <a:off x="7121525" y="30368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5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7" name="Freeform 1194"/>
            <p:cNvSpPr/>
            <p:nvPr/>
          </p:nvSpPr>
          <p:spPr bwMode="auto">
            <a:xfrm>
              <a:off x="7191375" y="310991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9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8" name="Freeform 1195"/>
            <p:cNvSpPr/>
            <p:nvPr/>
          </p:nvSpPr>
          <p:spPr bwMode="auto">
            <a:xfrm>
              <a:off x="7121525" y="310991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39" name="Freeform 1196"/>
            <p:cNvSpPr/>
            <p:nvPr/>
          </p:nvSpPr>
          <p:spPr bwMode="auto">
            <a:xfrm>
              <a:off x="7404100" y="303688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0" name="Freeform 1197"/>
            <p:cNvSpPr/>
            <p:nvPr/>
          </p:nvSpPr>
          <p:spPr bwMode="auto">
            <a:xfrm>
              <a:off x="7472363" y="303688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1" name="Freeform 1198"/>
            <p:cNvSpPr/>
            <p:nvPr/>
          </p:nvSpPr>
          <p:spPr bwMode="auto">
            <a:xfrm>
              <a:off x="7542213" y="30368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5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2" name="Freeform 1199"/>
            <p:cNvSpPr/>
            <p:nvPr/>
          </p:nvSpPr>
          <p:spPr bwMode="auto">
            <a:xfrm>
              <a:off x="7542213" y="3108325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3" name="Freeform 1200"/>
            <p:cNvSpPr/>
            <p:nvPr/>
          </p:nvSpPr>
          <p:spPr bwMode="auto">
            <a:xfrm>
              <a:off x="7613650" y="303688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4" name="Freeform 1201"/>
            <p:cNvSpPr/>
            <p:nvPr/>
          </p:nvSpPr>
          <p:spPr bwMode="auto">
            <a:xfrm>
              <a:off x="7613650" y="3108325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5" name="Freeform 1202"/>
            <p:cNvSpPr/>
            <p:nvPr/>
          </p:nvSpPr>
          <p:spPr bwMode="auto">
            <a:xfrm>
              <a:off x="7407275" y="3108325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6" name="Freeform 1203"/>
            <p:cNvSpPr/>
            <p:nvPr/>
          </p:nvSpPr>
          <p:spPr bwMode="auto">
            <a:xfrm>
              <a:off x="7477125" y="3108325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7" name="Freeform 1204"/>
            <p:cNvSpPr/>
            <p:nvPr/>
          </p:nvSpPr>
          <p:spPr bwMode="auto">
            <a:xfrm>
              <a:off x="7683500" y="303688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8" name="Freeform 1205"/>
            <p:cNvSpPr/>
            <p:nvPr/>
          </p:nvSpPr>
          <p:spPr bwMode="auto">
            <a:xfrm>
              <a:off x="7683500" y="3108325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49" name="Freeform 1206"/>
            <p:cNvSpPr/>
            <p:nvPr/>
          </p:nvSpPr>
          <p:spPr bwMode="auto">
            <a:xfrm>
              <a:off x="7751763" y="3178175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0" name="Freeform 1207"/>
            <p:cNvSpPr/>
            <p:nvPr/>
          </p:nvSpPr>
          <p:spPr bwMode="auto">
            <a:xfrm>
              <a:off x="7751763" y="3248025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1" name="Freeform 1208"/>
            <p:cNvSpPr/>
            <p:nvPr/>
          </p:nvSpPr>
          <p:spPr bwMode="auto">
            <a:xfrm>
              <a:off x="7821613" y="3178175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2" name="Freeform 1209"/>
            <p:cNvSpPr/>
            <p:nvPr/>
          </p:nvSpPr>
          <p:spPr bwMode="auto">
            <a:xfrm>
              <a:off x="7821613" y="324802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3" name="Freeform 1211"/>
            <p:cNvSpPr/>
            <p:nvPr/>
          </p:nvSpPr>
          <p:spPr bwMode="auto">
            <a:xfrm>
              <a:off x="7891463" y="3178176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4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4" name="Freeform 1212"/>
            <p:cNvSpPr/>
            <p:nvPr/>
          </p:nvSpPr>
          <p:spPr bwMode="auto">
            <a:xfrm>
              <a:off x="7891463" y="32480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4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5" name="Freeform 1213"/>
            <p:cNvSpPr/>
            <p:nvPr/>
          </p:nvSpPr>
          <p:spPr bwMode="auto">
            <a:xfrm>
              <a:off x="7962901" y="3178176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6" name="Freeform 1214"/>
            <p:cNvSpPr/>
            <p:nvPr/>
          </p:nvSpPr>
          <p:spPr bwMode="auto">
            <a:xfrm>
              <a:off x="7962901" y="32480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7" name="Freeform 1215"/>
            <p:cNvSpPr/>
            <p:nvPr/>
          </p:nvSpPr>
          <p:spPr bwMode="auto">
            <a:xfrm>
              <a:off x="8031163" y="3178176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8" name="Freeform 1216"/>
            <p:cNvSpPr/>
            <p:nvPr/>
          </p:nvSpPr>
          <p:spPr bwMode="auto">
            <a:xfrm>
              <a:off x="8031163" y="32480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59" name="Freeform 1217"/>
            <p:cNvSpPr/>
            <p:nvPr/>
          </p:nvSpPr>
          <p:spPr bwMode="auto">
            <a:xfrm>
              <a:off x="7751763" y="33194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0" name="Freeform 1218"/>
            <p:cNvSpPr/>
            <p:nvPr/>
          </p:nvSpPr>
          <p:spPr bwMode="auto">
            <a:xfrm>
              <a:off x="7751763" y="33893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9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1" name="Freeform 1219"/>
            <p:cNvSpPr/>
            <p:nvPr/>
          </p:nvSpPr>
          <p:spPr bwMode="auto">
            <a:xfrm>
              <a:off x="7821613" y="33194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2" name="Freeform 1220"/>
            <p:cNvSpPr/>
            <p:nvPr/>
          </p:nvSpPr>
          <p:spPr bwMode="auto">
            <a:xfrm>
              <a:off x="7821613" y="33893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3" name="Freeform 1221"/>
            <p:cNvSpPr/>
            <p:nvPr/>
          </p:nvSpPr>
          <p:spPr bwMode="auto">
            <a:xfrm>
              <a:off x="7891463" y="33194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19 h 153"/>
                <a:gd name="T8" fmla="*/ 131 w 153"/>
                <a:gd name="T9" fmla="*/ 130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4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4" name="Freeform 1222"/>
            <p:cNvSpPr/>
            <p:nvPr/>
          </p:nvSpPr>
          <p:spPr bwMode="auto">
            <a:xfrm>
              <a:off x="7891463" y="33893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4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5" name="Freeform 1223"/>
            <p:cNvSpPr/>
            <p:nvPr/>
          </p:nvSpPr>
          <p:spPr bwMode="auto">
            <a:xfrm>
              <a:off x="7962901" y="33194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2 h 153"/>
                <a:gd name="T4" fmla="*/ 149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6" name="Freeform 1224"/>
            <p:cNvSpPr/>
            <p:nvPr/>
          </p:nvSpPr>
          <p:spPr bwMode="auto">
            <a:xfrm>
              <a:off x="7542213" y="32480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7" name="Freeform 1225"/>
            <p:cNvSpPr/>
            <p:nvPr/>
          </p:nvSpPr>
          <p:spPr bwMode="auto">
            <a:xfrm>
              <a:off x="7613651" y="3178176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8" name="Freeform 1226"/>
            <p:cNvSpPr/>
            <p:nvPr/>
          </p:nvSpPr>
          <p:spPr bwMode="auto">
            <a:xfrm>
              <a:off x="7613651" y="324802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69" name="Freeform 1227"/>
            <p:cNvSpPr/>
            <p:nvPr/>
          </p:nvSpPr>
          <p:spPr bwMode="auto">
            <a:xfrm>
              <a:off x="7683501" y="3178176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0" name="Freeform 1228"/>
            <p:cNvSpPr/>
            <p:nvPr/>
          </p:nvSpPr>
          <p:spPr bwMode="auto">
            <a:xfrm>
              <a:off x="7480301" y="3178176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1" name="Freeform 1229"/>
            <p:cNvSpPr/>
            <p:nvPr/>
          </p:nvSpPr>
          <p:spPr bwMode="auto">
            <a:xfrm>
              <a:off x="7550151" y="3178176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2" name="Freeform 1230"/>
            <p:cNvSpPr/>
            <p:nvPr/>
          </p:nvSpPr>
          <p:spPr bwMode="auto">
            <a:xfrm>
              <a:off x="7683501" y="32480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3" name="Freeform 1231"/>
            <p:cNvSpPr/>
            <p:nvPr/>
          </p:nvSpPr>
          <p:spPr bwMode="auto">
            <a:xfrm>
              <a:off x="7613651" y="3319463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6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4" name="Freeform 1232"/>
            <p:cNvSpPr/>
            <p:nvPr/>
          </p:nvSpPr>
          <p:spPr bwMode="auto">
            <a:xfrm>
              <a:off x="7613651" y="33893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5" name="Freeform 1233"/>
            <p:cNvSpPr/>
            <p:nvPr/>
          </p:nvSpPr>
          <p:spPr bwMode="auto">
            <a:xfrm>
              <a:off x="7683501" y="33194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8 w 153"/>
                <a:gd name="T5" fmla="*/ 106 h 153"/>
                <a:gd name="T6" fmla="*/ 140 w 153"/>
                <a:gd name="T7" fmla="*/ 119 h 153"/>
                <a:gd name="T8" fmla="*/ 130 w 153"/>
                <a:gd name="T9" fmla="*/ 130 h 153"/>
                <a:gd name="T10" fmla="*/ 119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0" y="130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6" name="Freeform 1234"/>
            <p:cNvSpPr/>
            <p:nvPr/>
          </p:nvSpPr>
          <p:spPr bwMode="auto">
            <a:xfrm>
              <a:off x="7683501" y="33893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8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7" name="Freeform 1235"/>
            <p:cNvSpPr/>
            <p:nvPr/>
          </p:nvSpPr>
          <p:spPr bwMode="auto">
            <a:xfrm>
              <a:off x="8102601" y="261620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3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8" name="Freeform 1236"/>
            <p:cNvSpPr/>
            <p:nvPr/>
          </p:nvSpPr>
          <p:spPr bwMode="auto">
            <a:xfrm>
              <a:off x="8102601" y="26876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79" name="Freeform 1237"/>
            <p:cNvSpPr/>
            <p:nvPr/>
          </p:nvSpPr>
          <p:spPr bwMode="auto">
            <a:xfrm>
              <a:off x="8170863" y="261620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0" name="Freeform 1238"/>
            <p:cNvSpPr/>
            <p:nvPr/>
          </p:nvSpPr>
          <p:spPr bwMode="auto">
            <a:xfrm>
              <a:off x="8170863" y="26876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1" name="Freeform 1239"/>
            <p:cNvSpPr/>
            <p:nvPr/>
          </p:nvSpPr>
          <p:spPr bwMode="auto">
            <a:xfrm>
              <a:off x="8242301" y="2616201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2" name="Freeform 1240"/>
            <p:cNvSpPr/>
            <p:nvPr/>
          </p:nvSpPr>
          <p:spPr bwMode="auto">
            <a:xfrm>
              <a:off x="8242301" y="26876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3" name="Freeform 1241"/>
            <p:cNvSpPr/>
            <p:nvPr/>
          </p:nvSpPr>
          <p:spPr bwMode="auto">
            <a:xfrm>
              <a:off x="8312151" y="261620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4" name="Freeform 1242"/>
            <p:cNvSpPr/>
            <p:nvPr/>
          </p:nvSpPr>
          <p:spPr bwMode="auto">
            <a:xfrm>
              <a:off x="8312151" y="26876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5" name="Freeform 1243"/>
            <p:cNvSpPr/>
            <p:nvPr/>
          </p:nvSpPr>
          <p:spPr bwMode="auto">
            <a:xfrm>
              <a:off x="8102601" y="27574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6" name="Freeform 1244"/>
            <p:cNvSpPr/>
            <p:nvPr/>
          </p:nvSpPr>
          <p:spPr bwMode="auto">
            <a:xfrm>
              <a:off x="8102601" y="2828926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7" name="Freeform 1245"/>
            <p:cNvSpPr/>
            <p:nvPr/>
          </p:nvSpPr>
          <p:spPr bwMode="auto">
            <a:xfrm>
              <a:off x="8170863" y="27574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8" name="Freeform 1246"/>
            <p:cNvSpPr/>
            <p:nvPr/>
          </p:nvSpPr>
          <p:spPr bwMode="auto">
            <a:xfrm>
              <a:off x="8170863" y="282892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89" name="Freeform 1247"/>
            <p:cNvSpPr/>
            <p:nvPr/>
          </p:nvSpPr>
          <p:spPr bwMode="auto">
            <a:xfrm>
              <a:off x="8242301" y="27574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0" name="Freeform 1248"/>
            <p:cNvSpPr/>
            <p:nvPr/>
          </p:nvSpPr>
          <p:spPr bwMode="auto">
            <a:xfrm>
              <a:off x="8242301" y="282892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1" name="Freeform 1249"/>
            <p:cNvSpPr/>
            <p:nvPr/>
          </p:nvSpPr>
          <p:spPr bwMode="auto">
            <a:xfrm>
              <a:off x="8312151" y="27574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2" name="Freeform 1250"/>
            <p:cNvSpPr/>
            <p:nvPr/>
          </p:nvSpPr>
          <p:spPr bwMode="auto">
            <a:xfrm>
              <a:off x="8312151" y="282892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1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3" name="Freeform 1251"/>
            <p:cNvSpPr/>
            <p:nvPr/>
          </p:nvSpPr>
          <p:spPr bwMode="auto">
            <a:xfrm>
              <a:off x="8102601" y="2895601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4" name="Freeform 1252"/>
            <p:cNvSpPr/>
            <p:nvPr/>
          </p:nvSpPr>
          <p:spPr bwMode="auto">
            <a:xfrm>
              <a:off x="8102601" y="29670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5" name="Freeform 1253"/>
            <p:cNvSpPr/>
            <p:nvPr/>
          </p:nvSpPr>
          <p:spPr bwMode="auto">
            <a:xfrm>
              <a:off x="8170863" y="2895601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3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6" name="Freeform 1254"/>
            <p:cNvSpPr/>
            <p:nvPr/>
          </p:nvSpPr>
          <p:spPr bwMode="auto">
            <a:xfrm>
              <a:off x="8170863" y="29670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7" name="Freeform 1255"/>
            <p:cNvSpPr/>
            <p:nvPr/>
          </p:nvSpPr>
          <p:spPr bwMode="auto">
            <a:xfrm>
              <a:off x="8242301" y="2895601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8" name="Freeform 1256"/>
            <p:cNvSpPr/>
            <p:nvPr/>
          </p:nvSpPr>
          <p:spPr bwMode="auto">
            <a:xfrm>
              <a:off x="8242301" y="29670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99" name="Freeform 1257"/>
            <p:cNvSpPr/>
            <p:nvPr/>
          </p:nvSpPr>
          <p:spPr bwMode="auto">
            <a:xfrm>
              <a:off x="8312151" y="2895601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0" name="Freeform 1258"/>
            <p:cNvSpPr/>
            <p:nvPr/>
          </p:nvSpPr>
          <p:spPr bwMode="auto">
            <a:xfrm>
              <a:off x="8312151" y="29670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1" name="Freeform 1259"/>
            <p:cNvSpPr/>
            <p:nvPr/>
          </p:nvSpPr>
          <p:spPr bwMode="auto">
            <a:xfrm>
              <a:off x="8102601" y="3036888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2" name="Freeform 1260"/>
            <p:cNvSpPr/>
            <p:nvPr/>
          </p:nvSpPr>
          <p:spPr bwMode="auto">
            <a:xfrm>
              <a:off x="8102601" y="3108326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3" name="Freeform 1261"/>
            <p:cNvSpPr/>
            <p:nvPr/>
          </p:nvSpPr>
          <p:spPr bwMode="auto">
            <a:xfrm>
              <a:off x="8170863" y="303688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3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4" name="Freeform 1262"/>
            <p:cNvSpPr/>
            <p:nvPr/>
          </p:nvSpPr>
          <p:spPr bwMode="auto">
            <a:xfrm>
              <a:off x="8170863" y="3108326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2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5" name="Freeform 1263"/>
            <p:cNvSpPr/>
            <p:nvPr/>
          </p:nvSpPr>
          <p:spPr bwMode="auto">
            <a:xfrm>
              <a:off x="8242301" y="303688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6" name="Freeform 1264"/>
            <p:cNvSpPr/>
            <p:nvPr/>
          </p:nvSpPr>
          <p:spPr bwMode="auto">
            <a:xfrm>
              <a:off x="8242301" y="3108326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7" name="Freeform 1265"/>
            <p:cNvSpPr/>
            <p:nvPr/>
          </p:nvSpPr>
          <p:spPr bwMode="auto">
            <a:xfrm>
              <a:off x="8312151" y="303688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8" name="Freeform 1266"/>
            <p:cNvSpPr/>
            <p:nvPr/>
          </p:nvSpPr>
          <p:spPr bwMode="auto">
            <a:xfrm>
              <a:off x="8312151" y="3108326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09" name="Freeform 1267"/>
            <p:cNvSpPr/>
            <p:nvPr/>
          </p:nvSpPr>
          <p:spPr bwMode="auto">
            <a:xfrm>
              <a:off x="8102601" y="3178176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0" name="Freeform 1268"/>
            <p:cNvSpPr/>
            <p:nvPr/>
          </p:nvSpPr>
          <p:spPr bwMode="auto">
            <a:xfrm>
              <a:off x="8170863" y="3178176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2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1" name="Freeform 1269"/>
            <p:cNvSpPr/>
            <p:nvPr/>
          </p:nvSpPr>
          <p:spPr bwMode="auto">
            <a:xfrm>
              <a:off x="8242301" y="3178176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2" name="Freeform 1270"/>
            <p:cNvSpPr/>
            <p:nvPr/>
          </p:nvSpPr>
          <p:spPr bwMode="auto">
            <a:xfrm>
              <a:off x="8242301" y="324802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3" name="Freeform 1271"/>
            <p:cNvSpPr/>
            <p:nvPr/>
          </p:nvSpPr>
          <p:spPr bwMode="auto">
            <a:xfrm>
              <a:off x="8312151" y="3178176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4" name="Freeform 1272"/>
            <p:cNvSpPr/>
            <p:nvPr/>
          </p:nvSpPr>
          <p:spPr bwMode="auto">
            <a:xfrm>
              <a:off x="8312151" y="32480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5" name="Freeform 1273"/>
            <p:cNvSpPr/>
            <p:nvPr/>
          </p:nvSpPr>
          <p:spPr bwMode="auto">
            <a:xfrm>
              <a:off x="8312151" y="33194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19 h 153"/>
                <a:gd name="T8" fmla="*/ 131 w 153"/>
                <a:gd name="T9" fmla="*/ 130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6" name="Freeform 1274"/>
            <p:cNvSpPr/>
            <p:nvPr/>
          </p:nvSpPr>
          <p:spPr bwMode="auto">
            <a:xfrm>
              <a:off x="8312151" y="33893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7" name="Freeform 1275"/>
            <p:cNvSpPr/>
            <p:nvPr/>
          </p:nvSpPr>
          <p:spPr bwMode="auto">
            <a:xfrm>
              <a:off x="7751763" y="2479676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49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5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8" name="Freeform 1276"/>
            <p:cNvSpPr/>
            <p:nvPr/>
          </p:nvSpPr>
          <p:spPr bwMode="auto">
            <a:xfrm>
              <a:off x="7751763" y="254952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2 h 155"/>
                <a:gd name="T22" fmla="*/ 40 w 155"/>
                <a:gd name="T23" fmla="*/ 146 h 155"/>
                <a:gd name="T24" fmla="*/ 29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1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19" name="Freeform 1277"/>
            <p:cNvSpPr/>
            <p:nvPr/>
          </p:nvSpPr>
          <p:spPr bwMode="auto">
            <a:xfrm>
              <a:off x="7821613" y="24796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0" name="Freeform 1278"/>
            <p:cNvSpPr/>
            <p:nvPr/>
          </p:nvSpPr>
          <p:spPr bwMode="auto">
            <a:xfrm>
              <a:off x="7821613" y="25495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99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1" name="Freeform 1279"/>
            <p:cNvSpPr/>
            <p:nvPr/>
          </p:nvSpPr>
          <p:spPr bwMode="auto">
            <a:xfrm>
              <a:off x="7891463" y="24796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4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2" name="Freeform 1280"/>
            <p:cNvSpPr/>
            <p:nvPr/>
          </p:nvSpPr>
          <p:spPr bwMode="auto">
            <a:xfrm>
              <a:off x="7891463" y="254952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2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4 w 153"/>
                <a:gd name="T41" fmla="*/ 35 h 155"/>
                <a:gd name="T42" fmla="*/ 23 w 153"/>
                <a:gd name="T43" fmla="*/ 23 h 155"/>
                <a:gd name="T44" fmla="*/ 34 w 153"/>
                <a:gd name="T45" fmla="*/ 13 h 155"/>
                <a:gd name="T46" fmla="*/ 47 w 153"/>
                <a:gd name="T47" fmla="*/ 6 h 155"/>
                <a:gd name="T48" fmla="*/ 62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3" name="Freeform 1281"/>
            <p:cNvSpPr/>
            <p:nvPr/>
          </p:nvSpPr>
          <p:spPr bwMode="auto">
            <a:xfrm>
              <a:off x="7962901" y="24796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5 w 154"/>
                <a:gd name="T21" fmla="*/ 149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4" name="Freeform 1282"/>
            <p:cNvSpPr/>
            <p:nvPr/>
          </p:nvSpPr>
          <p:spPr bwMode="auto">
            <a:xfrm>
              <a:off x="7962901" y="25495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70 w 154"/>
                <a:gd name="T19" fmla="*/ 154 h 155"/>
                <a:gd name="T20" fmla="*/ 55 w 154"/>
                <a:gd name="T21" fmla="*/ 152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5" name="Freeform 1283"/>
            <p:cNvSpPr/>
            <p:nvPr/>
          </p:nvSpPr>
          <p:spPr bwMode="auto">
            <a:xfrm>
              <a:off x="8031163" y="2479676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1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49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5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5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6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1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4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6" name="Freeform 1284"/>
            <p:cNvSpPr/>
            <p:nvPr/>
          </p:nvSpPr>
          <p:spPr bwMode="auto">
            <a:xfrm>
              <a:off x="8031163" y="254952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2 h 155"/>
                <a:gd name="T22" fmla="*/ 42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8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2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7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7" name="Freeform 1285"/>
            <p:cNvSpPr/>
            <p:nvPr/>
          </p:nvSpPr>
          <p:spPr bwMode="auto">
            <a:xfrm>
              <a:off x="7404101" y="2479676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6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49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8" name="Freeform 1286"/>
            <p:cNvSpPr/>
            <p:nvPr/>
          </p:nvSpPr>
          <p:spPr bwMode="auto">
            <a:xfrm>
              <a:off x="7404101" y="254952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6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2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29" name="Freeform 1287"/>
            <p:cNvSpPr/>
            <p:nvPr/>
          </p:nvSpPr>
          <p:spPr bwMode="auto">
            <a:xfrm>
              <a:off x="7472363" y="24796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7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0" name="Freeform 1288"/>
            <p:cNvSpPr/>
            <p:nvPr/>
          </p:nvSpPr>
          <p:spPr bwMode="auto">
            <a:xfrm>
              <a:off x="7472363" y="254952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2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1" name="Freeform 1289"/>
            <p:cNvSpPr/>
            <p:nvPr/>
          </p:nvSpPr>
          <p:spPr bwMode="auto">
            <a:xfrm>
              <a:off x="7542213" y="24796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2" name="Freeform 1290"/>
            <p:cNvSpPr/>
            <p:nvPr/>
          </p:nvSpPr>
          <p:spPr bwMode="auto">
            <a:xfrm>
              <a:off x="7542213" y="25495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2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3" name="Freeform 1291"/>
            <p:cNvSpPr/>
            <p:nvPr/>
          </p:nvSpPr>
          <p:spPr bwMode="auto">
            <a:xfrm>
              <a:off x="7613651" y="2479676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4" name="Freeform 1292"/>
            <p:cNvSpPr/>
            <p:nvPr/>
          </p:nvSpPr>
          <p:spPr bwMode="auto">
            <a:xfrm>
              <a:off x="7613651" y="254952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5" name="Freeform 1293"/>
            <p:cNvSpPr/>
            <p:nvPr/>
          </p:nvSpPr>
          <p:spPr bwMode="auto">
            <a:xfrm>
              <a:off x="7683501" y="2479676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6" name="Freeform 1294"/>
            <p:cNvSpPr/>
            <p:nvPr/>
          </p:nvSpPr>
          <p:spPr bwMode="auto">
            <a:xfrm>
              <a:off x="7683501" y="254952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7" name="Freeform 1295"/>
            <p:cNvSpPr/>
            <p:nvPr/>
          </p:nvSpPr>
          <p:spPr bwMode="auto">
            <a:xfrm>
              <a:off x="7191376" y="2479676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49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5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6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8" name="Freeform 1296"/>
            <p:cNvSpPr/>
            <p:nvPr/>
          </p:nvSpPr>
          <p:spPr bwMode="auto">
            <a:xfrm>
              <a:off x="7191376" y="254952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2 h 155"/>
                <a:gd name="T22" fmla="*/ 42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1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7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39" name="Freeform 1297"/>
            <p:cNvSpPr/>
            <p:nvPr/>
          </p:nvSpPr>
          <p:spPr bwMode="auto">
            <a:xfrm>
              <a:off x="7261226" y="24796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49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0" name="Freeform 1298"/>
            <p:cNvSpPr/>
            <p:nvPr/>
          </p:nvSpPr>
          <p:spPr bwMode="auto">
            <a:xfrm>
              <a:off x="7261226" y="25495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2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1" name="Freeform 1299"/>
            <p:cNvSpPr/>
            <p:nvPr/>
          </p:nvSpPr>
          <p:spPr bwMode="auto">
            <a:xfrm>
              <a:off x="7331076" y="24796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2" name="Freeform 1300"/>
            <p:cNvSpPr/>
            <p:nvPr/>
          </p:nvSpPr>
          <p:spPr bwMode="auto">
            <a:xfrm>
              <a:off x="7331076" y="25495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3" name="Freeform 1301"/>
            <p:cNvSpPr/>
            <p:nvPr/>
          </p:nvSpPr>
          <p:spPr bwMode="auto">
            <a:xfrm>
              <a:off x="6842126" y="24796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4" name="Freeform 1302"/>
            <p:cNvSpPr/>
            <p:nvPr/>
          </p:nvSpPr>
          <p:spPr bwMode="auto">
            <a:xfrm>
              <a:off x="6842126" y="254952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5" name="Freeform 1303"/>
            <p:cNvSpPr/>
            <p:nvPr/>
          </p:nvSpPr>
          <p:spPr bwMode="auto">
            <a:xfrm>
              <a:off x="6842126" y="31797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6" name="Freeform 1304"/>
            <p:cNvSpPr/>
            <p:nvPr/>
          </p:nvSpPr>
          <p:spPr bwMode="auto">
            <a:xfrm>
              <a:off x="6842126" y="32496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1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5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7" name="Freeform 1305"/>
            <p:cNvSpPr/>
            <p:nvPr/>
          </p:nvSpPr>
          <p:spPr bwMode="auto">
            <a:xfrm>
              <a:off x="6842126" y="3321051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49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8" name="Freeform 1306"/>
            <p:cNvSpPr/>
            <p:nvPr/>
          </p:nvSpPr>
          <p:spPr bwMode="auto">
            <a:xfrm>
              <a:off x="6842126" y="339090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6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49" name="Freeform 1307"/>
            <p:cNvSpPr/>
            <p:nvPr/>
          </p:nvSpPr>
          <p:spPr bwMode="auto">
            <a:xfrm>
              <a:off x="6842126" y="3457576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0" name="Freeform 1308"/>
            <p:cNvSpPr/>
            <p:nvPr/>
          </p:nvSpPr>
          <p:spPr bwMode="auto">
            <a:xfrm>
              <a:off x="6842126" y="3111501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1" name="Freeform 1309"/>
            <p:cNvSpPr/>
            <p:nvPr/>
          </p:nvSpPr>
          <p:spPr bwMode="auto">
            <a:xfrm>
              <a:off x="6911976" y="2479676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49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5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6 h 153"/>
                <a:gd name="T40" fmla="*/ 13 w 155"/>
                <a:gd name="T41" fmla="*/ 33 h 153"/>
                <a:gd name="T42" fmla="*/ 23 w 155"/>
                <a:gd name="T43" fmla="*/ 21 h 153"/>
                <a:gd name="T44" fmla="*/ 33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0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2" name="Freeform 1310"/>
            <p:cNvSpPr/>
            <p:nvPr/>
          </p:nvSpPr>
          <p:spPr bwMode="auto">
            <a:xfrm>
              <a:off x="6911976" y="254952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2 h 155"/>
                <a:gd name="T22" fmla="*/ 40 w 155"/>
                <a:gd name="T23" fmla="*/ 146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3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1 h 155"/>
                <a:gd name="T64" fmla="*/ 150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3" name="Freeform 1311"/>
            <p:cNvSpPr/>
            <p:nvPr/>
          </p:nvSpPr>
          <p:spPr bwMode="auto">
            <a:xfrm>
              <a:off x="6981826" y="24796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4" name="Freeform 1312"/>
            <p:cNvSpPr/>
            <p:nvPr/>
          </p:nvSpPr>
          <p:spPr bwMode="auto">
            <a:xfrm>
              <a:off x="6981826" y="254952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2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2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5" name="Freeform 1313"/>
            <p:cNvSpPr/>
            <p:nvPr/>
          </p:nvSpPr>
          <p:spPr bwMode="auto">
            <a:xfrm>
              <a:off x="7051676" y="2479676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6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49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5 h 153"/>
                <a:gd name="T28" fmla="*/ 9 w 155"/>
                <a:gd name="T29" fmla="*/ 113 h 153"/>
                <a:gd name="T30" fmla="*/ 3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6 h 153"/>
                <a:gd name="T40" fmla="*/ 13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3 h 153"/>
                <a:gd name="T66" fmla="*/ 153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6" name="Freeform 1314"/>
            <p:cNvSpPr/>
            <p:nvPr/>
          </p:nvSpPr>
          <p:spPr bwMode="auto">
            <a:xfrm>
              <a:off x="7051676" y="254952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6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2 h 155"/>
                <a:gd name="T22" fmla="*/ 40 w 155"/>
                <a:gd name="T23" fmla="*/ 146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3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1 h 155"/>
                <a:gd name="T64" fmla="*/ 151 w 155"/>
                <a:gd name="T65" fmla="*/ 54 h 155"/>
                <a:gd name="T66" fmla="*/ 153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7" name="Freeform 1315"/>
            <p:cNvSpPr/>
            <p:nvPr/>
          </p:nvSpPr>
          <p:spPr bwMode="auto">
            <a:xfrm>
              <a:off x="7121526" y="2479676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49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5 w 154"/>
                <a:gd name="T39" fmla="*/ 46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8" name="Freeform 1316"/>
            <p:cNvSpPr/>
            <p:nvPr/>
          </p:nvSpPr>
          <p:spPr bwMode="auto">
            <a:xfrm>
              <a:off x="7121526" y="25495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3 w 154"/>
                <a:gd name="T21" fmla="*/ 152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2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59" name="Freeform 1317"/>
            <p:cNvSpPr/>
            <p:nvPr/>
          </p:nvSpPr>
          <p:spPr bwMode="auto">
            <a:xfrm>
              <a:off x="6777038" y="2479676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0" name="Freeform 1318"/>
            <p:cNvSpPr/>
            <p:nvPr/>
          </p:nvSpPr>
          <p:spPr bwMode="auto">
            <a:xfrm>
              <a:off x="6777038" y="2549526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1" name="Freeform 1319"/>
            <p:cNvSpPr/>
            <p:nvPr/>
          </p:nvSpPr>
          <p:spPr bwMode="auto">
            <a:xfrm>
              <a:off x="8102601" y="2479676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2" name="Freeform 1320"/>
            <p:cNvSpPr/>
            <p:nvPr/>
          </p:nvSpPr>
          <p:spPr bwMode="auto">
            <a:xfrm>
              <a:off x="8102601" y="2549526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3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3" name="Freeform 1321"/>
            <p:cNvSpPr/>
            <p:nvPr/>
          </p:nvSpPr>
          <p:spPr bwMode="auto">
            <a:xfrm>
              <a:off x="8170863" y="24796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4" name="Freeform 1322"/>
            <p:cNvSpPr/>
            <p:nvPr/>
          </p:nvSpPr>
          <p:spPr bwMode="auto">
            <a:xfrm>
              <a:off x="8170863" y="254952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5" name="Freeform 1323"/>
            <p:cNvSpPr/>
            <p:nvPr/>
          </p:nvSpPr>
          <p:spPr bwMode="auto">
            <a:xfrm>
              <a:off x="8242301" y="2479676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6" name="Freeform 1324"/>
            <p:cNvSpPr/>
            <p:nvPr/>
          </p:nvSpPr>
          <p:spPr bwMode="auto">
            <a:xfrm>
              <a:off x="8242301" y="254952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7" name="Freeform 1325"/>
            <p:cNvSpPr/>
            <p:nvPr/>
          </p:nvSpPr>
          <p:spPr bwMode="auto">
            <a:xfrm>
              <a:off x="8312151" y="2479676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8" name="Freeform 1326"/>
            <p:cNvSpPr/>
            <p:nvPr/>
          </p:nvSpPr>
          <p:spPr bwMode="auto">
            <a:xfrm>
              <a:off x="8312151" y="254952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2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2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69" name="Freeform 1327"/>
            <p:cNvSpPr/>
            <p:nvPr/>
          </p:nvSpPr>
          <p:spPr bwMode="auto">
            <a:xfrm>
              <a:off x="7751763" y="23352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0" name="Freeform 1328"/>
            <p:cNvSpPr/>
            <p:nvPr/>
          </p:nvSpPr>
          <p:spPr bwMode="auto">
            <a:xfrm>
              <a:off x="7751763" y="24050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1" name="Freeform 1329"/>
            <p:cNvSpPr/>
            <p:nvPr/>
          </p:nvSpPr>
          <p:spPr bwMode="auto">
            <a:xfrm>
              <a:off x="7821613" y="23352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2" name="Freeform 1330"/>
            <p:cNvSpPr/>
            <p:nvPr/>
          </p:nvSpPr>
          <p:spPr bwMode="auto">
            <a:xfrm>
              <a:off x="7821613" y="24050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3" name="Freeform 1331"/>
            <p:cNvSpPr/>
            <p:nvPr/>
          </p:nvSpPr>
          <p:spPr bwMode="auto">
            <a:xfrm>
              <a:off x="7891463" y="23352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4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4" name="Freeform 1332"/>
            <p:cNvSpPr/>
            <p:nvPr/>
          </p:nvSpPr>
          <p:spPr bwMode="auto">
            <a:xfrm>
              <a:off x="7891463" y="24050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4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5" name="Freeform 1333"/>
            <p:cNvSpPr/>
            <p:nvPr/>
          </p:nvSpPr>
          <p:spPr bwMode="auto">
            <a:xfrm>
              <a:off x="7962901" y="23352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6" name="Freeform 1334"/>
            <p:cNvSpPr/>
            <p:nvPr/>
          </p:nvSpPr>
          <p:spPr bwMode="auto">
            <a:xfrm>
              <a:off x="7962901" y="24050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7" name="Freeform 1335"/>
            <p:cNvSpPr/>
            <p:nvPr/>
          </p:nvSpPr>
          <p:spPr bwMode="auto">
            <a:xfrm>
              <a:off x="8031163" y="23352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8" name="Freeform 1336"/>
            <p:cNvSpPr/>
            <p:nvPr/>
          </p:nvSpPr>
          <p:spPr bwMode="auto">
            <a:xfrm>
              <a:off x="8031163" y="24050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7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79" name="Freeform 1337"/>
            <p:cNvSpPr/>
            <p:nvPr/>
          </p:nvSpPr>
          <p:spPr bwMode="auto">
            <a:xfrm>
              <a:off x="7404101" y="23352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0" name="Freeform 1338"/>
            <p:cNvSpPr/>
            <p:nvPr/>
          </p:nvSpPr>
          <p:spPr bwMode="auto">
            <a:xfrm>
              <a:off x="7404101" y="24050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1" name="Freeform 1339"/>
            <p:cNvSpPr/>
            <p:nvPr/>
          </p:nvSpPr>
          <p:spPr bwMode="auto">
            <a:xfrm>
              <a:off x="7472363" y="23352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2" name="Freeform 1340"/>
            <p:cNvSpPr/>
            <p:nvPr/>
          </p:nvSpPr>
          <p:spPr bwMode="auto">
            <a:xfrm>
              <a:off x="7472363" y="24050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3" name="Freeform 1341"/>
            <p:cNvSpPr/>
            <p:nvPr/>
          </p:nvSpPr>
          <p:spPr bwMode="auto">
            <a:xfrm>
              <a:off x="7542213" y="23352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4" name="Freeform 1342"/>
            <p:cNvSpPr/>
            <p:nvPr/>
          </p:nvSpPr>
          <p:spPr bwMode="auto">
            <a:xfrm>
              <a:off x="7542213" y="24050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5" name="Freeform 1343"/>
            <p:cNvSpPr/>
            <p:nvPr/>
          </p:nvSpPr>
          <p:spPr bwMode="auto">
            <a:xfrm>
              <a:off x="7613651" y="23352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6" name="Freeform 1344"/>
            <p:cNvSpPr/>
            <p:nvPr/>
          </p:nvSpPr>
          <p:spPr bwMode="auto">
            <a:xfrm>
              <a:off x="7613651" y="24050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7" name="Freeform 1345"/>
            <p:cNvSpPr/>
            <p:nvPr/>
          </p:nvSpPr>
          <p:spPr bwMode="auto">
            <a:xfrm>
              <a:off x="7683501" y="23352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8" name="Freeform 1346"/>
            <p:cNvSpPr/>
            <p:nvPr/>
          </p:nvSpPr>
          <p:spPr bwMode="auto">
            <a:xfrm>
              <a:off x="7683501" y="24050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89" name="Freeform 1347"/>
            <p:cNvSpPr/>
            <p:nvPr/>
          </p:nvSpPr>
          <p:spPr bwMode="auto">
            <a:xfrm>
              <a:off x="7191376" y="23352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0" name="Freeform 1348"/>
            <p:cNvSpPr/>
            <p:nvPr/>
          </p:nvSpPr>
          <p:spPr bwMode="auto">
            <a:xfrm>
              <a:off x="7191376" y="24050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1" name="Freeform 1349"/>
            <p:cNvSpPr/>
            <p:nvPr/>
          </p:nvSpPr>
          <p:spPr bwMode="auto">
            <a:xfrm>
              <a:off x="7261226" y="23352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2" name="Freeform 1350"/>
            <p:cNvSpPr/>
            <p:nvPr/>
          </p:nvSpPr>
          <p:spPr bwMode="auto">
            <a:xfrm>
              <a:off x="7261226" y="24050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3" name="Freeform 1351"/>
            <p:cNvSpPr/>
            <p:nvPr/>
          </p:nvSpPr>
          <p:spPr bwMode="auto">
            <a:xfrm>
              <a:off x="7331076" y="23352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4" name="Freeform 1352"/>
            <p:cNvSpPr/>
            <p:nvPr/>
          </p:nvSpPr>
          <p:spPr bwMode="auto">
            <a:xfrm>
              <a:off x="7331076" y="24050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5" name="Freeform 1353"/>
            <p:cNvSpPr/>
            <p:nvPr/>
          </p:nvSpPr>
          <p:spPr bwMode="auto">
            <a:xfrm>
              <a:off x="7332663" y="1638301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6" name="Freeform 1354"/>
            <p:cNvSpPr/>
            <p:nvPr/>
          </p:nvSpPr>
          <p:spPr bwMode="auto">
            <a:xfrm>
              <a:off x="7402513" y="1638301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7" name="Freeform 1355"/>
            <p:cNvSpPr/>
            <p:nvPr/>
          </p:nvSpPr>
          <p:spPr bwMode="auto">
            <a:xfrm>
              <a:off x="7472363" y="1638301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8" name="Freeform 1356"/>
            <p:cNvSpPr/>
            <p:nvPr/>
          </p:nvSpPr>
          <p:spPr bwMode="auto">
            <a:xfrm>
              <a:off x="7542213" y="1638301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99" name="Freeform 1357"/>
            <p:cNvSpPr/>
            <p:nvPr/>
          </p:nvSpPr>
          <p:spPr bwMode="auto">
            <a:xfrm>
              <a:off x="7612063" y="1638301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0" name="Freeform 1358"/>
            <p:cNvSpPr/>
            <p:nvPr/>
          </p:nvSpPr>
          <p:spPr bwMode="auto">
            <a:xfrm>
              <a:off x="7681913" y="1638301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5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1" name="Freeform 1359"/>
            <p:cNvSpPr/>
            <p:nvPr/>
          </p:nvSpPr>
          <p:spPr bwMode="auto">
            <a:xfrm>
              <a:off x="7751763" y="1638301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4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2" name="Freeform 1360"/>
            <p:cNvSpPr/>
            <p:nvPr/>
          </p:nvSpPr>
          <p:spPr bwMode="auto">
            <a:xfrm>
              <a:off x="7821613" y="1638301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3" name="Freeform 1361"/>
            <p:cNvSpPr/>
            <p:nvPr/>
          </p:nvSpPr>
          <p:spPr bwMode="auto">
            <a:xfrm>
              <a:off x="7332663" y="15716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4" name="Freeform 1362"/>
            <p:cNvSpPr/>
            <p:nvPr/>
          </p:nvSpPr>
          <p:spPr bwMode="auto">
            <a:xfrm>
              <a:off x="7402513" y="157162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5" name="Freeform 1363"/>
            <p:cNvSpPr/>
            <p:nvPr/>
          </p:nvSpPr>
          <p:spPr bwMode="auto">
            <a:xfrm>
              <a:off x="7472363" y="15716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6" name="Freeform 1364"/>
            <p:cNvSpPr/>
            <p:nvPr/>
          </p:nvSpPr>
          <p:spPr bwMode="auto">
            <a:xfrm>
              <a:off x="7542213" y="15716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7" name="Freeform 1365"/>
            <p:cNvSpPr/>
            <p:nvPr/>
          </p:nvSpPr>
          <p:spPr bwMode="auto">
            <a:xfrm>
              <a:off x="7612063" y="15716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8" name="Freeform 1366"/>
            <p:cNvSpPr/>
            <p:nvPr/>
          </p:nvSpPr>
          <p:spPr bwMode="auto">
            <a:xfrm>
              <a:off x="7681913" y="15716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09" name="Freeform 1367"/>
            <p:cNvSpPr/>
            <p:nvPr/>
          </p:nvSpPr>
          <p:spPr bwMode="auto">
            <a:xfrm>
              <a:off x="7751763" y="157162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4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0" name="Freeform 1368"/>
            <p:cNvSpPr/>
            <p:nvPr/>
          </p:nvSpPr>
          <p:spPr bwMode="auto">
            <a:xfrm>
              <a:off x="7821613" y="15716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1" name="Freeform 1369"/>
            <p:cNvSpPr/>
            <p:nvPr/>
          </p:nvSpPr>
          <p:spPr bwMode="auto">
            <a:xfrm>
              <a:off x="7332663" y="15017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19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2" name="Freeform 1370"/>
            <p:cNvSpPr/>
            <p:nvPr/>
          </p:nvSpPr>
          <p:spPr bwMode="auto">
            <a:xfrm>
              <a:off x="7402513" y="150177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3" name="Freeform 1371"/>
            <p:cNvSpPr/>
            <p:nvPr/>
          </p:nvSpPr>
          <p:spPr bwMode="auto">
            <a:xfrm>
              <a:off x="7332663" y="13604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8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4" name="Freeform 1372"/>
            <p:cNvSpPr/>
            <p:nvPr/>
          </p:nvSpPr>
          <p:spPr bwMode="auto">
            <a:xfrm>
              <a:off x="7265988" y="13604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9 w 155"/>
                <a:gd name="T27" fmla="*/ 126 h 155"/>
                <a:gd name="T28" fmla="*/ 11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5" name="Freeform 1373"/>
            <p:cNvSpPr/>
            <p:nvPr/>
          </p:nvSpPr>
          <p:spPr bwMode="auto">
            <a:xfrm>
              <a:off x="7402513" y="136048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6" name="Freeform 1374"/>
            <p:cNvSpPr/>
            <p:nvPr/>
          </p:nvSpPr>
          <p:spPr bwMode="auto">
            <a:xfrm>
              <a:off x="7194551" y="1638301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2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8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1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7" name="Freeform 1375"/>
            <p:cNvSpPr/>
            <p:nvPr/>
          </p:nvSpPr>
          <p:spPr bwMode="auto">
            <a:xfrm>
              <a:off x="7264401" y="1638301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19 w 153"/>
                <a:gd name="T11" fmla="*/ 140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8" name="Freeform 1376"/>
            <p:cNvSpPr/>
            <p:nvPr/>
          </p:nvSpPr>
          <p:spPr bwMode="auto">
            <a:xfrm>
              <a:off x="7194551" y="15716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8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19" name="Freeform 1377"/>
            <p:cNvSpPr/>
            <p:nvPr/>
          </p:nvSpPr>
          <p:spPr bwMode="auto">
            <a:xfrm>
              <a:off x="7124701" y="1638301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0" name="Freeform 1378"/>
            <p:cNvSpPr/>
            <p:nvPr/>
          </p:nvSpPr>
          <p:spPr bwMode="auto">
            <a:xfrm>
              <a:off x="7124701" y="15716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1" name="Freeform 1379"/>
            <p:cNvSpPr/>
            <p:nvPr/>
          </p:nvSpPr>
          <p:spPr bwMode="auto">
            <a:xfrm>
              <a:off x="6986588" y="15716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1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2" name="Freeform 1380"/>
            <p:cNvSpPr/>
            <p:nvPr/>
          </p:nvSpPr>
          <p:spPr bwMode="auto">
            <a:xfrm>
              <a:off x="6916738" y="15716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3" name="Freeform 1381"/>
            <p:cNvSpPr/>
            <p:nvPr/>
          </p:nvSpPr>
          <p:spPr bwMode="auto">
            <a:xfrm>
              <a:off x="7264401" y="157162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19 w 153"/>
                <a:gd name="T11" fmla="*/ 141 h 154"/>
                <a:gd name="T12" fmla="*/ 107 w 153"/>
                <a:gd name="T13" fmla="*/ 148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4" name="Freeform 1382"/>
            <p:cNvSpPr/>
            <p:nvPr/>
          </p:nvSpPr>
          <p:spPr bwMode="auto">
            <a:xfrm>
              <a:off x="7472363" y="15017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5" name="Freeform 1383"/>
            <p:cNvSpPr/>
            <p:nvPr/>
          </p:nvSpPr>
          <p:spPr bwMode="auto">
            <a:xfrm>
              <a:off x="7542213" y="150177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6" name="Freeform 1384"/>
            <p:cNvSpPr/>
            <p:nvPr/>
          </p:nvSpPr>
          <p:spPr bwMode="auto">
            <a:xfrm>
              <a:off x="7612063" y="150177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7" name="Freeform 1385"/>
            <p:cNvSpPr/>
            <p:nvPr/>
          </p:nvSpPr>
          <p:spPr bwMode="auto">
            <a:xfrm>
              <a:off x="7681913" y="15017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8" name="Freeform 1386"/>
            <p:cNvSpPr/>
            <p:nvPr/>
          </p:nvSpPr>
          <p:spPr bwMode="auto">
            <a:xfrm>
              <a:off x="7751763" y="150177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4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29" name="Freeform 1387"/>
            <p:cNvSpPr/>
            <p:nvPr/>
          </p:nvSpPr>
          <p:spPr bwMode="auto">
            <a:xfrm>
              <a:off x="7542213" y="142875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0" name="Freeform 1388"/>
            <p:cNvSpPr/>
            <p:nvPr/>
          </p:nvSpPr>
          <p:spPr bwMode="auto">
            <a:xfrm>
              <a:off x="7612063" y="142875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1" name="Freeform 1389"/>
            <p:cNvSpPr/>
            <p:nvPr/>
          </p:nvSpPr>
          <p:spPr bwMode="auto">
            <a:xfrm>
              <a:off x="7681913" y="14287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2" name="Freeform 1390"/>
            <p:cNvSpPr/>
            <p:nvPr/>
          </p:nvSpPr>
          <p:spPr bwMode="auto">
            <a:xfrm>
              <a:off x="7751763" y="1428751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4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3" name="Freeform 1391"/>
            <p:cNvSpPr/>
            <p:nvPr/>
          </p:nvSpPr>
          <p:spPr bwMode="auto">
            <a:xfrm>
              <a:off x="7751763" y="199072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4" name="Freeform 1392"/>
            <p:cNvSpPr/>
            <p:nvPr/>
          </p:nvSpPr>
          <p:spPr bwMode="auto">
            <a:xfrm>
              <a:off x="7751763" y="2060576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4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5" name="Freeform 1393"/>
            <p:cNvSpPr/>
            <p:nvPr/>
          </p:nvSpPr>
          <p:spPr bwMode="auto">
            <a:xfrm>
              <a:off x="7821613" y="19907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6" name="Freeform 1394"/>
            <p:cNvSpPr/>
            <p:nvPr/>
          </p:nvSpPr>
          <p:spPr bwMode="auto">
            <a:xfrm>
              <a:off x="7821613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99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7" name="Freeform 1395"/>
            <p:cNvSpPr/>
            <p:nvPr/>
          </p:nvSpPr>
          <p:spPr bwMode="auto">
            <a:xfrm>
              <a:off x="7404101" y="199072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6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8" name="Freeform 1396"/>
            <p:cNvSpPr/>
            <p:nvPr/>
          </p:nvSpPr>
          <p:spPr bwMode="auto">
            <a:xfrm>
              <a:off x="7404101" y="2060576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1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5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39" name="Freeform 1397"/>
            <p:cNvSpPr/>
            <p:nvPr/>
          </p:nvSpPr>
          <p:spPr bwMode="auto">
            <a:xfrm>
              <a:off x="7472363" y="1990726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7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0" name="Freeform 1398"/>
            <p:cNvSpPr/>
            <p:nvPr/>
          </p:nvSpPr>
          <p:spPr bwMode="auto">
            <a:xfrm>
              <a:off x="7472363" y="2060576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2 h 155"/>
                <a:gd name="T12" fmla="*/ 107 w 153"/>
                <a:gd name="T13" fmla="*/ 149 h 155"/>
                <a:gd name="T14" fmla="*/ 93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1" name="Freeform 1399"/>
            <p:cNvSpPr/>
            <p:nvPr/>
          </p:nvSpPr>
          <p:spPr bwMode="auto">
            <a:xfrm>
              <a:off x="7542213" y="19907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2" name="Freeform 1400"/>
            <p:cNvSpPr/>
            <p:nvPr/>
          </p:nvSpPr>
          <p:spPr bwMode="auto">
            <a:xfrm>
              <a:off x="7542213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2 h 155"/>
                <a:gd name="T54" fmla="*/ 101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3" name="Freeform 1401"/>
            <p:cNvSpPr/>
            <p:nvPr/>
          </p:nvSpPr>
          <p:spPr bwMode="auto">
            <a:xfrm>
              <a:off x="7613651" y="199072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7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4" name="Freeform 1402"/>
            <p:cNvSpPr/>
            <p:nvPr/>
          </p:nvSpPr>
          <p:spPr bwMode="auto">
            <a:xfrm>
              <a:off x="7613651" y="2060576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3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5" name="Freeform 1403"/>
            <p:cNvSpPr/>
            <p:nvPr/>
          </p:nvSpPr>
          <p:spPr bwMode="auto">
            <a:xfrm>
              <a:off x="7683501" y="1990726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6" name="Freeform 1404"/>
            <p:cNvSpPr/>
            <p:nvPr/>
          </p:nvSpPr>
          <p:spPr bwMode="auto">
            <a:xfrm>
              <a:off x="7683501" y="2060576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1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5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7" name="Freeform 1405"/>
            <p:cNvSpPr/>
            <p:nvPr/>
          </p:nvSpPr>
          <p:spPr bwMode="auto">
            <a:xfrm>
              <a:off x="7191376" y="1990726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8" name="Freeform 1406"/>
            <p:cNvSpPr/>
            <p:nvPr/>
          </p:nvSpPr>
          <p:spPr bwMode="auto">
            <a:xfrm>
              <a:off x="7191376" y="2060576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2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1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2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49" name="Freeform 1407"/>
            <p:cNvSpPr/>
            <p:nvPr/>
          </p:nvSpPr>
          <p:spPr bwMode="auto">
            <a:xfrm>
              <a:off x="7261226" y="19907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0" name="Freeform 1408"/>
            <p:cNvSpPr/>
            <p:nvPr/>
          </p:nvSpPr>
          <p:spPr bwMode="auto">
            <a:xfrm>
              <a:off x="7261226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2 h 155"/>
                <a:gd name="T54" fmla="*/ 101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1" name="Freeform 1409"/>
            <p:cNvSpPr/>
            <p:nvPr/>
          </p:nvSpPr>
          <p:spPr bwMode="auto">
            <a:xfrm>
              <a:off x="7331076" y="199072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2" name="Freeform 1410"/>
            <p:cNvSpPr/>
            <p:nvPr/>
          </p:nvSpPr>
          <p:spPr bwMode="auto">
            <a:xfrm>
              <a:off x="7331076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6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5 w 154"/>
                <a:gd name="T53" fmla="*/ 2 h 155"/>
                <a:gd name="T54" fmla="*/ 99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3" name="Freeform 1412"/>
            <p:cNvSpPr/>
            <p:nvPr/>
          </p:nvSpPr>
          <p:spPr bwMode="auto">
            <a:xfrm>
              <a:off x="7751763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4" name="Freeform 1413"/>
            <p:cNvSpPr/>
            <p:nvPr/>
          </p:nvSpPr>
          <p:spPr bwMode="auto">
            <a:xfrm>
              <a:off x="7751763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5" name="Freeform 1414"/>
            <p:cNvSpPr/>
            <p:nvPr/>
          </p:nvSpPr>
          <p:spPr bwMode="auto">
            <a:xfrm>
              <a:off x="7821613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6" name="Freeform 1415"/>
            <p:cNvSpPr/>
            <p:nvPr/>
          </p:nvSpPr>
          <p:spPr bwMode="auto">
            <a:xfrm>
              <a:off x="7821613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7" name="Freeform 1416"/>
            <p:cNvSpPr/>
            <p:nvPr/>
          </p:nvSpPr>
          <p:spPr bwMode="auto">
            <a:xfrm>
              <a:off x="7404100" y="1852613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6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8" name="Freeform 1417"/>
            <p:cNvSpPr/>
            <p:nvPr/>
          </p:nvSpPr>
          <p:spPr bwMode="auto">
            <a:xfrm>
              <a:off x="7404100" y="1922463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6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59" name="Freeform 1418"/>
            <p:cNvSpPr/>
            <p:nvPr/>
          </p:nvSpPr>
          <p:spPr bwMode="auto">
            <a:xfrm>
              <a:off x="7472363" y="185261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7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0" name="Freeform 1419"/>
            <p:cNvSpPr/>
            <p:nvPr/>
          </p:nvSpPr>
          <p:spPr bwMode="auto">
            <a:xfrm>
              <a:off x="7472363" y="1922463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7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1" name="Freeform 1420"/>
            <p:cNvSpPr/>
            <p:nvPr/>
          </p:nvSpPr>
          <p:spPr bwMode="auto">
            <a:xfrm>
              <a:off x="7542213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2" name="Freeform 1421"/>
            <p:cNvSpPr/>
            <p:nvPr/>
          </p:nvSpPr>
          <p:spPr bwMode="auto">
            <a:xfrm>
              <a:off x="7542213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3" name="Freeform 1422"/>
            <p:cNvSpPr/>
            <p:nvPr/>
          </p:nvSpPr>
          <p:spPr bwMode="auto">
            <a:xfrm>
              <a:off x="7613650" y="1852613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4" name="Freeform 1423"/>
            <p:cNvSpPr/>
            <p:nvPr/>
          </p:nvSpPr>
          <p:spPr bwMode="auto">
            <a:xfrm>
              <a:off x="7613650" y="1922463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5" name="Freeform 1424"/>
            <p:cNvSpPr/>
            <p:nvPr/>
          </p:nvSpPr>
          <p:spPr bwMode="auto">
            <a:xfrm>
              <a:off x="7683500" y="1852613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6" name="Freeform 1425"/>
            <p:cNvSpPr/>
            <p:nvPr/>
          </p:nvSpPr>
          <p:spPr bwMode="auto">
            <a:xfrm>
              <a:off x="7683500" y="1922463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7" name="Freeform 1426"/>
            <p:cNvSpPr/>
            <p:nvPr/>
          </p:nvSpPr>
          <p:spPr bwMode="auto">
            <a:xfrm>
              <a:off x="7191375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8" name="Freeform 1427"/>
            <p:cNvSpPr/>
            <p:nvPr/>
          </p:nvSpPr>
          <p:spPr bwMode="auto">
            <a:xfrm>
              <a:off x="7191375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69" name="Freeform 1428"/>
            <p:cNvSpPr/>
            <p:nvPr/>
          </p:nvSpPr>
          <p:spPr bwMode="auto">
            <a:xfrm>
              <a:off x="7261225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0" name="Freeform 1429"/>
            <p:cNvSpPr/>
            <p:nvPr/>
          </p:nvSpPr>
          <p:spPr bwMode="auto">
            <a:xfrm>
              <a:off x="7261225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1" name="Freeform 1430"/>
            <p:cNvSpPr/>
            <p:nvPr/>
          </p:nvSpPr>
          <p:spPr bwMode="auto">
            <a:xfrm>
              <a:off x="7331075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2" name="Freeform 1431"/>
            <p:cNvSpPr/>
            <p:nvPr/>
          </p:nvSpPr>
          <p:spPr bwMode="auto">
            <a:xfrm>
              <a:off x="7331075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6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6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3" name="Freeform 1432"/>
            <p:cNvSpPr/>
            <p:nvPr/>
          </p:nvSpPr>
          <p:spPr bwMode="auto">
            <a:xfrm>
              <a:off x="7751763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4" name="Freeform 1433"/>
            <p:cNvSpPr/>
            <p:nvPr/>
          </p:nvSpPr>
          <p:spPr bwMode="auto">
            <a:xfrm>
              <a:off x="7751763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5" name="Freeform 1434"/>
            <p:cNvSpPr/>
            <p:nvPr/>
          </p:nvSpPr>
          <p:spPr bwMode="auto">
            <a:xfrm>
              <a:off x="7821613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6" name="Freeform 1435"/>
            <p:cNvSpPr/>
            <p:nvPr/>
          </p:nvSpPr>
          <p:spPr bwMode="auto">
            <a:xfrm>
              <a:off x="7821613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7" name="Freeform 1436"/>
            <p:cNvSpPr/>
            <p:nvPr/>
          </p:nvSpPr>
          <p:spPr bwMode="auto">
            <a:xfrm>
              <a:off x="7404100" y="170815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8" name="Freeform 1437"/>
            <p:cNvSpPr/>
            <p:nvPr/>
          </p:nvSpPr>
          <p:spPr bwMode="auto">
            <a:xfrm>
              <a:off x="7404100" y="1778000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79" name="Freeform 1438"/>
            <p:cNvSpPr/>
            <p:nvPr/>
          </p:nvSpPr>
          <p:spPr bwMode="auto">
            <a:xfrm>
              <a:off x="7472363" y="17081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0" name="Freeform 1439"/>
            <p:cNvSpPr/>
            <p:nvPr/>
          </p:nvSpPr>
          <p:spPr bwMode="auto">
            <a:xfrm>
              <a:off x="7472363" y="17780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1" name="Freeform 1440"/>
            <p:cNvSpPr/>
            <p:nvPr/>
          </p:nvSpPr>
          <p:spPr bwMode="auto">
            <a:xfrm>
              <a:off x="7542213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2" name="Freeform 1441"/>
            <p:cNvSpPr/>
            <p:nvPr/>
          </p:nvSpPr>
          <p:spPr bwMode="auto">
            <a:xfrm>
              <a:off x="7542213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3" name="Freeform 1442"/>
            <p:cNvSpPr/>
            <p:nvPr/>
          </p:nvSpPr>
          <p:spPr bwMode="auto">
            <a:xfrm>
              <a:off x="7613650" y="170815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4" name="Freeform 1443"/>
            <p:cNvSpPr/>
            <p:nvPr/>
          </p:nvSpPr>
          <p:spPr bwMode="auto">
            <a:xfrm>
              <a:off x="7613650" y="1778000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5" name="Freeform 1444"/>
            <p:cNvSpPr/>
            <p:nvPr/>
          </p:nvSpPr>
          <p:spPr bwMode="auto">
            <a:xfrm>
              <a:off x="7683500" y="170815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6" name="Freeform 1445"/>
            <p:cNvSpPr/>
            <p:nvPr/>
          </p:nvSpPr>
          <p:spPr bwMode="auto">
            <a:xfrm>
              <a:off x="7683500" y="1778000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7" name="Freeform 1446"/>
            <p:cNvSpPr/>
            <p:nvPr/>
          </p:nvSpPr>
          <p:spPr bwMode="auto">
            <a:xfrm>
              <a:off x="7191375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8" name="Freeform 1447"/>
            <p:cNvSpPr/>
            <p:nvPr/>
          </p:nvSpPr>
          <p:spPr bwMode="auto">
            <a:xfrm>
              <a:off x="7191375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89" name="Freeform 1448"/>
            <p:cNvSpPr/>
            <p:nvPr/>
          </p:nvSpPr>
          <p:spPr bwMode="auto">
            <a:xfrm>
              <a:off x="7124700" y="19907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7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0" name="Freeform 1449"/>
            <p:cNvSpPr/>
            <p:nvPr/>
          </p:nvSpPr>
          <p:spPr bwMode="auto">
            <a:xfrm>
              <a:off x="7124700" y="185261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7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1" name="Freeform 1450"/>
            <p:cNvSpPr/>
            <p:nvPr/>
          </p:nvSpPr>
          <p:spPr bwMode="auto">
            <a:xfrm>
              <a:off x="7124700" y="1922463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7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2" name="Freeform 1451"/>
            <p:cNvSpPr/>
            <p:nvPr/>
          </p:nvSpPr>
          <p:spPr bwMode="auto">
            <a:xfrm>
              <a:off x="7124700" y="17081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3" name="Freeform 1452"/>
            <p:cNvSpPr/>
            <p:nvPr/>
          </p:nvSpPr>
          <p:spPr bwMode="auto">
            <a:xfrm>
              <a:off x="7124700" y="17780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4" name="Freeform 1453"/>
            <p:cNvSpPr/>
            <p:nvPr/>
          </p:nvSpPr>
          <p:spPr bwMode="auto">
            <a:xfrm>
              <a:off x="7261225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5" name="Freeform 1454"/>
            <p:cNvSpPr/>
            <p:nvPr/>
          </p:nvSpPr>
          <p:spPr bwMode="auto">
            <a:xfrm>
              <a:off x="7261225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6" name="Freeform 1455"/>
            <p:cNvSpPr/>
            <p:nvPr/>
          </p:nvSpPr>
          <p:spPr bwMode="auto">
            <a:xfrm>
              <a:off x="7331075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7" name="Freeform 1456"/>
            <p:cNvSpPr/>
            <p:nvPr/>
          </p:nvSpPr>
          <p:spPr bwMode="auto">
            <a:xfrm>
              <a:off x="7331075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8" name="Freeform 1457"/>
            <p:cNvSpPr/>
            <p:nvPr/>
          </p:nvSpPr>
          <p:spPr bwMode="auto">
            <a:xfrm>
              <a:off x="8032750" y="21986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99" name="Freeform 1458"/>
            <p:cNvSpPr/>
            <p:nvPr/>
          </p:nvSpPr>
          <p:spPr bwMode="auto">
            <a:xfrm>
              <a:off x="8102600" y="219868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1 w 154"/>
                <a:gd name="T9" fmla="*/ 131 h 153"/>
                <a:gd name="T10" fmla="*/ 119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0" name="Freeform 1459"/>
            <p:cNvSpPr/>
            <p:nvPr/>
          </p:nvSpPr>
          <p:spPr bwMode="auto">
            <a:xfrm>
              <a:off x="8172450" y="219868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9 w 154"/>
                <a:gd name="T5" fmla="*/ 107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1" name="Freeform 1460"/>
            <p:cNvSpPr/>
            <p:nvPr/>
          </p:nvSpPr>
          <p:spPr bwMode="auto">
            <a:xfrm>
              <a:off x="8242300" y="21986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8 w 153"/>
                <a:gd name="T5" fmla="*/ 107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7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2" name="Freeform 1461"/>
            <p:cNvSpPr/>
            <p:nvPr/>
          </p:nvSpPr>
          <p:spPr bwMode="auto">
            <a:xfrm>
              <a:off x="8312150" y="21986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3" name="Freeform 1462"/>
            <p:cNvSpPr/>
            <p:nvPr/>
          </p:nvSpPr>
          <p:spPr bwMode="auto">
            <a:xfrm>
              <a:off x="8382000" y="2198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4" name="Freeform 1463"/>
            <p:cNvSpPr/>
            <p:nvPr/>
          </p:nvSpPr>
          <p:spPr bwMode="auto">
            <a:xfrm>
              <a:off x="8451850" y="219868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5" name="Freeform 1464"/>
            <p:cNvSpPr/>
            <p:nvPr/>
          </p:nvSpPr>
          <p:spPr bwMode="auto">
            <a:xfrm>
              <a:off x="8521700" y="219868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6" name="Freeform 1465"/>
            <p:cNvSpPr/>
            <p:nvPr/>
          </p:nvSpPr>
          <p:spPr bwMode="auto">
            <a:xfrm>
              <a:off x="8032750" y="21288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7" name="Freeform 1466"/>
            <p:cNvSpPr/>
            <p:nvPr/>
          </p:nvSpPr>
          <p:spPr bwMode="auto">
            <a:xfrm>
              <a:off x="8102600" y="21288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8" name="Freeform 1467"/>
            <p:cNvSpPr/>
            <p:nvPr/>
          </p:nvSpPr>
          <p:spPr bwMode="auto">
            <a:xfrm>
              <a:off x="7894638" y="219868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09" name="Freeform 1468"/>
            <p:cNvSpPr/>
            <p:nvPr/>
          </p:nvSpPr>
          <p:spPr bwMode="auto">
            <a:xfrm>
              <a:off x="7962900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0" name="Freeform 1469"/>
            <p:cNvSpPr/>
            <p:nvPr/>
          </p:nvSpPr>
          <p:spPr bwMode="auto">
            <a:xfrm>
              <a:off x="8032750" y="22685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0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1" name="Freeform 1470"/>
            <p:cNvSpPr/>
            <p:nvPr/>
          </p:nvSpPr>
          <p:spPr bwMode="auto">
            <a:xfrm>
              <a:off x="8102600" y="22685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19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2" name="Freeform 1471"/>
            <p:cNvSpPr/>
            <p:nvPr/>
          </p:nvSpPr>
          <p:spPr bwMode="auto">
            <a:xfrm>
              <a:off x="8172450" y="22685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9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3" name="Freeform 1472"/>
            <p:cNvSpPr/>
            <p:nvPr/>
          </p:nvSpPr>
          <p:spPr bwMode="auto">
            <a:xfrm>
              <a:off x="8242300" y="22685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8 w 153"/>
                <a:gd name="T5" fmla="*/ 107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7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4" name="Freeform 1473"/>
            <p:cNvSpPr/>
            <p:nvPr/>
          </p:nvSpPr>
          <p:spPr bwMode="auto">
            <a:xfrm>
              <a:off x="8312150" y="22685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5" name="Freeform 1474"/>
            <p:cNvSpPr/>
            <p:nvPr/>
          </p:nvSpPr>
          <p:spPr bwMode="auto">
            <a:xfrm>
              <a:off x="7962900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6" name="Freeform 1475"/>
            <p:cNvSpPr/>
            <p:nvPr/>
          </p:nvSpPr>
          <p:spPr bwMode="auto">
            <a:xfrm>
              <a:off x="7894638" y="21288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7" name="Freeform 1476"/>
            <p:cNvSpPr/>
            <p:nvPr/>
          </p:nvSpPr>
          <p:spPr bwMode="auto">
            <a:xfrm>
              <a:off x="7962900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8" name="Freeform 1477"/>
            <p:cNvSpPr/>
            <p:nvPr/>
          </p:nvSpPr>
          <p:spPr bwMode="auto">
            <a:xfrm>
              <a:off x="8172450" y="21288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19" name="Freeform 1478"/>
            <p:cNvSpPr/>
            <p:nvPr/>
          </p:nvSpPr>
          <p:spPr bwMode="auto">
            <a:xfrm>
              <a:off x="8242300" y="21288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19 h 154"/>
                <a:gd name="T8" fmla="*/ 132 w 153"/>
                <a:gd name="T9" fmla="*/ 131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0" name="Freeform 1479"/>
            <p:cNvSpPr/>
            <p:nvPr/>
          </p:nvSpPr>
          <p:spPr bwMode="auto">
            <a:xfrm>
              <a:off x="8312150" y="21288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3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1" name="Freeform 1480"/>
            <p:cNvSpPr/>
            <p:nvPr/>
          </p:nvSpPr>
          <p:spPr bwMode="auto">
            <a:xfrm>
              <a:off x="8382000" y="21288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2" name="Freeform 1481"/>
            <p:cNvSpPr/>
            <p:nvPr/>
          </p:nvSpPr>
          <p:spPr bwMode="auto">
            <a:xfrm>
              <a:off x="8451850" y="21288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3" name="Freeform 1482"/>
            <p:cNvSpPr/>
            <p:nvPr/>
          </p:nvSpPr>
          <p:spPr bwMode="auto">
            <a:xfrm>
              <a:off x="8521700" y="21288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4" name="Freeform 1483"/>
            <p:cNvSpPr/>
            <p:nvPr/>
          </p:nvSpPr>
          <p:spPr bwMode="auto">
            <a:xfrm>
              <a:off x="8032750" y="163830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5" name="Freeform 1484"/>
            <p:cNvSpPr/>
            <p:nvPr/>
          </p:nvSpPr>
          <p:spPr bwMode="auto">
            <a:xfrm>
              <a:off x="8102600" y="1638300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19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6" name="Freeform 1485"/>
            <p:cNvSpPr/>
            <p:nvPr/>
          </p:nvSpPr>
          <p:spPr bwMode="auto">
            <a:xfrm>
              <a:off x="8172450" y="1638300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7" name="Freeform 1486"/>
            <p:cNvSpPr/>
            <p:nvPr/>
          </p:nvSpPr>
          <p:spPr bwMode="auto">
            <a:xfrm>
              <a:off x="8242300" y="163830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7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8" name="Freeform 1487"/>
            <p:cNvSpPr/>
            <p:nvPr/>
          </p:nvSpPr>
          <p:spPr bwMode="auto">
            <a:xfrm>
              <a:off x="8312150" y="163830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29" name="Freeform 1488"/>
            <p:cNvSpPr/>
            <p:nvPr/>
          </p:nvSpPr>
          <p:spPr bwMode="auto">
            <a:xfrm>
              <a:off x="8382000" y="163830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0" name="Freeform 1489"/>
            <p:cNvSpPr/>
            <p:nvPr/>
          </p:nvSpPr>
          <p:spPr bwMode="auto">
            <a:xfrm>
              <a:off x="8451850" y="1638300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1" name="Freeform 1490"/>
            <p:cNvSpPr/>
            <p:nvPr/>
          </p:nvSpPr>
          <p:spPr bwMode="auto">
            <a:xfrm>
              <a:off x="8521700" y="1638300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2" name="Freeform 1491"/>
            <p:cNvSpPr/>
            <p:nvPr/>
          </p:nvSpPr>
          <p:spPr bwMode="auto">
            <a:xfrm>
              <a:off x="8032750" y="15716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3" name="Freeform 1492"/>
            <p:cNvSpPr/>
            <p:nvPr/>
          </p:nvSpPr>
          <p:spPr bwMode="auto">
            <a:xfrm>
              <a:off x="8102600" y="1571625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4" name="Freeform 1493"/>
            <p:cNvSpPr/>
            <p:nvPr/>
          </p:nvSpPr>
          <p:spPr bwMode="auto">
            <a:xfrm>
              <a:off x="8172450" y="1571625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5" name="Freeform 1494"/>
            <p:cNvSpPr/>
            <p:nvPr/>
          </p:nvSpPr>
          <p:spPr bwMode="auto">
            <a:xfrm>
              <a:off x="8242300" y="15716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1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6" name="Freeform 1495"/>
            <p:cNvSpPr/>
            <p:nvPr/>
          </p:nvSpPr>
          <p:spPr bwMode="auto">
            <a:xfrm>
              <a:off x="8312150" y="15716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7" name="Freeform 1496"/>
            <p:cNvSpPr/>
            <p:nvPr/>
          </p:nvSpPr>
          <p:spPr bwMode="auto">
            <a:xfrm>
              <a:off x="7894638" y="1638300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8" name="Freeform 1497"/>
            <p:cNvSpPr/>
            <p:nvPr/>
          </p:nvSpPr>
          <p:spPr bwMode="auto">
            <a:xfrm>
              <a:off x="7962900" y="163830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39" name="Freeform 1498"/>
            <p:cNvSpPr/>
            <p:nvPr/>
          </p:nvSpPr>
          <p:spPr bwMode="auto">
            <a:xfrm>
              <a:off x="7894638" y="1571625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0" name="Freeform 1499"/>
            <p:cNvSpPr/>
            <p:nvPr/>
          </p:nvSpPr>
          <p:spPr bwMode="auto">
            <a:xfrm>
              <a:off x="7962900" y="157162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1" name="Freeform 1500"/>
            <p:cNvSpPr/>
            <p:nvPr/>
          </p:nvSpPr>
          <p:spPr bwMode="auto">
            <a:xfrm>
              <a:off x="8451850" y="1990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8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2" name="Freeform 1501"/>
            <p:cNvSpPr/>
            <p:nvPr/>
          </p:nvSpPr>
          <p:spPr bwMode="auto">
            <a:xfrm>
              <a:off x="8451850" y="20605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1 h 155"/>
                <a:gd name="T58" fmla="*/ 126 w 155"/>
                <a:gd name="T59" fmla="*/ 19 h 155"/>
                <a:gd name="T60" fmla="*/ 138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3" name="Freeform 1502"/>
            <p:cNvSpPr/>
            <p:nvPr/>
          </p:nvSpPr>
          <p:spPr bwMode="auto">
            <a:xfrm>
              <a:off x="8521700" y="1990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7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4 h 155"/>
                <a:gd name="T30" fmla="*/ 3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4 w 155"/>
                <a:gd name="T57" fmla="*/ 10 h 155"/>
                <a:gd name="T58" fmla="*/ 127 w 155"/>
                <a:gd name="T59" fmla="*/ 18 h 155"/>
                <a:gd name="T60" fmla="*/ 137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4" name="Freeform 1503"/>
            <p:cNvSpPr/>
            <p:nvPr/>
          </p:nvSpPr>
          <p:spPr bwMode="auto">
            <a:xfrm>
              <a:off x="8521700" y="20605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4 w 155"/>
                <a:gd name="T57" fmla="*/ 11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5" name="Freeform 1504"/>
            <p:cNvSpPr/>
            <p:nvPr/>
          </p:nvSpPr>
          <p:spPr bwMode="auto">
            <a:xfrm>
              <a:off x="8102600" y="19907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6" name="Freeform 1505"/>
            <p:cNvSpPr/>
            <p:nvPr/>
          </p:nvSpPr>
          <p:spPr bwMode="auto">
            <a:xfrm>
              <a:off x="8102600" y="20605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7" name="Freeform 1506"/>
            <p:cNvSpPr/>
            <p:nvPr/>
          </p:nvSpPr>
          <p:spPr bwMode="auto">
            <a:xfrm>
              <a:off x="8172450" y="1990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8" name="Freeform 1507"/>
            <p:cNvSpPr/>
            <p:nvPr/>
          </p:nvSpPr>
          <p:spPr bwMode="auto">
            <a:xfrm>
              <a:off x="8172450" y="20605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49" name="Freeform 1508"/>
            <p:cNvSpPr/>
            <p:nvPr/>
          </p:nvSpPr>
          <p:spPr bwMode="auto">
            <a:xfrm>
              <a:off x="8242300" y="19907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7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0" name="Freeform 1509"/>
            <p:cNvSpPr/>
            <p:nvPr/>
          </p:nvSpPr>
          <p:spPr bwMode="auto">
            <a:xfrm>
              <a:off x="8242300" y="20605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7 w 153"/>
                <a:gd name="T13" fmla="*/ 149 h 155"/>
                <a:gd name="T14" fmla="*/ 92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1" name="Freeform 1510"/>
            <p:cNvSpPr/>
            <p:nvPr/>
          </p:nvSpPr>
          <p:spPr bwMode="auto">
            <a:xfrm>
              <a:off x="8313738" y="1990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10 h 155"/>
                <a:gd name="T58" fmla="*/ 126 w 155"/>
                <a:gd name="T59" fmla="*/ 18 h 155"/>
                <a:gd name="T60" fmla="*/ 136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3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2" name="Freeform 1511"/>
            <p:cNvSpPr/>
            <p:nvPr/>
          </p:nvSpPr>
          <p:spPr bwMode="auto">
            <a:xfrm>
              <a:off x="8313738" y="20605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7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8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3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3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3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3" name="Freeform 1512"/>
            <p:cNvSpPr/>
            <p:nvPr/>
          </p:nvSpPr>
          <p:spPr bwMode="auto">
            <a:xfrm>
              <a:off x="8382000" y="1990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70 w 154"/>
                <a:gd name="T19" fmla="*/ 154 h 155"/>
                <a:gd name="T20" fmla="*/ 53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4" name="Freeform 1513"/>
            <p:cNvSpPr/>
            <p:nvPr/>
          </p:nvSpPr>
          <p:spPr bwMode="auto">
            <a:xfrm>
              <a:off x="8382000" y="20605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70 w 154"/>
                <a:gd name="T19" fmla="*/ 155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2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5" name="Freeform 1514"/>
            <p:cNvSpPr/>
            <p:nvPr/>
          </p:nvSpPr>
          <p:spPr bwMode="auto">
            <a:xfrm>
              <a:off x="7891463" y="1990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7 h 155"/>
                <a:gd name="T6" fmla="*/ 142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9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8 w 155"/>
                <a:gd name="T59" fmla="*/ 18 h 155"/>
                <a:gd name="T60" fmla="*/ 138 w 155"/>
                <a:gd name="T61" fmla="*/ 28 h 155"/>
                <a:gd name="T62" fmla="*/ 146 w 155"/>
                <a:gd name="T63" fmla="*/ 40 h 155"/>
                <a:gd name="T64" fmla="*/ 152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2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8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9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9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8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6" name="Freeform 1515"/>
            <p:cNvSpPr/>
            <p:nvPr/>
          </p:nvSpPr>
          <p:spPr bwMode="auto">
            <a:xfrm>
              <a:off x="7891463" y="20605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9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5 w 155"/>
                <a:gd name="T57" fmla="*/ 11 h 155"/>
                <a:gd name="T58" fmla="*/ 128 w 155"/>
                <a:gd name="T59" fmla="*/ 19 h 155"/>
                <a:gd name="T60" fmla="*/ 138 w 155"/>
                <a:gd name="T61" fmla="*/ 29 h 155"/>
                <a:gd name="T62" fmla="*/ 146 w 155"/>
                <a:gd name="T63" fmla="*/ 42 h 155"/>
                <a:gd name="T64" fmla="*/ 152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2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1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8" y="138"/>
                  </a:lnTo>
                  <a:lnTo>
                    <a:pt x="121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9" y="149"/>
                  </a:lnTo>
                  <a:lnTo>
                    <a:pt x="42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1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2" y="11"/>
                  </a:lnTo>
                  <a:lnTo>
                    <a:pt x="49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1" y="14"/>
                  </a:lnTo>
                  <a:lnTo>
                    <a:pt x="128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2"/>
                  </a:lnTo>
                  <a:lnTo>
                    <a:pt x="149" y="48"/>
                  </a:lnTo>
                  <a:lnTo>
                    <a:pt x="152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7" name="Freeform 1516"/>
            <p:cNvSpPr/>
            <p:nvPr/>
          </p:nvSpPr>
          <p:spPr bwMode="auto">
            <a:xfrm>
              <a:off x="7961313" y="1990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3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8" name="Freeform 1517"/>
            <p:cNvSpPr/>
            <p:nvPr/>
          </p:nvSpPr>
          <p:spPr bwMode="auto">
            <a:xfrm>
              <a:off x="7961313" y="20605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59" name="Freeform 1518"/>
            <p:cNvSpPr/>
            <p:nvPr/>
          </p:nvSpPr>
          <p:spPr bwMode="auto">
            <a:xfrm>
              <a:off x="8031163" y="1990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0" name="Freeform 1519"/>
            <p:cNvSpPr/>
            <p:nvPr/>
          </p:nvSpPr>
          <p:spPr bwMode="auto">
            <a:xfrm>
              <a:off x="8031163" y="20605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1" name="Freeform 1520"/>
            <p:cNvSpPr/>
            <p:nvPr/>
          </p:nvSpPr>
          <p:spPr bwMode="auto">
            <a:xfrm>
              <a:off x="8451850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1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8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4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2" name="Freeform 1521"/>
            <p:cNvSpPr/>
            <p:nvPr/>
          </p:nvSpPr>
          <p:spPr bwMode="auto">
            <a:xfrm>
              <a:off x="8451850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4" y="61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3" name="Freeform 1522"/>
            <p:cNvSpPr/>
            <p:nvPr/>
          </p:nvSpPr>
          <p:spPr bwMode="auto">
            <a:xfrm>
              <a:off x="8521700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4" name="Freeform 1523"/>
            <p:cNvSpPr/>
            <p:nvPr/>
          </p:nvSpPr>
          <p:spPr bwMode="auto">
            <a:xfrm>
              <a:off x="8521700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3 h 154"/>
                <a:gd name="T30" fmla="*/ 3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4 w 155"/>
                <a:gd name="T57" fmla="*/ 9 h 154"/>
                <a:gd name="T58" fmla="*/ 127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5" name="Freeform 1524"/>
            <p:cNvSpPr/>
            <p:nvPr/>
          </p:nvSpPr>
          <p:spPr bwMode="auto">
            <a:xfrm>
              <a:off x="8102600" y="185261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6" name="Freeform 1525"/>
            <p:cNvSpPr/>
            <p:nvPr/>
          </p:nvSpPr>
          <p:spPr bwMode="auto">
            <a:xfrm>
              <a:off x="8102600" y="1922463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7" name="Freeform 1526"/>
            <p:cNvSpPr/>
            <p:nvPr/>
          </p:nvSpPr>
          <p:spPr bwMode="auto">
            <a:xfrm>
              <a:off x="8172450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5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8" name="Freeform 1527"/>
            <p:cNvSpPr/>
            <p:nvPr/>
          </p:nvSpPr>
          <p:spPr bwMode="auto">
            <a:xfrm>
              <a:off x="8172450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69" name="Freeform 1528"/>
            <p:cNvSpPr/>
            <p:nvPr/>
          </p:nvSpPr>
          <p:spPr bwMode="auto">
            <a:xfrm>
              <a:off x="8242300" y="185261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0" name="Freeform 1529"/>
            <p:cNvSpPr/>
            <p:nvPr/>
          </p:nvSpPr>
          <p:spPr bwMode="auto">
            <a:xfrm>
              <a:off x="8242300" y="1922463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7 w 153"/>
                <a:gd name="T13" fmla="*/ 147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1" name="Freeform 1530"/>
            <p:cNvSpPr/>
            <p:nvPr/>
          </p:nvSpPr>
          <p:spPr bwMode="auto">
            <a:xfrm>
              <a:off x="8313738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3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2" name="Freeform 1531"/>
            <p:cNvSpPr/>
            <p:nvPr/>
          </p:nvSpPr>
          <p:spPr bwMode="auto">
            <a:xfrm>
              <a:off x="8313738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3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3" name="Freeform 1532"/>
            <p:cNvSpPr/>
            <p:nvPr/>
          </p:nvSpPr>
          <p:spPr bwMode="auto">
            <a:xfrm>
              <a:off x="8382000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5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4" name="Freeform 1533"/>
            <p:cNvSpPr/>
            <p:nvPr/>
          </p:nvSpPr>
          <p:spPr bwMode="auto">
            <a:xfrm>
              <a:off x="8382000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70 w 154"/>
                <a:gd name="T19" fmla="*/ 153 h 154"/>
                <a:gd name="T20" fmla="*/ 53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5" name="Freeform 1534"/>
            <p:cNvSpPr/>
            <p:nvPr/>
          </p:nvSpPr>
          <p:spPr bwMode="auto">
            <a:xfrm>
              <a:off x="7891463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1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9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8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2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1"/>
                  </a:lnTo>
                  <a:lnTo>
                    <a:pt x="152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8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9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9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8" y="17"/>
                  </a:lnTo>
                  <a:lnTo>
                    <a:pt x="132" y="21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3"/>
                  </a:lnTo>
                  <a:lnTo>
                    <a:pt x="154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6" name="Freeform 1535"/>
            <p:cNvSpPr/>
            <p:nvPr/>
          </p:nvSpPr>
          <p:spPr bwMode="auto">
            <a:xfrm>
              <a:off x="7891463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9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8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2 w 155"/>
                <a:gd name="T65" fmla="*/ 53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2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8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9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9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8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3"/>
                  </a:lnTo>
                  <a:lnTo>
                    <a:pt x="154" y="61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7" name="Freeform 1536"/>
            <p:cNvSpPr/>
            <p:nvPr/>
          </p:nvSpPr>
          <p:spPr bwMode="auto">
            <a:xfrm>
              <a:off x="7961313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8" name="Freeform 1537"/>
            <p:cNvSpPr/>
            <p:nvPr/>
          </p:nvSpPr>
          <p:spPr bwMode="auto">
            <a:xfrm>
              <a:off x="7961313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79" name="Freeform 1538"/>
            <p:cNvSpPr/>
            <p:nvPr/>
          </p:nvSpPr>
          <p:spPr bwMode="auto">
            <a:xfrm>
              <a:off x="8031163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0" name="Freeform 1539"/>
            <p:cNvSpPr/>
            <p:nvPr/>
          </p:nvSpPr>
          <p:spPr bwMode="auto">
            <a:xfrm>
              <a:off x="8031163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1" name="Freeform 1540"/>
            <p:cNvSpPr/>
            <p:nvPr/>
          </p:nvSpPr>
          <p:spPr bwMode="auto">
            <a:xfrm>
              <a:off x="8451850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2" name="Freeform 1541"/>
            <p:cNvSpPr/>
            <p:nvPr/>
          </p:nvSpPr>
          <p:spPr bwMode="auto">
            <a:xfrm>
              <a:off x="8451850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3" name="Freeform 1542"/>
            <p:cNvSpPr/>
            <p:nvPr/>
          </p:nvSpPr>
          <p:spPr bwMode="auto">
            <a:xfrm>
              <a:off x="8521700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2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4 w 155"/>
                <a:gd name="T57" fmla="*/ 10 h 154"/>
                <a:gd name="T58" fmla="*/ 127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4" name="Freeform 1543"/>
            <p:cNvSpPr/>
            <p:nvPr/>
          </p:nvSpPr>
          <p:spPr bwMode="auto">
            <a:xfrm>
              <a:off x="8521700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4 h 155"/>
                <a:gd name="T30" fmla="*/ 3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4 w 155"/>
                <a:gd name="T57" fmla="*/ 10 h 155"/>
                <a:gd name="T58" fmla="*/ 127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5" name="Freeform 1544"/>
            <p:cNvSpPr/>
            <p:nvPr/>
          </p:nvSpPr>
          <p:spPr bwMode="auto">
            <a:xfrm>
              <a:off x="8102600" y="17081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6" name="Freeform 1545"/>
            <p:cNvSpPr/>
            <p:nvPr/>
          </p:nvSpPr>
          <p:spPr bwMode="auto">
            <a:xfrm>
              <a:off x="8102600" y="17780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7" name="Freeform 1546"/>
            <p:cNvSpPr/>
            <p:nvPr/>
          </p:nvSpPr>
          <p:spPr bwMode="auto">
            <a:xfrm>
              <a:off x="8172450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8" name="Freeform 1547"/>
            <p:cNvSpPr/>
            <p:nvPr/>
          </p:nvSpPr>
          <p:spPr bwMode="auto">
            <a:xfrm>
              <a:off x="8172450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89" name="Freeform 1548"/>
            <p:cNvSpPr/>
            <p:nvPr/>
          </p:nvSpPr>
          <p:spPr bwMode="auto">
            <a:xfrm>
              <a:off x="8242300" y="17081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0" name="Freeform 1549"/>
            <p:cNvSpPr/>
            <p:nvPr/>
          </p:nvSpPr>
          <p:spPr bwMode="auto">
            <a:xfrm>
              <a:off x="8242300" y="17780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1" name="Freeform 1550"/>
            <p:cNvSpPr/>
            <p:nvPr/>
          </p:nvSpPr>
          <p:spPr bwMode="auto">
            <a:xfrm>
              <a:off x="8313738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3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2" name="Freeform 1551"/>
            <p:cNvSpPr/>
            <p:nvPr/>
          </p:nvSpPr>
          <p:spPr bwMode="auto">
            <a:xfrm>
              <a:off x="8313738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3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3" name="Freeform 1552"/>
            <p:cNvSpPr/>
            <p:nvPr/>
          </p:nvSpPr>
          <p:spPr bwMode="auto">
            <a:xfrm>
              <a:off x="8382000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3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4" name="Freeform 1553"/>
            <p:cNvSpPr/>
            <p:nvPr/>
          </p:nvSpPr>
          <p:spPr bwMode="auto">
            <a:xfrm>
              <a:off x="8382000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70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5" name="Freeform 1554"/>
            <p:cNvSpPr/>
            <p:nvPr/>
          </p:nvSpPr>
          <p:spPr bwMode="auto">
            <a:xfrm>
              <a:off x="7891463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9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8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2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2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8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9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9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8" y="18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6" name="Freeform 1555"/>
            <p:cNvSpPr/>
            <p:nvPr/>
          </p:nvSpPr>
          <p:spPr bwMode="auto">
            <a:xfrm>
              <a:off x="7891463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9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8 w 155"/>
                <a:gd name="T59" fmla="*/ 18 h 155"/>
                <a:gd name="T60" fmla="*/ 138 w 155"/>
                <a:gd name="T61" fmla="*/ 29 h 155"/>
                <a:gd name="T62" fmla="*/ 146 w 155"/>
                <a:gd name="T63" fmla="*/ 40 h 155"/>
                <a:gd name="T64" fmla="*/ 152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2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8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9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9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8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7" name="Freeform 1556"/>
            <p:cNvSpPr/>
            <p:nvPr/>
          </p:nvSpPr>
          <p:spPr bwMode="auto">
            <a:xfrm>
              <a:off x="7961313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8" name="Freeform 1557"/>
            <p:cNvSpPr/>
            <p:nvPr/>
          </p:nvSpPr>
          <p:spPr bwMode="auto">
            <a:xfrm>
              <a:off x="7961313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99" name="Freeform 1558"/>
            <p:cNvSpPr/>
            <p:nvPr/>
          </p:nvSpPr>
          <p:spPr bwMode="auto">
            <a:xfrm>
              <a:off x="8031163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0" name="Freeform 1559"/>
            <p:cNvSpPr/>
            <p:nvPr/>
          </p:nvSpPr>
          <p:spPr bwMode="auto">
            <a:xfrm>
              <a:off x="8031163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1" name="Freeform 1560"/>
            <p:cNvSpPr/>
            <p:nvPr/>
          </p:nvSpPr>
          <p:spPr bwMode="auto">
            <a:xfrm>
              <a:off x="8664575" y="21986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2 h 153"/>
                <a:gd name="T4" fmla="*/ 147 w 153"/>
                <a:gd name="T5" fmla="*/ 107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2" name="Freeform 1561"/>
            <p:cNvSpPr/>
            <p:nvPr/>
          </p:nvSpPr>
          <p:spPr bwMode="auto">
            <a:xfrm>
              <a:off x="8734425" y="2198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0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3" name="Freeform 1562"/>
            <p:cNvSpPr/>
            <p:nvPr/>
          </p:nvSpPr>
          <p:spPr bwMode="auto">
            <a:xfrm>
              <a:off x="8804275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4" name="Freeform 1563"/>
            <p:cNvSpPr/>
            <p:nvPr/>
          </p:nvSpPr>
          <p:spPr bwMode="auto">
            <a:xfrm>
              <a:off x="8874125" y="2198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2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5" name="Freeform 1564"/>
            <p:cNvSpPr/>
            <p:nvPr/>
          </p:nvSpPr>
          <p:spPr bwMode="auto">
            <a:xfrm>
              <a:off x="8943975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7 w 154"/>
                <a:gd name="T5" fmla="*/ 107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6" name="Freeform 1565"/>
            <p:cNvSpPr/>
            <p:nvPr/>
          </p:nvSpPr>
          <p:spPr bwMode="auto">
            <a:xfrm>
              <a:off x="9013825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7" name="Freeform 1566"/>
            <p:cNvSpPr/>
            <p:nvPr/>
          </p:nvSpPr>
          <p:spPr bwMode="auto">
            <a:xfrm>
              <a:off x="9083675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1 w 154"/>
                <a:gd name="T9" fmla="*/ 131 h 153"/>
                <a:gd name="T10" fmla="*/ 119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8" name="Freeform 1567"/>
            <p:cNvSpPr/>
            <p:nvPr/>
          </p:nvSpPr>
          <p:spPr bwMode="auto">
            <a:xfrm>
              <a:off x="9153525" y="2198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9 w 154"/>
                <a:gd name="T5" fmla="*/ 107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09" name="Freeform 1568"/>
            <p:cNvSpPr/>
            <p:nvPr/>
          </p:nvSpPr>
          <p:spPr bwMode="auto">
            <a:xfrm>
              <a:off x="9083675" y="22637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0" name="Freeform 1569"/>
            <p:cNvSpPr/>
            <p:nvPr/>
          </p:nvSpPr>
          <p:spPr bwMode="auto">
            <a:xfrm>
              <a:off x="9153525" y="22637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9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1" name="Freeform 1570"/>
            <p:cNvSpPr/>
            <p:nvPr/>
          </p:nvSpPr>
          <p:spPr bwMode="auto">
            <a:xfrm>
              <a:off x="8664575" y="21288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19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3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2" name="Freeform 1571"/>
            <p:cNvSpPr/>
            <p:nvPr/>
          </p:nvSpPr>
          <p:spPr bwMode="auto">
            <a:xfrm>
              <a:off x="8734425" y="21288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1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8 w 155"/>
                <a:gd name="T27" fmla="*/ 126 h 154"/>
                <a:gd name="T28" fmla="*/ 9 w 155"/>
                <a:gd name="T29" fmla="*/ 113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3" name="Freeform 1572"/>
            <p:cNvSpPr/>
            <p:nvPr/>
          </p:nvSpPr>
          <p:spPr bwMode="auto">
            <a:xfrm>
              <a:off x="8594725" y="2198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2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4" name="Freeform 1573"/>
            <p:cNvSpPr/>
            <p:nvPr/>
          </p:nvSpPr>
          <p:spPr bwMode="auto">
            <a:xfrm>
              <a:off x="8594725" y="21288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5" name="Freeform 1574"/>
            <p:cNvSpPr/>
            <p:nvPr/>
          </p:nvSpPr>
          <p:spPr bwMode="auto">
            <a:xfrm>
              <a:off x="8804275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6" name="Freeform 1575"/>
            <p:cNvSpPr/>
            <p:nvPr/>
          </p:nvSpPr>
          <p:spPr bwMode="auto">
            <a:xfrm>
              <a:off x="8874125" y="21288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19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7" name="Freeform 1576"/>
            <p:cNvSpPr/>
            <p:nvPr/>
          </p:nvSpPr>
          <p:spPr bwMode="auto">
            <a:xfrm>
              <a:off x="8943975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8" name="Freeform 1577"/>
            <p:cNvSpPr/>
            <p:nvPr/>
          </p:nvSpPr>
          <p:spPr bwMode="auto">
            <a:xfrm>
              <a:off x="9013825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19" name="Freeform 1578"/>
            <p:cNvSpPr/>
            <p:nvPr/>
          </p:nvSpPr>
          <p:spPr bwMode="auto">
            <a:xfrm>
              <a:off x="9083675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1 w 154"/>
                <a:gd name="T9" fmla="*/ 131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0" name="Freeform 1579"/>
            <p:cNvSpPr/>
            <p:nvPr/>
          </p:nvSpPr>
          <p:spPr bwMode="auto">
            <a:xfrm>
              <a:off x="9153525" y="21288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1" name="Freeform 1580"/>
            <p:cNvSpPr/>
            <p:nvPr/>
          </p:nvSpPr>
          <p:spPr bwMode="auto">
            <a:xfrm>
              <a:off x="8664575" y="163830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2" name="Freeform 1581"/>
            <p:cNvSpPr/>
            <p:nvPr/>
          </p:nvSpPr>
          <p:spPr bwMode="auto">
            <a:xfrm>
              <a:off x="8734425" y="163830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0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3" name="Freeform 1582"/>
            <p:cNvSpPr/>
            <p:nvPr/>
          </p:nvSpPr>
          <p:spPr bwMode="auto">
            <a:xfrm>
              <a:off x="8804275" y="163830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4" name="Freeform 1583"/>
            <p:cNvSpPr/>
            <p:nvPr/>
          </p:nvSpPr>
          <p:spPr bwMode="auto">
            <a:xfrm>
              <a:off x="8874125" y="163830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5" name="Freeform 1584"/>
            <p:cNvSpPr/>
            <p:nvPr/>
          </p:nvSpPr>
          <p:spPr bwMode="auto">
            <a:xfrm>
              <a:off x="8943975" y="163830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6" name="Freeform 1585"/>
            <p:cNvSpPr/>
            <p:nvPr/>
          </p:nvSpPr>
          <p:spPr bwMode="auto">
            <a:xfrm>
              <a:off x="9013825" y="163830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8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7" name="Freeform 1586"/>
            <p:cNvSpPr/>
            <p:nvPr/>
          </p:nvSpPr>
          <p:spPr bwMode="auto">
            <a:xfrm>
              <a:off x="9083675" y="163830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19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8" name="Freeform 1587"/>
            <p:cNvSpPr/>
            <p:nvPr/>
          </p:nvSpPr>
          <p:spPr bwMode="auto">
            <a:xfrm>
              <a:off x="9153525" y="163830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29" name="Freeform 1588"/>
            <p:cNvSpPr/>
            <p:nvPr/>
          </p:nvSpPr>
          <p:spPr bwMode="auto">
            <a:xfrm>
              <a:off x="8594725" y="163830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0" name="Freeform 1589"/>
            <p:cNvSpPr/>
            <p:nvPr/>
          </p:nvSpPr>
          <p:spPr bwMode="auto">
            <a:xfrm>
              <a:off x="8664575" y="1570038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19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1" name="Freeform 1590"/>
            <p:cNvSpPr/>
            <p:nvPr/>
          </p:nvSpPr>
          <p:spPr bwMode="auto">
            <a:xfrm>
              <a:off x="8734425" y="1570038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1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0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2" name="Freeform 1591"/>
            <p:cNvSpPr/>
            <p:nvPr/>
          </p:nvSpPr>
          <p:spPr bwMode="auto">
            <a:xfrm>
              <a:off x="8594725" y="1570038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3" name="Freeform 1592"/>
            <p:cNvSpPr/>
            <p:nvPr/>
          </p:nvSpPr>
          <p:spPr bwMode="auto">
            <a:xfrm>
              <a:off x="8594725" y="14859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5 h 155"/>
                <a:gd name="T56" fmla="*/ 114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4" name="Freeform 1593"/>
            <p:cNvSpPr/>
            <p:nvPr/>
          </p:nvSpPr>
          <p:spPr bwMode="auto">
            <a:xfrm>
              <a:off x="8734425" y="1990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5" name="Freeform 1594"/>
            <p:cNvSpPr/>
            <p:nvPr/>
          </p:nvSpPr>
          <p:spPr bwMode="auto">
            <a:xfrm>
              <a:off x="8734425" y="20605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6" name="Freeform 1595"/>
            <p:cNvSpPr/>
            <p:nvPr/>
          </p:nvSpPr>
          <p:spPr bwMode="auto">
            <a:xfrm>
              <a:off x="8804275" y="1990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7" name="Freeform 1596"/>
            <p:cNvSpPr/>
            <p:nvPr/>
          </p:nvSpPr>
          <p:spPr bwMode="auto">
            <a:xfrm>
              <a:off x="8804275" y="20605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8" name="Freeform 1597"/>
            <p:cNvSpPr/>
            <p:nvPr/>
          </p:nvSpPr>
          <p:spPr bwMode="auto">
            <a:xfrm>
              <a:off x="8874125" y="1990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8 h 155"/>
                <a:gd name="T62" fmla="*/ 144 w 155"/>
                <a:gd name="T63" fmla="*/ 40 h 155"/>
                <a:gd name="T64" fmla="*/ 150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39" name="Freeform 1598"/>
            <p:cNvSpPr/>
            <p:nvPr/>
          </p:nvSpPr>
          <p:spPr bwMode="auto">
            <a:xfrm>
              <a:off x="8874125" y="20605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7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8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4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4 w 155"/>
                <a:gd name="T63" fmla="*/ 42 h 155"/>
                <a:gd name="T64" fmla="*/ 150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0" name="Freeform 1599"/>
            <p:cNvSpPr/>
            <p:nvPr/>
          </p:nvSpPr>
          <p:spPr bwMode="auto">
            <a:xfrm>
              <a:off x="8945563" y="1990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8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1" name="Freeform 1600"/>
            <p:cNvSpPr/>
            <p:nvPr/>
          </p:nvSpPr>
          <p:spPr bwMode="auto">
            <a:xfrm>
              <a:off x="8945563" y="20605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1 h 155"/>
                <a:gd name="T58" fmla="*/ 126 w 155"/>
                <a:gd name="T59" fmla="*/ 19 h 155"/>
                <a:gd name="T60" fmla="*/ 138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2" name="Freeform 1601"/>
            <p:cNvSpPr/>
            <p:nvPr/>
          </p:nvSpPr>
          <p:spPr bwMode="auto">
            <a:xfrm>
              <a:off x="9013825" y="1990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2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3" name="Freeform 1602"/>
            <p:cNvSpPr/>
            <p:nvPr/>
          </p:nvSpPr>
          <p:spPr bwMode="auto">
            <a:xfrm>
              <a:off x="9013825" y="20605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4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4" name="Freeform 1603"/>
            <p:cNvSpPr/>
            <p:nvPr/>
          </p:nvSpPr>
          <p:spPr bwMode="auto">
            <a:xfrm>
              <a:off x="8593138" y="19907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5" name="Freeform 1604"/>
            <p:cNvSpPr/>
            <p:nvPr/>
          </p:nvSpPr>
          <p:spPr bwMode="auto">
            <a:xfrm>
              <a:off x="8593138" y="20605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7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8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4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6" name="Freeform 1605"/>
            <p:cNvSpPr/>
            <p:nvPr/>
          </p:nvSpPr>
          <p:spPr bwMode="auto">
            <a:xfrm>
              <a:off x="8662988" y="19907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3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7" name="Freeform 1606"/>
            <p:cNvSpPr/>
            <p:nvPr/>
          </p:nvSpPr>
          <p:spPr bwMode="auto">
            <a:xfrm>
              <a:off x="8662988" y="20605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8" name="Freeform 1607"/>
            <p:cNvSpPr/>
            <p:nvPr/>
          </p:nvSpPr>
          <p:spPr bwMode="auto">
            <a:xfrm>
              <a:off x="8382000" y="24050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49" name="Freeform 1608"/>
            <p:cNvSpPr/>
            <p:nvPr/>
          </p:nvSpPr>
          <p:spPr bwMode="auto">
            <a:xfrm>
              <a:off x="8451850" y="240506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0" name="Freeform 1609"/>
            <p:cNvSpPr/>
            <p:nvPr/>
          </p:nvSpPr>
          <p:spPr bwMode="auto">
            <a:xfrm>
              <a:off x="8521700" y="2405063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1" name="Freeform 1610"/>
            <p:cNvSpPr/>
            <p:nvPr/>
          </p:nvSpPr>
          <p:spPr bwMode="auto">
            <a:xfrm>
              <a:off x="8382000" y="2333625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2" name="Freeform 1611"/>
            <p:cNvSpPr/>
            <p:nvPr/>
          </p:nvSpPr>
          <p:spPr bwMode="auto">
            <a:xfrm>
              <a:off x="8451850" y="2333625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3" name="Freeform 1613"/>
            <p:cNvSpPr/>
            <p:nvPr/>
          </p:nvSpPr>
          <p:spPr bwMode="auto">
            <a:xfrm>
              <a:off x="8521700" y="2333626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4" name="Freeform 1614"/>
            <p:cNvSpPr/>
            <p:nvPr/>
          </p:nvSpPr>
          <p:spPr bwMode="auto">
            <a:xfrm>
              <a:off x="8451850" y="2266951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5" name="Freeform 1615"/>
            <p:cNvSpPr/>
            <p:nvPr/>
          </p:nvSpPr>
          <p:spPr bwMode="auto">
            <a:xfrm>
              <a:off x="8521700" y="2266951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4 w 155"/>
                <a:gd name="T57" fmla="*/ 9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6" name="Freeform 1616"/>
            <p:cNvSpPr/>
            <p:nvPr/>
          </p:nvSpPr>
          <p:spPr bwMode="auto">
            <a:xfrm>
              <a:off x="8382000" y="226695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7" name="Freeform 1617"/>
            <p:cNvSpPr/>
            <p:nvPr/>
          </p:nvSpPr>
          <p:spPr bwMode="auto">
            <a:xfrm>
              <a:off x="8664575" y="240506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3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8" name="Freeform 1618"/>
            <p:cNvSpPr/>
            <p:nvPr/>
          </p:nvSpPr>
          <p:spPr bwMode="auto">
            <a:xfrm>
              <a:off x="8734425" y="24050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9 h 154"/>
                <a:gd name="T62" fmla="*/ 145 w 155"/>
                <a:gd name="T63" fmla="*/ 41 h 154"/>
                <a:gd name="T64" fmla="*/ 150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59" name="Freeform 1619"/>
            <p:cNvSpPr/>
            <p:nvPr/>
          </p:nvSpPr>
          <p:spPr bwMode="auto">
            <a:xfrm>
              <a:off x="8804275" y="24050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0" name="Freeform 1620"/>
            <p:cNvSpPr/>
            <p:nvPr/>
          </p:nvSpPr>
          <p:spPr bwMode="auto">
            <a:xfrm>
              <a:off x="8874125" y="24050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9 h 154"/>
                <a:gd name="T62" fmla="*/ 144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1" name="Freeform 1621"/>
            <p:cNvSpPr/>
            <p:nvPr/>
          </p:nvSpPr>
          <p:spPr bwMode="auto">
            <a:xfrm>
              <a:off x="8943975" y="24050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2" name="Freeform 1622"/>
            <p:cNvSpPr/>
            <p:nvPr/>
          </p:nvSpPr>
          <p:spPr bwMode="auto">
            <a:xfrm>
              <a:off x="9013825" y="24050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3" name="Freeform 1623"/>
            <p:cNvSpPr/>
            <p:nvPr/>
          </p:nvSpPr>
          <p:spPr bwMode="auto">
            <a:xfrm>
              <a:off x="9083675" y="24050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4" name="Freeform 1624"/>
            <p:cNvSpPr/>
            <p:nvPr/>
          </p:nvSpPr>
          <p:spPr bwMode="auto">
            <a:xfrm>
              <a:off x="9153525" y="24050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9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5" name="Freeform 1625"/>
            <p:cNvSpPr/>
            <p:nvPr/>
          </p:nvSpPr>
          <p:spPr bwMode="auto">
            <a:xfrm>
              <a:off x="8664575" y="2333626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6" name="Freeform 1626"/>
            <p:cNvSpPr/>
            <p:nvPr/>
          </p:nvSpPr>
          <p:spPr bwMode="auto">
            <a:xfrm>
              <a:off x="8734425" y="2333626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9 h 154"/>
                <a:gd name="T62" fmla="*/ 145 w 155"/>
                <a:gd name="T63" fmla="*/ 41 h 154"/>
                <a:gd name="T64" fmla="*/ 150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7" name="Freeform 1627"/>
            <p:cNvSpPr/>
            <p:nvPr/>
          </p:nvSpPr>
          <p:spPr bwMode="auto">
            <a:xfrm>
              <a:off x="8594725" y="24050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8" name="Freeform 1628"/>
            <p:cNvSpPr/>
            <p:nvPr/>
          </p:nvSpPr>
          <p:spPr bwMode="auto">
            <a:xfrm>
              <a:off x="8594725" y="2333626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69" name="Freeform 1629"/>
            <p:cNvSpPr/>
            <p:nvPr/>
          </p:nvSpPr>
          <p:spPr bwMode="auto">
            <a:xfrm>
              <a:off x="8804275" y="233362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0" name="Freeform 1630"/>
            <p:cNvSpPr/>
            <p:nvPr/>
          </p:nvSpPr>
          <p:spPr bwMode="auto">
            <a:xfrm>
              <a:off x="8874125" y="2333626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4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1" name="Freeform 1631"/>
            <p:cNvSpPr/>
            <p:nvPr/>
          </p:nvSpPr>
          <p:spPr bwMode="auto">
            <a:xfrm>
              <a:off x="8943975" y="233362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2" name="Freeform 1632"/>
            <p:cNvSpPr/>
            <p:nvPr/>
          </p:nvSpPr>
          <p:spPr bwMode="auto">
            <a:xfrm>
              <a:off x="9013825" y="233362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3" name="Freeform 1633"/>
            <p:cNvSpPr/>
            <p:nvPr/>
          </p:nvSpPr>
          <p:spPr bwMode="auto">
            <a:xfrm>
              <a:off x="9083675" y="233362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4" name="Freeform 1634"/>
            <p:cNvSpPr/>
            <p:nvPr/>
          </p:nvSpPr>
          <p:spPr bwMode="auto">
            <a:xfrm>
              <a:off x="9153525" y="233362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9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5" name="Freeform 1635"/>
            <p:cNvSpPr/>
            <p:nvPr/>
          </p:nvSpPr>
          <p:spPr bwMode="auto">
            <a:xfrm>
              <a:off x="8382000" y="25495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6" name="Freeform 1636"/>
            <p:cNvSpPr/>
            <p:nvPr/>
          </p:nvSpPr>
          <p:spPr bwMode="auto">
            <a:xfrm>
              <a:off x="8451850" y="254952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7" name="Freeform 1637"/>
            <p:cNvSpPr/>
            <p:nvPr/>
          </p:nvSpPr>
          <p:spPr bwMode="auto">
            <a:xfrm>
              <a:off x="8521700" y="254952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8" name="Freeform 1638"/>
            <p:cNvSpPr/>
            <p:nvPr/>
          </p:nvSpPr>
          <p:spPr bwMode="auto">
            <a:xfrm>
              <a:off x="8382000" y="24780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79" name="Freeform 1639"/>
            <p:cNvSpPr/>
            <p:nvPr/>
          </p:nvSpPr>
          <p:spPr bwMode="auto">
            <a:xfrm>
              <a:off x="8451850" y="24780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0" name="Freeform 1640"/>
            <p:cNvSpPr/>
            <p:nvPr/>
          </p:nvSpPr>
          <p:spPr bwMode="auto">
            <a:xfrm>
              <a:off x="8521700" y="24780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1" name="Freeform 1641"/>
            <p:cNvSpPr/>
            <p:nvPr/>
          </p:nvSpPr>
          <p:spPr bwMode="auto">
            <a:xfrm>
              <a:off x="8664575" y="25495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2" name="Freeform 1642"/>
            <p:cNvSpPr/>
            <p:nvPr/>
          </p:nvSpPr>
          <p:spPr bwMode="auto">
            <a:xfrm>
              <a:off x="8734425" y="25495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8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3" name="Freeform 1643"/>
            <p:cNvSpPr/>
            <p:nvPr/>
          </p:nvSpPr>
          <p:spPr bwMode="auto">
            <a:xfrm>
              <a:off x="8804275" y="25495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4" name="Freeform 1644"/>
            <p:cNvSpPr/>
            <p:nvPr/>
          </p:nvSpPr>
          <p:spPr bwMode="auto">
            <a:xfrm>
              <a:off x="8874125" y="25495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5" name="Freeform 1645"/>
            <p:cNvSpPr/>
            <p:nvPr/>
          </p:nvSpPr>
          <p:spPr bwMode="auto">
            <a:xfrm>
              <a:off x="8943975" y="25495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6" name="Freeform 1646"/>
            <p:cNvSpPr/>
            <p:nvPr/>
          </p:nvSpPr>
          <p:spPr bwMode="auto">
            <a:xfrm>
              <a:off x="9013825" y="25495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7" name="Freeform 1647"/>
            <p:cNvSpPr/>
            <p:nvPr/>
          </p:nvSpPr>
          <p:spPr bwMode="auto">
            <a:xfrm>
              <a:off x="9083675" y="25495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8" name="Freeform 1648"/>
            <p:cNvSpPr/>
            <p:nvPr/>
          </p:nvSpPr>
          <p:spPr bwMode="auto">
            <a:xfrm>
              <a:off x="9153525" y="25495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89" name="Freeform 1649"/>
            <p:cNvSpPr/>
            <p:nvPr/>
          </p:nvSpPr>
          <p:spPr bwMode="auto">
            <a:xfrm>
              <a:off x="8664575" y="24780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0" name="Freeform 1650"/>
            <p:cNvSpPr/>
            <p:nvPr/>
          </p:nvSpPr>
          <p:spPr bwMode="auto">
            <a:xfrm>
              <a:off x="8734425" y="24780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8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1" name="Freeform 1651"/>
            <p:cNvSpPr/>
            <p:nvPr/>
          </p:nvSpPr>
          <p:spPr bwMode="auto">
            <a:xfrm>
              <a:off x="8594725" y="25495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2" name="Freeform 1652"/>
            <p:cNvSpPr/>
            <p:nvPr/>
          </p:nvSpPr>
          <p:spPr bwMode="auto">
            <a:xfrm>
              <a:off x="8594725" y="24780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3" name="Freeform 1653"/>
            <p:cNvSpPr/>
            <p:nvPr/>
          </p:nvSpPr>
          <p:spPr bwMode="auto">
            <a:xfrm>
              <a:off x="8804275" y="24780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4" name="Freeform 1654"/>
            <p:cNvSpPr/>
            <p:nvPr/>
          </p:nvSpPr>
          <p:spPr bwMode="auto">
            <a:xfrm>
              <a:off x="8874125" y="24780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5" name="Freeform 1655"/>
            <p:cNvSpPr/>
            <p:nvPr/>
          </p:nvSpPr>
          <p:spPr bwMode="auto">
            <a:xfrm>
              <a:off x="8943975" y="24780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6" name="Freeform 1656"/>
            <p:cNvSpPr/>
            <p:nvPr/>
          </p:nvSpPr>
          <p:spPr bwMode="auto">
            <a:xfrm>
              <a:off x="9013825" y="24780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7" name="Freeform 1657"/>
            <p:cNvSpPr/>
            <p:nvPr/>
          </p:nvSpPr>
          <p:spPr bwMode="auto">
            <a:xfrm>
              <a:off x="9083675" y="24780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8" name="Freeform 1658"/>
            <p:cNvSpPr/>
            <p:nvPr/>
          </p:nvSpPr>
          <p:spPr bwMode="auto">
            <a:xfrm>
              <a:off x="9153525" y="24780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99" name="Freeform 1659"/>
            <p:cNvSpPr/>
            <p:nvPr/>
          </p:nvSpPr>
          <p:spPr bwMode="auto">
            <a:xfrm>
              <a:off x="9221788" y="219868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2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0" name="Freeform 1660"/>
            <p:cNvSpPr/>
            <p:nvPr/>
          </p:nvSpPr>
          <p:spPr bwMode="auto">
            <a:xfrm>
              <a:off x="9221788" y="2263776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1" name="Freeform 1661"/>
            <p:cNvSpPr/>
            <p:nvPr/>
          </p:nvSpPr>
          <p:spPr bwMode="auto">
            <a:xfrm>
              <a:off x="9221788" y="240506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2" name="Freeform 1662"/>
            <p:cNvSpPr/>
            <p:nvPr/>
          </p:nvSpPr>
          <p:spPr bwMode="auto">
            <a:xfrm>
              <a:off x="9221788" y="2333626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3" name="Freeform 1663"/>
            <p:cNvSpPr/>
            <p:nvPr/>
          </p:nvSpPr>
          <p:spPr bwMode="auto">
            <a:xfrm>
              <a:off x="9361488" y="2263776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3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4" name="Freeform 1664"/>
            <p:cNvSpPr/>
            <p:nvPr/>
          </p:nvSpPr>
          <p:spPr bwMode="auto">
            <a:xfrm>
              <a:off x="9361488" y="2333626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3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5" name="Freeform 1665"/>
            <p:cNvSpPr/>
            <p:nvPr/>
          </p:nvSpPr>
          <p:spPr bwMode="auto">
            <a:xfrm>
              <a:off x="9288463" y="22002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6" name="Freeform 1666"/>
            <p:cNvSpPr/>
            <p:nvPr/>
          </p:nvSpPr>
          <p:spPr bwMode="auto">
            <a:xfrm>
              <a:off x="9291638" y="233362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9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7" name="Freeform 1667"/>
            <p:cNvSpPr/>
            <p:nvPr/>
          </p:nvSpPr>
          <p:spPr bwMode="auto">
            <a:xfrm>
              <a:off x="9221788" y="24780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8" name="Freeform 1668"/>
            <p:cNvSpPr/>
            <p:nvPr/>
          </p:nvSpPr>
          <p:spPr bwMode="auto">
            <a:xfrm>
              <a:off x="8382000" y="2690813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09" name="Freeform 1669"/>
            <p:cNvSpPr/>
            <p:nvPr/>
          </p:nvSpPr>
          <p:spPr bwMode="auto">
            <a:xfrm>
              <a:off x="8451850" y="2690813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0" name="Freeform 1670"/>
            <p:cNvSpPr/>
            <p:nvPr/>
          </p:nvSpPr>
          <p:spPr bwMode="auto">
            <a:xfrm>
              <a:off x="8521700" y="2690813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5 h 154"/>
                <a:gd name="T42" fmla="*/ 23 w 153"/>
                <a:gd name="T43" fmla="*/ 23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1" name="Freeform 1671"/>
            <p:cNvSpPr/>
            <p:nvPr/>
          </p:nvSpPr>
          <p:spPr bwMode="auto">
            <a:xfrm>
              <a:off x="8382000" y="26193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2" name="Freeform 1672"/>
            <p:cNvSpPr/>
            <p:nvPr/>
          </p:nvSpPr>
          <p:spPr bwMode="auto">
            <a:xfrm>
              <a:off x="8451850" y="261937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3" name="Freeform 1673"/>
            <p:cNvSpPr/>
            <p:nvPr/>
          </p:nvSpPr>
          <p:spPr bwMode="auto">
            <a:xfrm>
              <a:off x="8521700" y="261937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5 h 154"/>
                <a:gd name="T42" fmla="*/ 23 w 153"/>
                <a:gd name="T43" fmla="*/ 23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4" name="Freeform 1674"/>
            <p:cNvSpPr/>
            <p:nvPr/>
          </p:nvSpPr>
          <p:spPr bwMode="auto">
            <a:xfrm>
              <a:off x="8664575" y="2690813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3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5" name="Freeform 1675"/>
            <p:cNvSpPr/>
            <p:nvPr/>
          </p:nvSpPr>
          <p:spPr bwMode="auto">
            <a:xfrm>
              <a:off x="8734425" y="2690813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6" name="Freeform 1676"/>
            <p:cNvSpPr/>
            <p:nvPr/>
          </p:nvSpPr>
          <p:spPr bwMode="auto">
            <a:xfrm>
              <a:off x="8804275" y="269081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7" name="Freeform 1677"/>
            <p:cNvSpPr/>
            <p:nvPr/>
          </p:nvSpPr>
          <p:spPr bwMode="auto">
            <a:xfrm>
              <a:off x="8874125" y="2690813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8" name="Freeform 1678"/>
            <p:cNvSpPr/>
            <p:nvPr/>
          </p:nvSpPr>
          <p:spPr bwMode="auto">
            <a:xfrm>
              <a:off x="8943975" y="269081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19" name="Freeform 1679"/>
            <p:cNvSpPr/>
            <p:nvPr/>
          </p:nvSpPr>
          <p:spPr bwMode="auto">
            <a:xfrm>
              <a:off x="9083675" y="269081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0" name="Freeform 1680"/>
            <p:cNvSpPr/>
            <p:nvPr/>
          </p:nvSpPr>
          <p:spPr bwMode="auto">
            <a:xfrm>
              <a:off x="9153525" y="269081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1" name="Freeform 1681"/>
            <p:cNvSpPr/>
            <p:nvPr/>
          </p:nvSpPr>
          <p:spPr bwMode="auto">
            <a:xfrm>
              <a:off x="9150350" y="27574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2" name="Freeform 1682"/>
            <p:cNvSpPr/>
            <p:nvPr/>
          </p:nvSpPr>
          <p:spPr bwMode="auto">
            <a:xfrm>
              <a:off x="9221788" y="27574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3" name="Freeform 1683"/>
            <p:cNvSpPr/>
            <p:nvPr/>
          </p:nvSpPr>
          <p:spPr bwMode="auto">
            <a:xfrm>
              <a:off x="9502775" y="24780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4" name="Freeform 1684"/>
            <p:cNvSpPr/>
            <p:nvPr/>
          </p:nvSpPr>
          <p:spPr bwMode="auto">
            <a:xfrm>
              <a:off x="9502775" y="26114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5" name="Freeform 1685"/>
            <p:cNvSpPr/>
            <p:nvPr/>
          </p:nvSpPr>
          <p:spPr bwMode="auto">
            <a:xfrm>
              <a:off x="9436100" y="24780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6" name="Freeform 1686"/>
            <p:cNvSpPr/>
            <p:nvPr/>
          </p:nvSpPr>
          <p:spPr bwMode="auto">
            <a:xfrm>
              <a:off x="9502775" y="2690813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7" name="Freeform 1687"/>
            <p:cNvSpPr/>
            <p:nvPr/>
          </p:nvSpPr>
          <p:spPr bwMode="auto">
            <a:xfrm>
              <a:off x="9501188" y="27574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8" name="Freeform 1688"/>
            <p:cNvSpPr/>
            <p:nvPr/>
          </p:nvSpPr>
          <p:spPr bwMode="auto">
            <a:xfrm>
              <a:off x="9437688" y="27574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3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29" name="Freeform 1689"/>
            <p:cNvSpPr/>
            <p:nvPr/>
          </p:nvSpPr>
          <p:spPr bwMode="auto">
            <a:xfrm>
              <a:off x="9361488" y="27574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3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0" name="Freeform 1690"/>
            <p:cNvSpPr/>
            <p:nvPr/>
          </p:nvSpPr>
          <p:spPr bwMode="auto">
            <a:xfrm>
              <a:off x="8664575" y="261937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3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1" name="Freeform 1691"/>
            <p:cNvSpPr/>
            <p:nvPr/>
          </p:nvSpPr>
          <p:spPr bwMode="auto">
            <a:xfrm>
              <a:off x="8734425" y="26193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8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2" name="Freeform 1692"/>
            <p:cNvSpPr/>
            <p:nvPr/>
          </p:nvSpPr>
          <p:spPr bwMode="auto">
            <a:xfrm>
              <a:off x="8594725" y="2690813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3" name="Freeform 1693"/>
            <p:cNvSpPr/>
            <p:nvPr/>
          </p:nvSpPr>
          <p:spPr bwMode="auto">
            <a:xfrm>
              <a:off x="8594725" y="26193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4" name="Freeform 1694"/>
            <p:cNvSpPr/>
            <p:nvPr/>
          </p:nvSpPr>
          <p:spPr bwMode="auto">
            <a:xfrm>
              <a:off x="8804275" y="26193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5" name="Freeform 1695"/>
            <p:cNvSpPr/>
            <p:nvPr/>
          </p:nvSpPr>
          <p:spPr bwMode="auto">
            <a:xfrm>
              <a:off x="8874125" y="26193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6" name="Freeform 1696"/>
            <p:cNvSpPr/>
            <p:nvPr/>
          </p:nvSpPr>
          <p:spPr bwMode="auto">
            <a:xfrm>
              <a:off x="8943975" y="26193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6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7" name="Freeform 1697"/>
            <p:cNvSpPr/>
            <p:nvPr/>
          </p:nvSpPr>
          <p:spPr bwMode="auto">
            <a:xfrm>
              <a:off x="8382000" y="28273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8" name="Freeform 1698"/>
            <p:cNvSpPr/>
            <p:nvPr/>
          </p:nvSpPr>
          <p:spPr bwMode="auto">
            <a:xfrm>
              <a:off x="8451850" y="28273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39" name="Freeform 1699"/>
            <p:cNvSpPr/>
            <p:nvPr/>
          </p:nvSpPr>
          <p:spPr bwMode="auto">
            <a:xfrm>
              <a:off x="8521700" y="282733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3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0" name="Freeform 1700"/>
            <p:cNvSpPr/>
            <p:nvPr/>
          </p:nvSpPr>
          <p:spPr bwMode="auto">
            <a:xfrm>
              <a:off x="8382000" y="27574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1" name="Freeform 1701"/>
            <p:cNvSpPr/>
            <p:nvPr/>
          </p:nvSpPr>
          <p:spPr bwMode="auto">
            <a:xfrm>
              <a:off x="8451850" y="275748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2" name="Freeform 1702"/>
            <p:cNvSpPr/>
            <p:nvPr/>
          </p:nvSpPr>
          <p:spPr bwMode="auto">
            <a:xfrm>
              <a:off x="8521700" y="275748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3" name="Freeform 1703"/>
            <p:cNvSpPr/>
            <p:nvPr/>
          </p:nvSpPr>
          <p:spPr bwMode="auto">
            <a:xfrm>
              <a:off x="8664575" y="28273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4" name="Freeform 1704"/>
            <p:cNvSpPr/>
            <p:nvPr/>
          </p:nvSpPr>
          <p:spPr bwMode="auto">
            <a:xfrm>
              <a:off x="8734425" y="28273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0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5" name="Freeform 1705"/>
            <p:cNvSpPr/>
            <p:nvPr/>
          </p:nvSpPr>
          <p:spPr bwMode="auto">
            <a:xfrm>
              <a:off x="8804275" y="28273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3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6" name="Freeform 1706"/>
            <p:cNvSpPr/>
            <p:nvPr/>
          </p:nvSpPr>
          <p:spPr bwMode="auto">
            <a:xfrm>
              <a:off x="8874125" y="28273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7" name="Freeform 1707"/>
            <p:cNvSpPr/>
            <p:nvPr/>
          </p:nvSpPr>
          <p:spPr bwMode="auto">
            <a:xfrm>
              <a:off x="8943975" y="28273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8" name="Freeform 1708"/>
            <p:cNvSpPr/>
            <p:nvPr/>
          </p:nvSpPr>
          <p:spPr bwMode="auto">
            <a:xfrm>
              <a:off x="8664575" y="27574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49" name="Freeform 1709"/>
            <p:cNvSpPr/>
            <p:nvPr/>
          </p:nvSpPr>
          <p:spPr bwMode="auto">
            <a:xfrm>
              <a:off x="8734425" y="27574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0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0" name="Freeform 1710"/>
            <p:cNvSpPr/>
            <p:nvPr/>
          </p:nvSpPr>
          <p:spPr bwMode="auto">
            <a:xfrm>
              <a:off x="8594725" y="28273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1" name="Freeform 1711"/>
            <p:cNvSpPr/>
            <p:nvPr/>
          </p:nvSpPr>
          <p:spPr bwMode="auto">
            <a:xfrm>
              <a:off x="8594725" y="27574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2" name="Freeform 1712"/>
            <p:cNvSpPr/>
            <p:nvPr/>
          </p:nvSpPr>
          <p:spPr bwMode="auto">
            <a:xfrm>
              <a:off x="8804275" y="27574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3" name="Freeform 1713"/>
            <p:cNvSpPr/>
            <p:nvPr/>
          </p:nvSpPr>
          <p:spPr bwMode="auto">
            <a:xfrm>
              <a:off x="8874125" y="27574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4" name="Freeform 1714"/>
            <p:cNvSpPr/>
            <p:nvPr/>
          </p:nvSpPr>
          <p:spPr bwMode="auto">
            <a:xfrm>
              <a:off x="8943975" y="27574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5" name="Freeform 1715"/>
            <p:cNvSpPr/>
            <p:nvPr/>
          </p:nvSpPr>
          <p:spPr bwMode="auto">
            <a:xfrm>
              <a:off x="8382000" y="2971801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6" name="Freeform 1716"/>
            <p:cNvSpPr/>
            <p:nvPr/>
          </p:nvSpPr>
          <p:spPr bwMode="auto">
            <a:xfrm>
              <a:off x="8451850" y="2971801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7" name="Freeform 1717"/>
            <p:cNvSpPr/>
            <p:nvPr/>
          </p:nvSpPr>
          <p:spPr bwMode="auto">
            <a:xfrm>
              <a:off x="8521700" y="2971801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8" name="Freeform 1718"/>
            <p:cNvSpPr/>
            <p:nvPr/>
          </p:nvSpPr>
          <p:spPr bwMode="auto">
            <a:xfrm>
              <a:off x="8382000" y="29019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59" name="Freeform 1719"/>
            <p:cNvSpPr/>
            <p:nvPr/>
          </p:nvSpPr>
          <p:spPr bwMode="auto">
            <a:xfrm>
              <a:off x="8451850" y="290195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0" name="Freeform 1720"/>
            <p:cNvSpPr/>
            <p:nvPr/>
          </p:nvSpPr>
          <p:spPr bwMode="auto">
            <a:xfrm>
              <a:off x="8521700" y="2901951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1" name="Freeform 1721"/>
            <p:cNvSpPr/>
            <p:nvPr/>
          </p:nvSpPr>
          <p:spPr bwMode="auto">
            <a:xfrm>
              <a:off x="8664575" y="2971801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2" name="Freeform 1722"/>
            <p:cNvSpPr/>
            <p:nvPr/>
          </p:nvSpPr>
          <p:spPr bwMode="auto">
            <a:xfrm>
              <a:off x="8734425" y="2971801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0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3" name="Freeform 1723"/>
            <p:cNvSpPr/>
            <p:nvPr/>
          </p:nvSpPr>
          <p:spPr bwMode="auto">
            <a:xfrm>
              <a:off x="8804275" y="29718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4" name="Freeform 1724"/>
            <p:cNvSpPr/>
            <p:nvPr/>
          </p:nvSpPr>
          <p:spPr bwMode="auto">
            <a:xfrm>
              <a:off x="8874125" y="2971801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5" name="Freeform 1725"/>
            <p:cNvSpPr/>
            <p:nvPr/>
          </p:nvSpPr>
          <p:spPr bwMode="auto">
            <a:xfrm>
              <a:off x="8943975" y="29718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6" name="Freeform 1726"/>
            <p:cNvSpPr/>
            <p:nvPr/>
          </p:nvSpPr>
          <p:spPr bwMode="auto">
            <a:xfrm>
              <a:off x="8664575" y="290195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2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7" name="Freeform 1727"/>
            <p:cNvSpPr/>
            <p:nvPr/>
          </p:nvSpPr>
          <p:spPr bwMode="auto">
            <a:xfrm>
              <a:off x="8734425" y="29019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8 w 155"/>
                <a:gd name="T25" fmla="*/ 136 h 155"/>
                <a:gd name="T26" fmla="*/ 18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0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8" name="Freeform 1728"/>
            <p:cNvSpPr/>
            <p:nvPr/>
          </p:nvSpPr>
          <p:spPr bwMode="auto">
            <a:xfrm>
              <a:off x="8594725" y="2971801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69" name="Freeform 1729"/>
            <p:cNvSpPr/>
            <p:nvPr/>
          </p:nvSpPr>
          <p:spPr bwMode="auto">
            <a:xfrm>
              <a:off x="8594725" y="29019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0" name="Freeform 1730"/>
            <p:cNvSpPr/>
            <p:nvPr/>
          </p:nvSpPr>
          <p:spPr bwMode="auto">
            <a:xfrm>
              <a:off x="8804275" y="2901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1" name="Freeform 1731"/>
            <p:cNvSpPr/>
            <p:nvPr/>
          </p:nvSpPr>
          <p:spPr bwMode="auto">
            <a:xfrm>
              <a:off x="8874125" y="29019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2" name="Freeform 1732"/>
            <p:cNvSpPr/>
            <p:nvPr/>
          </p:nvSpPr>
          <p:spPr bwMode="auto">
            <a:xfrm>
              <a:off x="8943975" y="2901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3" name="Freeform 1733"/>
            <p:cNvSpPr/>
            <p:nvPr/>
          </p:nvSpPr>
          <p:spPr bwMode="auto">
            <a:xfrm>
              <a:off x="8382000" y="31130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4" name="Freeform 1734"/>
            <p:cNvSpPr/>
            <p:nvPr/>
          </p:nvSpPr>
          <p:spPr bwMode="auto">
            <a:xfrm>
              <a:off x="8451850" y="311308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5" name="Freeform 1735"/>
            <p:cNvSpPr/>
            <p:nvPr/>
          </p:nvSpPr>
          <p:spPr bwMode="auto">
            <a:xfrm>
              <a:off x="8521700" y="311308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6" name="Freeform 1736"/>
            <p:cNvSpPr/>
            <p:nvPr/>
          </p:nvSpPr>
          <p:spPr bwMode="auto">
            <a:xfrm>
              <a:off x="8382000" y="30432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7" name="Freeform 1737"/>
            <p:cNvSpPr/>
            <p:nvPr/>
          </p:nvSpPr>
          <p:spPr bwMode="auto">
            <a:xfrm>
              <a:off x="8451850" y="30432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8" name="Freeform 1738"/>
            <p:cNvSpPr/>
            <p:nvPr/>
          </p:nvSpPr>
          <p:spPr bwMode="auto">
            <a:xfrm>
              <a:off x="8521700" y="30432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79" name="Freeform 1739"/>
            <p:cNvSpPr/>
            <p:nvPr/>
          </p:nvSpPr>
          <p:spPr bwMode="auto">
            <a:xfrm>
              <a:off x="8664575" y="311308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0" name="Freeform 1740"/>
            <p:cNvSpPr/>
            <p:nvPr/>
          </p:nvSpPr>
          <p:spPr bwMode="auto">
            <a:xfrm>
              <a:off x="8734425" y="31130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0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1" name="Freeform 1741"/>
            <p:cNvSpPr/>
            <p:nvPr/>
          </p:nvSpPr>
          <p:spPr bwMode="auto">
            <a:xfrm>
              <a:off x="8804275" y="31130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2" name="Freeform 1742"/>
            <p:cNvSpPr/>
            <p:nvPr/>
          </p:nvSpPr>
          <p:spPr bwMode="auto">
            <a:xfrm>
              <a:off x="8874125" y="31130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3" name="Freeform 1743"/>
            <p:cNvSpPr/>
            <p:nvPr/>
          </p:nvSpPr>
          <p:spPr bwMode="auto">
            <a:xfrm>
              <a:off x="8943975" y="31130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4" name="Freeform 1744"/>
            <p:cNvSpPr/>
            <p:nvPr/>
          </p:nvSpPr>
          <p:spPr bwMode="auto">
            <a:xfrm>
              <a:off x="8664575" y="30432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5" name="Freeform 1745"/>
            <p:cNvSpPr/>
            <p:nvPr/>
          </p:nvSpPr>
          <p:spPr bwMode="auto">
            <a:xfrm>
              <a:off x="8734425" y="30432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0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6" name="Freeform 1746"/>
            <p:cNvSpPr/>
            <p:nvPr/>
          </p:nvSpPr>
          <p:spPr bwMode="auto">
            <a:xfrm>
              <a:off x="8594725" y="31130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7" name="Freeform 1747"/>
            <p:cNvSpPr/>
            <p:nvPr/>
          </p:nvSpPr>
          <p:spPr bwMode="auto">
            <a:xfrm>
              <a:off x="8594725" y="30432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8" name="Freeform 1748"/>
            <p:cNvSpPr/>
            <p:nvPr/>
          </p:nvSpPr>
          <p:spPr bwMode="auto">
            <a:xfrm>
              <a:off x="8804275" y="30432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89" name="Freeform 1749"/>
            <p:cNvSpPr/>
            <p:nvPr/>
          </p:nvSpPr>
          <p:spPr bwMode="auto">
            <a:xfrm>
              <a:off x="8874125" y="30432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0" name="Freeform 1750"/>
            <p:cNvSpPr/>
            <p:nvPr/>
          </p:nvSpPr>
          <p:spPr bwMode="auto">
            <a:xfrm>
              <a:off x="8943975" y="30432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1" name="Freeform 1751"/>
            <p:cNvSpPr/>
            <p:nvPr/>
          </p:nvSpPr>
          <p:spPr bwMode="auto">
            <a:xfrm>
              <a:off x="9012238" y="29718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2" name="Freeform 1752"/>
            <p:cNvSpPr/>
            <p:nvPr/>
          </p:nvSpPr>
          <p:spPr bwMode="auto">
            <a:xfrm>
              <a:off x="9069388" y="29718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3" name="Freeform 1753"/>
            <p:cNvSpPr/>
            <p:nvPr/>
          </p:nvSpPr>
          <p:spPr bwMode="auto">
            <a:xfrm>
              <a:off x="9102725" y="31829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4" name="Freeform 1754"/>
            <p:cNvSpPr/>
            <p:nvPr/>
          </p:nvSpPr>
          <p:spPr bwMode="auto">
            <a:xfrm>
              <a:off x="9153525" y="3384551"/>
              <a:ext cx="47625" cy="47625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5" name="Freeform 1755"/>
            <p:cNvSpPr/>
            <p:nvPr/>
          </p:nvSpPr>
          <p:spPr bwMode="auto">
            <a:xfrm>
              <a:off x="9153525" y="3457576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6" name="Freeform 1756"/>
            <p:cNvSpPr/>
            <p:nvPr/>
          </p:nvSpPr>
          <p:spPr bwMode="auto">
            <a:xfrm>
              <a:off x="9220200" y="3532188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7" name="Freeform 1757"/>
            <p:cNvSpPr/>
            <p:nvPr/>
          </p:nvSpPr>
          <p:spPr bwMode="auto">
            <a:xfrm>
              <a:off x="9293225" y="359410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2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8" name="Freeform 1758"/>
            <p:cNvSpPr/>
            <p:nvPr/>
          </p:nvSpPr>
          <p:spPr bwMode="auto">
            <a:xfrm>
              <a:off x="9234488" y="366395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3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3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99" name="Freeform 1759"/>
            <p:cNvSpPr/>
            <p:nvPr/>
          </p:nvSpPr>
          <p:spPr bwMode="auto">
            <a:xfrm>
              <a:off x="9082088" y="366395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0" name="Freeform 1760"/>
            <p:cNvSpPr/>
            <p:nvPr/>
          </p:nvSpPr>
          <p:spPr bwMode="auto">
            <a:xfrm>
              <a:off x="9291638" y="3735388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1" name="Freeform 1761"/>
            <p:cNvSpPr/>
            <p:nvPr/>
          </p:nvSpPr>
          <p:spPr bwMode="auto">
            <a:xfrm>
              <a:off x="9351963" y="3735388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2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2" name="Freeform 1762"/>
            <p:cNvSpPr/>
            <p:nvPr/>
          </p:nvSpPr>
          <p:spPr bwMode="auto">
            <a:xfrm>
              <a:off x="9012238" y="2901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3" name="Freeform 1763"/>
            <p:cNvSpPr/>
            <p:nvPr/>
          </p:nvSpPr>
          <p:spPr bwMode="auto">
            <a:xfrm>
              <a:off x="9012238" y="31130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4" name="Freeform 1764"/>
            <p:cNvSpPr/>
            <p:nvPr/>
          </p:nvSpPr>
          <p:spPr bwMode="auto">
            <a:xfrm>
              <a:off x="9012238" y="30432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5" name="Freeform 1765"/>
            <p:cNvSpPr/>
            <p:nvPr/>
          </p:nvSpPr>
          <p:spPr bwMode="auto">
            <a:xfrm>
              <a:off x="8382000" y="3246438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2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6" name="Freeform 1766"/>
            <p:cNvSpPr/>
            <p:nvPr/>
          </p:nvSpPr>
          <p:spPr bwMode="auto">
            <a:xfrm>
              <a:off x="8451850" y="3246438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7" name="Freeform 1767"/>
            <p:cNvSpPr/>
            <p:nvPr/>
          </p:nvSpPr>
          <p:spPr bwMode="auto">
            <a:xfrm>
              <a:off x="8521700" y="3246438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0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8" name="Freeform 1768"/>
            <p:cNvSpPr/>
            <p:nvPr/>
          </p:nvSpPr>
          <p:spPr bwMode="auto">
            <a:xfrm>
              <a:off x="8382000" y="31750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09" name="Freeform 1769"/>
            <p:cNvSpPr/>
            <p:nvPr/>
          </p:nvSpPr>
          <p:spPr bwMode="auto">
            <a:xfrm>
              <a:off x="8451850" y="3175001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0" name="Freeform 1770"/>
            <p:cNvSpPr/>
            <p:nvPr/>
          </p:nvSpPr>
          <p:spPr bwMode="auto">
            <a:xfrm>
              <a:off x="8521700" y="3175001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4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1" name="Freeform 1771"/>
            <p:cNvSpPr/>
            <p:nvPr/>
          </p:nvSpPr>
          <p:spPr bwMode="auto">
            <a:xfrm>
              <a:off x="8664575" y="3246438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2" name="Freeform 1772"/>
            <p:cNvSpPr/>
            <p:nvPr/>
          </p:nvSpPr>
          <p:spPr bwMode="auto">
            <a:xfrm>
              <a:off x="8734425" y="3246438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0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3" name="Freeform 1773"/>
            <p:cNvSpPr/>
            <p:nvPr/>
          </p:nvSpPr>
          <p:spPr bwMode="auto">
            <a:xfrm>
              <a:off x="8804275" y="3246438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4" name="Freeform 1774"/>
            <p:cNvSpPr/>
            <p:nvPr/>
          </p:nvSpPr>
          <p:spPr bwMode="auto">
            <a:xfrm>
              <a:off x="8664575" y="3175001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3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5" name="Freeform 1775"/>
            <p:cNvSpPr/>
            <p:nvPr/>
          </p:nvSpPr>
          <p:spPr bwMode="auto">
            <a:xfrm>
              <a:off x="8734425" y="31750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0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6" name="Freeform 1776"/>
            <p:cNvSpPr/>
            <p:nvPr/>
          </p:nvSpPr>
          <p:spPr bwMode="auto">
            <a:xfrm>
              <a:off x="8594725" y="3246438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7" name="Freeform 1777"/>
            <p:cNvSpPr/>
            <p:nvPr/>
          </p:nvSpPr>
          <p:spPr bwMode="auto">
            <a:xfrm>
              <a:off x="8594725" y="31750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8" name="Freeform 1778"/>
            <p:cNvSpPr/>
            <p:nvPr/>
          </p:nvSpPr>
          <p:spPr bwMode="auto">
            <a:xfrm>
              <a:off x="8804275" y="31750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19" name="Freeform 1779"/>
            <p:cNvSpPr/>
            <p:nvPr/>
          </p:nvSpPr>
          <p:spPr bwMode="auto">
            <a:xfrm>
              <a:off x="8874125" y="31750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0" name="Freeform 1780"/>
            <p:cNvSpPr/>
            <p:nvPr/>
          </p:nvSpPr>
          <p:spPr bwMode="auto">
            <a:xfrm>
              <a:off x="8943975" y="31750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1" name="Freeform 1781"/>
            <p:cNvSpPr/>
            <p:nvPr/>
          </p:nvSpPr>
          <p:spPr bwMode="auto">
            <a:xfrm>
              <a:off x="9288463" y="436403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2" name="Freeform 1782"/>
            <p:cNvSpPr/>
            <p:nvPr/>
          </p:nvSpPr>
          <p:spPr bwMode="auto">
            <a:xfrm>
              <a:off x="9429750" y="4000501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3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3" name="Freeform 1783"/>
            <p:cNvSpPr/>
            <p:nvPr/>
          </p:nvSpPr>
          <p:spPr bwMode="auto">
            <a:xfrm>
              <a:off x="9429750" y="393858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9 w 155"/>
                <a:gd name="T29" fmla="*/ 114 h 154"/>
                <a:gd name="T30" fmla="*/ 3 w 155"/>
                <a:gd name="T31" fmla="*/ 100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3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4" name="Freeform 1784"/>
            <p:cNvSpPr/>
            <p:nvPr/>
          </p:nvSpPr>
          <p:spPr bwMode="auto">
            <a:xfrm>
              <a:off x="9501188" y="45021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2 h 155"/>
                <a:gd name="T22" fmla="*/ 41 w 155"/>
                <a:gd name="T23" fmla="*/ 145 h 155"/>
                <a:gd name="T24" fmla="*/ 28 w 155"/>
                <a:gd name="T25" fmla="*/ 137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3 w 155"/>
                <a:gd name="T41" fmla="*/ 34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8 h 155"/>
                <a:gd name="T62" fmla="*/ 145 w 155"/>
                <a:gd name="T63" fmla="*/ 41 h 155"/>
                <a:gd name="T64" fmla="*/ 152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5" name="Freeform 1785"/>
            <p:cNvSpPr/>
            <p:nvPr/>
          </p:nvSpPr>
          <p:spPr bwMode="auto">
            <a:xfrm>
              <a:off x="9571038" y="45021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2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8 h 155"/>
                <a:gd name="T62" fmla="*/ 145 w 154"/>
                <a:gd name="T63" fmla="*/ 41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2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6" name="Freeform 1786"/>
            <p:cNvSpPr/>
            <p:nvPr/>
          </p:nvSpPr>
          <p:spPr bwMode="auto">
            <a:xfrm>
              <a:off x="9363075" y="45021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2 h 155"/>
                <a:gd name="T22" fmla="*/ 40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8 h 155"/>
                <a:gd name="T62" fmla="*/ 146 w 155"/>
                <a:gd name="T63" fmla="*/ 41 h 155"/>
                <a:gd name="T64" fmla="*/ 152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2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2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7" name="Freeform 1787"/>
            <p:cNvSpPr/>
            <p:nvPr/>
          </p:nvSpPr>
          <p:spPr bwMode="auto">
            <a:xfrm>
              <a:off x="9571038" y="44307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8" name="Freeform 1788"/>
            <p:cNvSpPr/>
            <p:nvPr/>
          </p:nvSpPr>
          <p:spPr bwMode="auto">
            <a:xfrm>
              <a:off x="9642475" y="44307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29" name="Freeform 1789"/>
            <p:cNvSpPr/>
            <p:nvPr/>
          </p:nvSpPr>
          <p:spPr bwMode="auto">
            <a:xfrm>
              <a:off x="9288463" y="4646613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0" name="Freeform 1790"/>
            <p:cNvSpPr/>
            <p:nvPr/>
          </p:nvSpPr>
          <p:spPr bwMode="auto">
            <a:xfrm>
              <a:off x="9288463" y="45751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1" name="Freeform 1791"/>
            <p:cNvSpPr/>
            <p:nvPr/>
          </p:nvSpPr>
          <p:spPr bwMode="auto">
            <a:xfrm>
              <a:off x="9432925" y="4646613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2" name="Freeform 1792"/>
            <p:cNvSpPr/>
            <p:nvPr/>
          </p:nvSpPr>
          <p:spPr bwMode="auto">
            <a:xfrm>
              <a:off x="9501188" y="4646613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1 w 155"/>
                <a:gd name="T23" fmla="*/ 145 h 154"/>
                <a:gd name="T24" fmla="*/ 28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2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3" name="Freeform 1793"/>
            <p:cNvSpPr/>
            <p:nvPr/>
          </p:nvSpPr>
          <p:spPr bwMode="auto">
            <a:xfrm>
              <a:off x="9571038" y="4646613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4" name="Freeform 1794"/>
            <p:cNvSpPr/>
            <p:nvPr/>
          </p:nvSpPr>
          <p:spPr bwMode="auto">
            <a:xfrm>
              <a:off x="9642475" y="4646613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5" name="Freeform 1795"/>
            <p:cNvSpPr/>
            <p:nvPr/>
          </p:nvSpPr>
          <p:spPr bwMode="auto">
            <a:xfrm>
              <a:off x="9712325" y="4081463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6" name="Freeform 1796"/>
            <p:cNvSpPr/>
            <p:nvPr/>
          </p:nvSpPr>
          <p:spPr bwMode="auto">
            <a:xfrm>
              <a:off x="9572625" y="4081463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7" name="Freeform 1797"/>
            <p:cNvSpPr/>
            <p:nvPr/>
          </p:nvSpPr>
          <p:spPr bwMode="auto">
            <a:xfrm>
              <a:off x="9432925" y="4575176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8" name="Freeform 1798"/>
            <p:cNvSpPr/>
            <p:nvPr/>
          </p:nvSpPr>
          <p:spPr bwMode="auto">
            <a:xfrm>
              <a:off x="9501188" y="4575176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9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1 w 155"/>
                <a:gd name="T23" fmla="*/ 145 h 154"/>
                <a:gd name="T24" fmla="*/ 28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2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2 w 155"/>
                <a:gd name="T65" fmla="*/ 54 h 154"/>
                <a:gd name="T66" fmla="*/ 154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39" name="Freeform 1799"/>
            <p:cNvSpPr/>
            <p:nvPr/>
          </p:nvSpPr>
          <p:spPr bwMode="auto">
            <a:xfrm>
              <a:off x="9363075" y="4646613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2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0" name="Freeform 1800"/>
            <p:cNvSpPr/>
            <p:nvPr/>
          </p:nvSpPr>
          <p:spPr bwMode="auto">
            <a:xfrm>
              <a:off x="9363075" y="4575176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9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2 w 155"/>
                <a:gd name="T65" fmla="*/ 54 h 154"/>
                <a:gd name="T66" fmla="*/ 154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99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1" name="Freeform 1801"/>
            <p:cNvSpPr/>
            <p:nvPr/>
          </p:nvSpPr>
          <p:spPr bwMode="auto">
            <a:xfrm>
              <a:off x="9571038" y="45751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9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2" name="Freeform 1802"/>
            <p:cNvSpPr/>
            <p:nvPr/>
          </p:nvSpPr>
          <p:spPr bwMode="auto">
            <a:xfrm>
              <a:off x="9642475" y="4575176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9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3" name="Freeform 1803"/>
            <p:cNvSpPr/>
            <p:nvPr/>
          </p:nvSpPr>
          <p:spPr bwMode="auto">
            <a:xfrm>
              <a:off x="9288463" y="47863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4" name="Freeform 1804"/>
            <p:cNvSpPr/>
            <p:nvPr/>
          </p:nvSpPr>
          <p:spPr bwMode="auto">
            <a:xfrm>
              <a:off x="9288463" y="47164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5" name="Freeform 1805"/>
            <p:cNvSpPr/>
            <p:nvPr/>
          </p:nvSpPr>
          <p:spPr bwMode="auto">
            <a:xfrm>
              <a:off x="9432925" y="478631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6" name="Freeform 1806"/>
            <p:cNvSpPr/>
            <p:nvPr/>
          </p:nvSpPr>
          <p:spPr bwMode="auto">
            <a:xfrm>
              <a:off x="9501188" y="47863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1 w 155"/>
                <a:gd name="T23" fmla="*/ 145 h 154"/>
                <a:gd name="T24" fmla="*/ 28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2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2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2" y="55"/>
                  </a:lnTo>
                  <a:lnTo>
                    <a:pt x="153" y="61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7" name="Freeform 1807"/>
            <p:cNvSpPr/>
            <p:nvPr/>
          </p:nvSpPr>
          <p:spPr bwMode="auto">
            <a:xfrm>
              <a:off x="9571038" y="47863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1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8" name="Freeform 1808"/>
            <p:cNvSpPr/>
            <p:nvPr/>
          </p:nvSpPr>
          <p:spPr bwMode="auto">
            <a:xfrm>
              <a:off x="9642475" y="47863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49" name="Freeform 1809"/>
            <p:cNvSpPr/>
            <p:nvPr/>
          </p:nvSpPr>
          <p:spPr bwMode="auto">
            <a:xfrm>
              <a:off x="9432925" y="471646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0" name="Freeform 1810"/>
            <p:cNvSpPr/>
            <p:nvPr/>
          </p:nvSpPr>
          <p:spPr bwMode="auto">
            <a:xfrm>
              <a:off x="9501188" y="47164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1 w 155"/>
                <a:gd name="T23" fmla="*/ 145 h 154"/>
                <a:gd name="T24" fmla="*/ 28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2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1" name="Freeform 1811"/>
            <p:cNvSpPr/>
            <p:nvPr/>
          </p:nvSpPr>
          <p:spPr bwMode="auto">
            <a:xfrm>
              <a:off x="9363075" y="47863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2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2" y="55"/>
                  </a:lnTo>
                  <a:lnTo>
                    <a:pt x="153" y="61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2" name="Freeform 1812"/>
            <p:cNvSpPr/>
            <p:nvPr/>
          </p:nvSpPr>
          <p:spPr bwMode="auto">
            <a:xfrm>
              <a:off x="9363075" y="47164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2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3" name="Freeform 1814"/>
            <p:cNvSpPr/>
            <p:nvPr/>
          </p:nvSpPr>
          <p:spPr bwMode="auto">
            <a:xfrm>
              <a:off x="9571038" y="47164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4" name="Freeform 1815"/>
            <p:cNvSpPr/>
            <p:nvPr/>
          </p:nvSpPr>
          <p:spPr bwMode="auto">
            <a:xfrm>
              <a:off x="9642475" y="47164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5" name="Freeform 1816"/>
            <p:cNvSpPr/>
            <p:nvPr/>
          </p:nvSpPr>
          <p:spPr bwMode="auto">
            <a:xfrm>
              <a:off x="9712325" y="4152901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6" name="Freeform 1817"/>
            <p:cNvSpPr/>
            <p:nvPr/>
          </p:nvSpPr>
          <p:spPr bwMode="auto">
            <a:xfrm>
              <a:off x="9640888" y="415290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3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7" name="Freeform 1818"/>
            <p:cNvSpPr/>
            <p:nvPr/>
          </p:nvSpPr>
          <p:spPr bwMode="auto">
            <a:xfrm>
              <a:off x="9288463" y="4919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8" name="Freeform 1819"/>
            <p:cNvSpPr/>
            <p:nvPr/>
          </p:nvSpPr>
          <p:spPr bwMode="auto">
            <a:xfrm>
              <a:off x="9288463" y="48482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59" name="Freeform 1820"/>
            <p:cNvSpPr/>
            <p:nvPr/>
          </p:nvSpPr>
          <p:spPr bwMode="auto">
            <a:xfrm>
              <a:off x="9432925" y="491966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0" name="Freeform 1821"/>
            <p:cNvSpPr/>
            <p:nvPr/>
          </p:nvSpPr>
          <p:spPr bwMode="auto">
            <a:xfrm>
              <a:off x="9501188" y="49196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1 w 155"/>
                <a:gd name="T23" fmla="*/ 145 h 154"/>
                <a:gd name="T24" fmla="*/ 28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3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2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1" name="Freeform 1822"/>
            <p:cNvSpPr/>
            <p:nvPr/>
          </p:nvSpPr>
          <p:spPr bwMode="auto">
            <a:xfrm>
              <a:off x="9571038" y="4919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2" name="Freeform 1823"/>
            <p:cNvSpPr/>
            <p:nvPr/>
          </p:nvSpPr>
          <p:spPr bwMode="auto">
            <a:xfrm>
              <a:off x="9432925" y="484822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3" name="Freeform 1824"/>
            <p:cNvSpPr/>
            <p:nvPr/>
          </p:nvSpPr>
          <p:spPr bwMode="auto">
            <a:xfrm>
              <a:off x="9501188" y="48482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1 w 155"/>
                <a:gd name="T23" fmla="*/ 145 h 154"/>
                <a:gd name="T24" fmla="*/ 28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3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2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4" name="Freeform 1825"/>
            <p:cNvSpPr/>
            <p:nvPr/>
          </p:nvSpPr>
          <p:spPr bwMode="auto">
            <a:xfrm>
              <a:off x="9363075" y="49196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2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5" name="Freeform 1826"/>
            <p:cNvSpPr/>
            <p:nvPr/>
          </p:nvSpPr>
          <p:spPr bwMode="auto">
            <a:xfrm>
              <a:off x="9363075" y="48482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2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6" name="Freeform 1827"/>
            <p:cNvSpPr/>
            <p:nvPr/>
          </p:nvSpPr>
          <p:spPr bwMode="auto">
            <a:xfrm>
              <a:off x="9571038" y="48482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7" name="Freeform 1828"/>
            <p:cNvSpPr/>
            <p:nvPr/>
          </p:nvSpPr>
          <p:spPr bwMode="auto">
            <a:xfrm>
              <a:off x="9642475" y="48482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8" name="Freeform 1829"/>
            <p:cNvSpPr/>
            <p:nvPr/>
          </p:nvSpPr>
          <p:spPr bwMode="auto">
            <a:xfrm>
              <a:off x="9288463" y="49926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69" name="Freeform 1830"/>
            <p:cNvSpPr/>
            <p:nvPr/>
          </p:nvSpPr>
          <p:spPr bwMode="auto">
            <a:xfrm>
              <a:off x="9432925" y="49926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0" name="Freeform 1831"/>
            <p:cNvSpPr/>
            <p:nvPr/>
          </p:nvSpPr>
          <p:spPr bwMode="auto">
            <a:xfrm>
              <a:off x="9501188" y="49926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1 w 155"/>
                <a:gd name="T23" fmla="*/ 145 h 154"/>
                <a:gd name="T24" fmla="*/ 28 w 155"/>
                <a:gd name="T25" fmla="*/ 136 h 154"/>
                <a:gd name="T26" fmla="*/ 18 w 155"/>
                <a:gd name="T27" fmla="*/ 125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2 w 155"/>
                <a:gd name="T65" fmla="*/ 53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1" name="Freeform 1832"/>
            <p:cNvSpPr/>
            <p:nvPr/>
          </p:nvSpPr>
          <p:spPr bwMode="auto">
            <a:xfrm>
              <a:off x="9571038" y="49926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2" name="Freeform 1833"/>
            <p:cNvSpPr/>
            <p:nvPr/>
          </p:nvSpPr>
          <p:spPr bwMode="auto">
            <a:xfrm>
              <a:off x="9642475" y="49926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5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3" name="Freeform 1834"/>
            <p:cNvSpPr/>
            <p:nvPr/>
          </p:nvSpPr>
          <p:spPr bwMode="auto">
            <a:xfrm>
              <a:off x="9712325" y="49926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4" name="Freeform 1835"/>
            <p:cNvSpPr/>
            <p:nvPr/>
          </p:nvSpPr>
          <p:spPr bwMode="auto">
            <a:xfrm>
              <a:off x="9363075" y="49926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5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2 w 155"/>
                <a:gd name="T65" fmla="*/ 53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5" name="Freeform 1836"/>
            <p:cNvSpPr/>
            <p:nvPr/>
          </p:nvSpPr>
          <p:spPr bwMode="auto">
            <a:xfrm>
              <a:off x="9288463" y="5060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6" name="Freeform 1837"/>
            <p:cNvSpPr/>
            <p:nvPr/>
          </p:nvSpPr>
          <p:spPr bwMode="auto">
            <a:xfrm>
              <a:off x="9288463" y="51308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7" name="Freeform 1838"/>
            <p:cNvSpPr/>
            <p:nvPr/>
          </p:nvSpPr>
          <p:spPr bwMode="auto">
            <a:xfrm>
              <a:off x="9223375" y="4646613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8" name="Freeform 1839"/>
            <p:cNvSpPr/>
            <p:nvPr/>
          </p:nvSpPr>
          <p:spPr bwMode="auto">
            <a:xfrm>
              <a:off x="9223375" y="47863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79" name="Freeform 1840"/>
            <p:cNvSpPr/>
            <p:nvPr/>
          </p:nvSpPr>
          <p:spPr bwMode="auto">
            <a:xfrm>
              <a:off x="9223375" y="47164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0" name="Freeform 1841"/>
            <p:cNvSpPr/>
            <p:nvPr/>
          </p:nvSpPr>
          <p:spPr bwMode="auto">
            <a:xfrm>
              <a:off x="9223375" y="4919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1" name="Freeform 1842"/>
            <p:cNvSpPr/>
            <p:nvPr/>
          </p:nvSpPr>
          <p:spPr bwMode="auto">
            <a:xfrm>
              <a:off x="9223375" y="48482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2" name="Freeform 1843"/>
            <p:cNvSpPr/>
            <p:nvPr/>
          </p:nvSpPr>
          <p:spPr bwMode="auto">
            <a:xfrm>
              <a:off x="9223375" y="49926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3" name="Freeform 1844"/>
            <p:cNvSpPr/>
            <p:nvPr/>
          </p:nvSpPr>
          <p:spPr bwMode="auto">
            <a:xfrm>
              <a:off x="9223375" y="5060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4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4" name="Freeform 1845"/>
            <p:cNvSpPr/>
            <p:nvPr/>
          </p:nvSpPr>
          <p:spPr bwMode="auto">
            <a:xfrm>
              <a:off x="9223375" y="51308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5" name="Freeform 1846"/>
            <p:cNvSpPr/>
            <p:nvPr/>
          </p:nvSpPr>
          <p:spPr bwMode="auto">
            <a:xfrm>
              <a:off x="9150350" y="47863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6" name="Freeform 1847"/>
            <p:cNvSpPr/>
            <p:nvPr/>
          </p:nvSpPr>
          <p:spPr bwMode="auto">
            <a:xfrm>
              <a:off x="9150350" y="47164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7" name="Freeform 1848"/>
            <p:cNvSpPr/>
            <p:nvPr/>
          </p:nvSpPr>
          <p:spPr bwMode="auto">
            <a:xfrm>
              <a:off x="9150350" y="4919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8" name="Freeform 1849"/>
            <p:cNvSpPr/>
            <p:nvPr/>
          </p:nvSpPr>
          <p:spPr bwMode="auto">
            <a:xfrm>
              <a:off x="9150350" y="48482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89" name="Freeform 1850"/>
            <p:cNvSpPr/>
            <p:nvPr/>
          </p:nvSpPr>
          <p:spPr bwMode="auto">
            <a:xfrm>
              <a:off x="9150350" y="49926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0" name="Freeform 1851"/>
            <p:cNvSpPr/>
            <p:nvPr/>
          </p:nvSpPr>
          <p:spPr bwMode="auto">
            <a:xfrm>
              <a:off x="9150350" y="5060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1" name="Freeform 1852"/>
            <p:cNvSpPr/>
            <p:nvPr/>
          </p:nvSpPr>
          <p:spPr bwMode="auto">
            <a:xfrm>
              <a:off x="9150350" y="51308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2" name="Freeform 1853"/>
            <p:cNvSpPr/>
            <p:nvPr/>
          </p:nvSpPr>
          <p:spPr bwMode="auto">
            <a:xfrm>
              <a:off x="9080500" y="47863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3" name="Freeform 1854"/>
            <p:cNvSpPr/>
            <p:nvPr/>
          </p:nvSpPr>
          <p:spPr bwMode="auto">
            <a:xfrm>
              <a:off x="9080500" y="47164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4" name="Freeform 1855"/>
            <p:cNvSpPr/>
            <p:nvPr/>
          </p:nvSpPr>
          <p:spPr bwMode="auto">
            <a:xfrm>
              <a:off x="9080500" y="4919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5" name="Freeform 1856"/>
            <p:cNvSpPr/>
            <p:nvPr/>
          </p:nvSpPr>
          <p:spPr bwMode="auto">
            <a:xfrm>
              <a:off x="9080500" y="48482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6" name="Freeform 1857"/>
            <p:cNvSpPr/>
            <p:nvPr/>
          </p:nvSpPr>
          <p:spPr bwMode="auto">
            <a:xfrm>
              <a:off x="9080500" y="49926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7" name="Freeform 1858"/>
            <p:cNvSpPr/>
            <p:nvPr/>
          </p:nvSpPr>
          <p:spPr bwMode="auto">
            <a:xfrm>
              <a:off x="9080500" y="5060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8" name="Freeform 1859"/>
            <p:cNvSpPr/>
            <p:nvPr/>
          </p:nvSpPr>
          <p:spPr bwMode="auto">
            <a:xfrm>
              <a:off x="9080500" y="51308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99" name="Freeform 1860"/>
            <p:cNvSpPr/>
            <p:nvPr/>
          </p:nvSpPr>
          <p:spPr bwMode="auto">
            <a:xfrm>
              <a:off x="9012238" y="47863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0" name="Freeform 1861"/>
            <p:cNvSpPr/>
            <p:nvPr/>
          </p:nvSpPr>
          <p:spPr bwMode="auto">
            <a:xfrm>
              <a:off x="9012238" y="4919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1" name="Freeform 1862"/>
            <p:cNvSpPr/>
            <p:nvPr/>
          </p:nvSpPr>
          <p:spPr bwMode="auto">
            <a:xfrm>
              <a:off x="9012238" y="48482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2" name="Freeform 1863"/>
            <p:cNvSpPr/>
            <p:nvPr/>
          </p:nvSpPr>
          <p:spPr bwMode="auto">
            <a:xfrm>
              <a:off x="9012238" y="49926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3" name="Freeform 1864"/>
            <p:cNvSpPr/>
            <p:nvPr/>
          </p:nvSpPr>
          <p:spPr bwMode="auto">
            <a:xfrm>
              <a:off x="9012238" y="5060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4" name="Freeform 1865"/>
            <p:cNvSpPr/>
            <p:nvPr/>
          </p:nvSpPr>
          <p:spPr bwMode="auto">
            <a:xfrm>
              <a:off x="9012238" y="51308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5" name="Freeform 1866"/>
            <p:cNvSpPr/>
            <p:nvPr/>
          </p:nvSpPr>
          <p:spPr bwMode="auto">
            <a:xfrm>
              <a:off x="8942388" y="478631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6" name="Freeform 1867"/>
            <p:cNvSpPr/>
            <p:nvPr/>
          </p:nvSpPr>
          <p:spPr bwMode="auto">
            <a:xfrm>
              <a:off x="8942388" y="491966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7" name="Freeform 1868"/>
            <p:cNvSpPr/>
            <p:nvPr/>
          </p:nvSpPr>
          <p:spPr bwMode="auto">
            <a:xfrm>
              <a:off x="8942388" y="484822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8" name="Freeform 1869"/>
            <p:cNvSpPr/>
            <p:nvPr/>
          </p:nvSpPr>
          <p:spPr bwMode="auto">
            <a:xfrm>
              <a:off x="8942388" y="49926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09" name="Freeform 1870"/>
            <p:cNvSpPr/>
            <p:nvPr/>
          </p:nvSpPr>
          <p:spPr bwMode="auto">
            <a:xfrm>
              <a:off x="8942388" y="506095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0" name="Freeform 1871"/>
            <p:cNvSpPr/>
            <p:nvPr/>
          </p:nvSpPr>
          <p:spPr bwMode="auto">
            <a:xfrm>
              <a:off x="8942388" y="513080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1" name="Freeform 1872"/>
            <p:cNvSpPr/>
            <p:nvPr/>
          </p:nvSpPr>
          <p:spPr bwMode="auto">
            <a:xfrm>
              <a:off x="8870950" y="4919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2" name="Freeform 1873"/>
            <p:cNvSpPr/>
            <p:nvPr/>
          </p:nvSpPr>
          <p:spPr bwMode="auto">
            <a:xfrm>
              <a:off x="8870950" y="48482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3" name="Freeform 1874"/>
            <p:cNvSpPr/>
            <p:nvPr/>
          </p:nvSpPr>
          <p:spPr bwMode="auto">
            <a:xfrm>
              <a:off x="8870950" y="49926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4" name="Freeform 1875"/>
            <p:cNvSpPr/>
            <p:nvPr/>
          </p:nvSpPr>
          <p:spPr bwMode="auto">
            <a:xfrm>
              <a:off x="8870950" y="5060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5" name="Freeform 1876"/>
            <p:cNvSpPr/>
            <p:nvPr/>
          </p:nvSpPr>
          <p:spPr bwMode="auto">
            <a:xfrm>
              <a:off x="8870950" y="51308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6" name="Freeform 1877"/>
            <p:cNvSpPr/>
            <p:nvPr/>
          </p:nvSpPr>
          <p:spPr bwMode="auto">
            <a:xfrm>
              <a:off x="9012238" y="520382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7" name="Freeform 1878"/>
            <p:cNvSpPr/>
            <p:nvPr/>
          </p:nvSpPr>
          <p:spPr bwMode="auto">
            <a:xfrm>
              <a:off x="8942388" y="5203826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8" name="Freeform 1879"/>
            <p:cNvSpPr/>
            <p:nvPr/>
          </p:nvSpPr>
          <p:spPr bwMode="auto">
            <a:xfrm>
              <a:off x="8870950" y="520382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19" name="Freeform 1880"/>
            <p:cNvSpPr/>
            <p:nvPr/>
          </p:nvSpPr>
          <p:spPr bwMode="auto">
            <a:xfrm>
              <a:off x="9432925" y="513080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0" name="Freeform 1881"/>
            <p:cNvSpPr/>
            <p:nvPr/>
          </p:nvSpPr>
          <p:spPr bwMode="auto">
            <a:xfrm>
              <a:off x="9501188" y="513080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1 w 155"/>
                <a:gd name="T23" fmla="*/ 146 h 155"/>
                <a:gd name="T24" fmla="*/ 28 w 155"/>
                <a:gd name="T25" fmla="*/ 136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2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1" name="Freeform 1882"/>
            <p:cNvSpPr/>
            <p:nvPr/>
          </p:nvSpPr>
          <p:spPr bwMode="auto">
            <a:xfrm>
              <a:off x="9571038" y="51308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2" name="Freeform 1883"/>
            <p:cNvSpPr/>
            <p:nvPr/>
          </p:nvSpPr>
          <p:spPr bwMode="auto">
            <a:xfrm>
              <a:off x="9642475" y="513080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3" name="Freeform 1884"/>
            <p:cNvSpPr/>
            <p:nvPr/>
          </p:nvSpPr>
          <p:spPr bwMode="auto">
            <a:xfrm>
              <a:off x="9712325" y="513080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4" name="Freeform 1885"/>
            <p:cNvSpPr/>
            <p:nvPr/>
          </p:nvSpPr>
          <p:spPr bwMode="auto">
            <a:xfrm>
              <a:off x="9432925" y="506095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8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5" name="Freeform 1886"/>
            <p:cNvSpPr/>
            <p:nvPr/>
          </p:nvSpPr>
          <p:spPr bwMode="auto">
            <a:xfrm>
              <a:off x="9501188" y="50609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1 w 155"/>
                <a:gd name="T23" fmla="*/ 144 h 155"/>
                <a:gd name="T24" fmla="*/ 28 w 155"/>
                <a:gd name="T25" fmla="*/ 136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8 h 155"/>
                <a:gd name="T62" fmla="*/ 145 w 155"/>
                <a:gd name="T63" fmla="*/ 40 h 155"/>
                <a:gd name="T64" fmla="*/ 152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6" name="Freeform 1887"/>
            <p:cNvSpPr/>
            <p:nvPr/>
          </p:nvSpPr>
          <p:spPr bwMode="auto">
            <a:xfrm>
              <a:off x="9363075" y="513080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6 w 155"/>
                <a:gd name="T63" fmla="*/ 40 h 155"/>
                <a:gd name="T64" fmla="*/ 152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7" name="Freeform 1888"/>
            <p:cNvSpPr/>
            <p:nvPr/>
          </p:nvSpPr>
          <p:spPr bwMode="auto">
            <a:xfrm>
              <a:off x="9363075" y="50609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8 h 155"/>
                <a:gd name="T62" fmla="*/ 146 w 155"/>
                <a:gd name="T63" fmla="*/ 40 h 155"/>
                <a:gd name="T64" fmla="*/ 152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8" name="Freeform 1889"/>
            <p:cNvSpPr/>
            <p:nvPr/>
          </p:nvSpPr>
          <p:spPr bwMode="auto">
            <a:xfrm>
              <a:off x="9571038" y="5060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29" name="Freeform 1890"/>
            <p:cNvSpPr/>
            <p:nvPr/>
          </p:nvSpPr>
          <p:spPr bwMode="auto">
            <a:xfrm>
              <a:off x="9642475" y="50609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0" name="Freeform 1891"/>
            <p:cNvSpPr/>
            <p:nvPr/>
          </p:nvSpPr>
          <p:spPr bwMode="auto">
            <a:xfrm>
              <a:off x="9712325" y="506095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4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1" name="Freeform 1892"/>
            <p:cNvSpPr/>
            <p:nvPr/>
          </p:nvSpPr>
          <p:spPr bwMode="auto">
            <a:xfrm>
              <a:off x="9571038" y="52752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6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2" name="Freeform 1893"/>
            <p:cNvSpPr/>
            <p:nvPr/>
          </p:nvSpPr>
          <p:spPr bwMode="auto">
            <a:xfrm>
              <a:off x="9642475" y="52752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6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3" name="Freeform 1894"/>
            <p:cNvSpPr/>
            <p:nvPr/>
          </p:nvSpPr>
          <p:spPr bwMode="auto">
            <a:xfrm>
              <a:off x="9712325" y="527526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6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4" name="Freeform 1895"/>
            <p:cNvSpPr/>
            <p:nvPr/>
          </p:nvSpPr>
          <p:spPr bwMode="auto">
            <a:xfrm>
              <a:off x="9432925" y="5205413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6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5" name="Freeform 1896"/>
            <p:cNvSpPr/>
            <p:nvPr/>
          </p:nvSpPr>
          <p:spPr bwMode="auto">
            <a:xfrm>
              <a:off x="9571038" y="520541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6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6" name="Freeform 1897"/>
            <p:cNvSpPr/>
            <p:nvPr/>
          </p:nvSpPr>
          <p:spPr bwMode="auto">
            <a:xfrm>
              <a:off x="9642475" y="5205413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5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6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7" name="Freeform 1898"/>
            <p:cNvSpPr/>
            <p:nvPr/>
          </p:nvSpPr>
          <p:spPr bwMode="auto">
            <a:xfrm>
              <a:off x="9712325" y="5205413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6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8" name="Freeform 1899"/>
            <p:cNvSpPr/>
            <p:nvPr/>
          </p:nvSpPr>
          <p:spPr bwMode="auto">
            <a:xfrm>
              <a:off x="9571038" y="53451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39" name="Freeform 1900"/>
            <p:cNvSpPr/>
            <p:nvPr/>
          </p:nvSpPr>
          <p:spPr bwMode="auto">
            <a:xfrm>
              <a:off x="9642475" y="53451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8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0" name="Freeform 1901"/>
            <p:cNvSpPr/>
            <p:nvPr/>
          </p:nvSpPr>
          <p:spPr bwMode="auto">
            <a:xfrm>
              <a:off x="9712325" y="53451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1" name="Freeform 1902"/>
            <p:cNvSpPr/>
            <p:nvPr/>
          </p:nvSpPr>
          <p:spPr bwMode="auto">
            <a:xfrm>
              <a:off x="9642475" y="54784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0 h 155"/>
                <a:gd name="T22" fmla="*/ 40 w 155"/>
                <a:gd name="T23" fmla="*/ 144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2" name="Freeform 1903"/>
            <p:cNvSpPr/>
            <p:nvPr/>
          </p:nvSpPr>
          <p:spPr bwMode="auto">
            <a:xfrm>
              <a:off x="10064750" y="4364038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9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8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3" name="Freeform 1904"/>
            <p:cNvSpPr/>
            <p:nvPr/>
          </p:nvSpPr>
          <p:spPr bwMode="auto">
            <a:xfrm>
              <a:off x="10136188" y="4364038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4" name="Freeform 1905"/>
            <p:cNvSpPr/>
            <p:nvPr/>
          </p:nvSpPr>
          <p:spPr bwMode="auto">
            <a:xfrm>
              <a:off x="9925050" y="45021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2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2 h 155"/>
                <a:gd name="T22" fmla="*/ 41 w 154"/>
                <a:gd name="T23" fmla="*/ 145 h 155"/>
                <a:gd name="T24" fmla="*/ 29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3 h 155"/>
                <a:gd name="T46" fmla="*/ 48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8 h 155"/>
                <a:gd name="T62" fmla="*/ 145 w 154"/>
                <a:gd name="T63" fmla="*/ 41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2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2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5" name="Freeform 1906"/>
            <p:cNvSpPr/>
            <p:nvPr/>
          </p:nvSpPr>
          <p:spPr bwMode="auto">
            <a:xfrm>
              <a:off x="9856788" y="450215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2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1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2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2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6" name="Freeform 1907"/>
            <p:cNvSpPr/>
            <p:nvPr/>
          </p:nvSpPr>
          <p:spPr bwMode="auto">
            <a:xfrm>
              <a:off x="9856788" y="44307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7" name="Freeform 1908"/>
            <p:cNvSpPr/>
            <p:nvPr/>
          </p:nvSpPr>
          <p:spPr bwMode="auto">
            <a:xfrm>
              <a:off x="9782175" y="4081463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3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3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3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8" name="Freeform 1909"/>
            <p:cNvSpPr/>
            <p:nvPr/>
          </p:nvSpPr>
          <p:spPr bwMode="auto">
            <a:xfrm>
              <a:off x="9925050" y="4646613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5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49" name="Freeform 1910"/>
            <p:cNvSpPr/>
            <p:nvPr/>
          </p:nvSpPr>
          <p:spPr bwMode="auto">
            <a:xfrm>
              <a:off x="9925050" y="45751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8 w 154"/>
                <a:gd name="T13" fmla="*/ 149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5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0" name="Freeform 1911"/>
            <p:cNvSpPr/>
            <p:nvPr/>
          </p:nvSpPr>
          <p:spPr bwMode="auto">
            <a:xfrm>
              <a:off x="9856788" y="4646613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1" name="Freeform 1912"/>
            <p:cNvSpPr/>
            <p:nvPr/>
          </p:nvSpPr>
          <p:spPr bwMode="auto">
            <a:xfrm>
              <a:off x="9856788" y="4575176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9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2" name="Freeform 1913"/>
            <p:cNvSpPr/>
            <p:nvPr/>
          </p:nvSpPr>
          <p:spPr bwMode="auto">
            <a:xfrm>
              <a:off x="9782175" y="422275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3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3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3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3" name="Freeform 1914"/>
            <p:cNvSpPr/>
            <p:nvPr/>
          </p:nvSpPr>
          <p:spPr bwMode="auto">
            <a:xfrm>
              <a:off x="9782175" y="415290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6 h 154"/>
                <a:gd name="T6" fmla="*/ 142 w 155"/>
                <a:gd name="T7" fmla="*/ 120 h 154"/>
                <a:gd name="T8" fmla="*/ 133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0 h 154"/>
                <a:gd name="T22" fmla="*/ 41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3 h 154"/>
                <a:gd name="T44" fmla="*/ 34 w 155"/>
                <a:gd name="T45" fmla="*/ 12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7 w 155"/>
                <a:gd name="T61" fmla="*/ 27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3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3" y="23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4" name="Freeform 1915"/>
            <p:cNvSpPr/>
            <p:nvPr/>
          </p:nvSpPr>
          <p:spPr bwMode="auto">
            <a:xfrm>
              <a:off x="9925050" y="47863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5" name="Freeform 1916"/>
            <p:cNvSpPr/>
            <p:nvPr/>
          </p:nvSpPr>
          <p:spPr bwMode="auto">
            <a:xfrm>
              <a:off x="9994900" y="478631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6" name="Freeform 1917"/>
            <p:cNvSpPr/>
            <p:nvPr/>
          </p:nvSpPr>
          <p:spPr bwMode="auto">
            <a:xfrm>
              <a:off x="9925050" y="47164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7" name="Freeform 1918"/>
            <p:cNvSpPr/>
            <p:nvPr/>
          </p:nvSpPr>
          <p:spPr bwMode="auto">
            <a:xfrm>
              <a:off x="9994900" y="471646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8" name="Freeform 1919"/>
            <p:cNvSpPr/>
            <p:nvPr/>
          </p:nvSpPr>
          <p:spPr bwMode="auto">
            <a:xfrm>
              <a:off x="9856788" y="478631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59" name="Freeform 1920"/>
            <p:cNvSpPr/>
            <p:nvPr/>
          </p:nvSpPr>
          <p:spPr bwMode="auto">
            <a:xfrm>
              <a:off x="9856788" y="471646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0" name="Freeform 1921"/>
            <p:cNvSpPr/>
            <p:nvPr/>
          </p:nvSpPr>
          <p:spPr bwMode="auto">
            <a:xfrm>
              <a:off x="9782175" y="428466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3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3" y="132"/>
                  </a:lnTo>
                  <a:lnTo>
                    <a:pt x="127" y="138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7" y="19"/>
                  </a:lnTo>
                  <a:lnTo>
                    <a:pt x="133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1" name="Freeform 1922"/>
            <p:cNvSpPr/>
            <p:nvPr/>
          </p:nvSpPr>
          <p:spPr bwMode="auto">
            <a:xfrm>
              <a:off x="9850438" y="422275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2" name="Freeform 1923"/>
            <p:cNvSpPr/>
            <p:nvPr/>
          </p:nvSpPr>
          <p:spPr bwMode="auto">
            <a:xfrm>
              <a:off x="9850438" y="415290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6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0 h 154"/>
                <a:gd name="T22" fmla="*/ 41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3 h 154"/>
                <a:gd name="T42" fmla="*/ 23 w 155"/>
                <a:gd name="T43" fmla="*/ 23 h 154"/>
                <a:gd name="T44" fmla="*/ 34 w 155"/>
                <a:gd name="T45" fmla="*/ 12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7 w 155"/>
                <a:gd name="T61" fmla="*/ 27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3" name="Freeform 1924"/>
            <p:cNvSpPr/>
            <p:nvPr/>
          </p:nvSpPr>
          <p:spPr bwMode="auto">
            <a:xfrm>
              <a:off x="9850438" y="428466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4" name="Freeform 1925"/>
            <p:cNvSpPr/>
            <p:nvPr/>
          </p:nvSpPr>
          <p:spPr bwMode="auto">
            <a:xfrm>
              <a:off x="9920288" y="422275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5" name="Freeform 1926"/>
            <p:cNvSpPr/>
            <p:nvPr/>
          </p:nvSpPr>
          <p:spPr bwMode="auto">
            <a:xfrm>
              <a:off x="9920288" y="415290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3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6" name="Freeform 1927"/>
            <p:cNvSpPr/>
            <p:nvPr/>
          </p:nvSpPr>
          <p:spPr bwMode="auto">
            <a:xfrm>
              <a:off x="9920288" y="428466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7" name="Freeform 1928"/>
            <p:cNvSpPr/>
            <p:nvPr/>
          </p:nvSpPr>
          <p:spPr bwMode="auto">
            <a:xfrm>
              <a:off x="9991725" y="422275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3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3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3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8" name="Freeform 1929"/>
            <p:cNvSpPr/>
            <p:nvPr/>
          </p:nvSpPr>
          <p:spPr bwMode="auto">
            <a:xfrm>
              <a:off x="9991725" y="428466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3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3" y="132"/>
                  </a:lnTo>
                  <a:lnTo>
                    <a:pt x="127" y="138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7" y="19"/>
                  </a:lnTo>
                  <a:lnTo>
                    <a:pt x="133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69" name="Freeform 1930"/>
            <p:cNvSpPr/>
            <p:nvPr/>
          </p:nvSpPr>
          <p:spPr bwMode="auto">
            <a:xfrm>
              <a:off x="10059988" y="428466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0" name="Freeform 1931"/>
            <p:cNvSpPr/>
            <p:nvPr/>
          </p:nvSpPr>
          <p:spPr bwMode="auto">
            <a:xfrm>
              <a:off x="10129838" y="422275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2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1" name="Freeform 1932"/>
            <p:cNvSpPr/>
            <p:nvPr/>
          </p:nvSpPr>
          <p:spPr bwMode="auto">
            <a:xfrm>
              <a:off x="10206038" y="4152901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2" name="Freeform 1933"/>
            <p:cNvSpPr/>
            <p:nvPr/>
          </p:nvSpPr>
          <p:spPr bwMode="auto">
            <a:xfrm>
              <a:off x="10258425" y="42275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3" name="Freeform 1934"/>
            <p:cNvSpPr/>
            <p:nvPr/>
          </p:nvSpPr>
          <p:spPr bwMode="auto">
            <a:xfrm>
              <a:off x="9925050" y="491966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2 h 154"/>
                <a:gd name="T10" fmla="*/ 121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4" name="Freeform 1935"/>
            <p:cNvSpPr/>
            <p:nvPr/>
          </p:nvSpPr>
          <p:spPr bwMode="auto">
            <a:xfrm>
              <a:off x="9994900" y="491966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5" name="Freeform 1936"/>
            <p:cNvSpPr/>
            <p:nvPr/>
          </p:nvSpPr>
          <p:spPr bwMode="auto">
            <a:xfrm>
              <a:off x="10064750" y="49196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6" name="Freeform 1937"/>
            <p:cNvSpPr/>
            <p:nvPr/>
          </p:nvSpPr>
          <p:spPr bwMode="auto">
            <a:xfrm>
              <a:off x="9925050" y="48482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1 h 154"/>
                <a:gd name="T8" fmla="*/ 132 w 154"/>
                <a:gd name="T9" fmla="*/ 132 h 154"/>
                <a:gd name="T10" fmla="*/ 121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7" name="Freeform 1938"/>
            <p:cNvSpPr/>
            <p:nvPr/>
          </p:nvSpPr>
          <p:spPr bwMode="auto">
            <a:xfrm>
              <a:off x="9994900" y="48482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8" name="Freeform 1939"/>
            <p:cNvSpPr/>
            <p:nvPr/>
          </p:nvSpPr>
          <p:spPr bwMode="auto">
            <a:xfrm>
              <a:off x="9856788" y="491966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79" name="Freeform 1940"/>
            <p:cNvSpPr/>
            <p:nvPr/>
          </p:nvSpPr>
          <p:spPr bwMode="auto">
            <a:xfrm>
              <a:off x="9639300" y="49196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0" name="Freeform 1941"/>
            <p:cNvSpPr/>
            <p:nvPr/>
          </p:nvSpPr>
          <p:spPr bwMode="auto">
            <a:xfrm>
              <a:off x="9710738" y="4646613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1" name="Freeform 1942"/>
            <p:cNvSpPr/>
            <p:nvPr/>
          </p:nvSpPr>
          <p:spPr bwMode="auto">
            <a:xfrm>
              <a:off x="9780588" y="4646613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2" name="Freeform 1943"/>
            <p:cNvSpPr/>
            <p:nvPr/>
          </p:nvSpPr>
          <p:spPr bwMode="auto">
            <a:xfrm>
              <a:off x="9710738" y="478631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1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3" name="Freeform 1944"/>
            <p:cNvSpPr/>
            <p:nvPr/>
          </p:nvSpPr>
          <p:spPr bwMode="auto">
            <a:xfrm>
              <a:off x="9780588" y="47863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4" name="Freeform 1945"/>
            <p:cNvSpPr/>
            <p:nvPr/>
          </p:nvSpPr>
          <p:spPr bwMode="auto">
            <a:xfrm>
              <a:off x="9710738" y="471646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5" name="Freeform 1946"/>
            <p:cNvSpPr/>
            <p:nvPr/>
          </p:nvSpPr>
          <p:spPr bwMode="auto">
            <a:xfrm>
              <a:off x="9780588" y="47164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6" name="Freeform 1947"/>
            <p:cNvSpPr/>
            <p:nvPr/>
          </p:nvSpPr>
          <p:spPr bwMode="auto">
            <a:xfrm>
              <a:off x="9710738" y="491966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7" name="Freeform 1948"/>
            <p:cNvSpPr/>
            <p:nvPr/>
          </p:nvSpPr>
          <p:spPr bwMode="auto">
            <a:xfrm>
              <a:off x="9710738" y="484822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8" name="Freeform 1949"/>
            <p:cNvSpPr/>
            <p:nvPr/>
          </p:nvSpPr>
          <p:spPr bwMode="auto">
            <a:xfrm>
              <a:off x="9780588" y="48482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89" name="Freeform 1950"/>
            <p:cNvSpPr/>
            <p:nvPr/>
          </p:nvSpPr>
          <p:spPr bwMode="auto">
            <a:xfrm>
              <a:off x="9777413" y="49196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0" name="Freeform 1951"/>
            <p:cNvSpPr/>
            <p:nvPr/>
          </p:nvSpPr>
          <p:spPr bwMode="auto">
            <a:xfrm>
              <a:off x="9856788" y="48482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1" name="Freeform 1952"/>
            <p:cNvSpPr/>
            <p:nvPr/>
          </p:nvSpPr>
          <p:spPr bwMode="auto">
            <a:xfrm>
              <a:off x="10064750" y="48482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2" name="Freeform 1953"/>
            <p:cNvSpPr/>
            <p:nvPr/>
          </p:nvSpPr>
          <p:spPr bwMode="auto">
            <a:xfrm>
              <a:off x="9782175" y="49926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3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5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8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3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3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3" name="Freeform 1954"/>
            <p:cNvSpPr/>
            <p:nvPr/>
          </p:nvSpPr>
          <p:spPr bwMode="auto">
            <a:xfrm>
              <a:off x="9925050" y="49926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5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4" name="Freeform 1955"/>
            <p:cNvSpPr/>
            <p:nvPr/>
          </p:nvSpPr>
          <p:spPr bwMode="auto">
            <a:xfrm>
              <a:off x="9994900" y="49926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5" name="Freeform 1956"/>
            <p:cNvSpPr/>
            <p:nvPr/>
          </p:nvSpPr>
          <p:spPr bwMode="auto">
            <a:xfrm>
              <a:off x="10064750" y="499268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6 h 154"/>
                <a:gd name="T26" fmla="*/ 19 w 155"/>
                <a:gd name="T27" fmla="*/ 125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4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8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2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6" name="Freeform 1957"/>
            <p:cNvSpPr/>
            <p:nvPr/>
          </p:nvSpPr>
          <p:spPr bwMode="auto">
            <a:xfrm>
              <a:off x="9856788" y="499268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7" name="Freeform 1958"/>
            <p:cNvSpPr/>
            <p:nvPr/>
          </p:nvSpPr>
          <p:spPr bwMode="auto">
            <a:xfrm>
              <a:off x="9782175" y="513080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3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8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3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3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8" name="Freeform 1959"/>
            <p:cNvSpPr/>
            <p:nvPr/>
          </p:nvSpPr>
          <p:spPr bwMode="auto">
            <a:xfrm>
              <a:off x="9782175" y="50609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7 h 155"/>
                <a:gd name="T6" fmla="*/ 142 w 155"/>
                <a:gd name="T7" fmla="*/ 120 h 155"/>
                <a:gd name="T8" fmla="*/ 133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4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8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7 h 155"/>
                <a:gd name="T60" fmla="*/ 137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3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3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99" name="Freeform 1960"/>
            <p:cNvSpPr/>
            <p:nvPr/>
          </p:nvSpPr>
          <p:spPr bwMode="auto">
            <a:xfrm>
              <a:off x="9925050" y="51308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8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7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0" name="Freeform 1961"/>
            <p:cNvSpPr/>
            <p:nvPr/>
          </p:nvSpPr>
          <p:spPr bwMode="auto">
            <a:xfrm>
              <a:off x="9994900" y="513080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1" name="Freeform 1962"/>
            <p:cNvSpPr/>
            <p:nvPr/>
          </p:nvSpPr>
          <p:spPr bwMode="auto">
            <a:xfrm>
              <a:off x="9925050" y="506095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2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4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8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7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2" name="Freeform 1963"/>
            <p:cNvSpPr/>
            <p:nvPr/>
          </p:nvSpPr>
          <p:spPr bwMode="auto">
            <a:xfrm>
              <a:off x="9994900" y="506095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3" name="Freeform 1964"/>
            <p:cNvSpPr/>
            <p:nvPr/>
          </p:nvSpPr>
          <p:spPr bwMode="auto">
            <a:xfrm>
              <a:off x="9856788" y="513080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4" name="Freeform 1965"/>
            <p:cNvSpPr/>
            <p:nvPr/>
          </p:nvSpPr>
          <p:spPr bwMode="auto">
            <a:xfrm>
              <a:off x="9856788" y="506095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1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5" name="Freeform 1966"/>
            <p:cNvSpPr/>
            <p:nvPr/>
          </p:nvSpPr>
          <p:spPr bwMode="auto">
            <a:xfrm>
              <a:off x="10064750" y="506095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4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8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6" name="Freeform 1967"/>
            <p:cNvSpPr/>
            <p:nvPr/>
          </p:nvSpPr>
          <p:spPr bwMode="auto">
            <a:xfrm>
              <a:off x="9782175" y="527526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3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6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8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7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3" y="131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6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3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7" name="Freeform 1968"/>
            <p:cNvSpPr/>
            <p:nvPr/>
          </p:nvSpPr>
          <p:spPr bwMode="auto">
            <a:xfrm>
              <a:off x="9782175" y="5205413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3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5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6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8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3" y="131"/>
                  </a:lnTo>
                  <a:lnTo>
                    <a:pt x="127" y="137"/>
                  </a:lnTo>
                  <a:lnTo>
                    <a:pt x="121" y="140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6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3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8" name="Freeform 1969"/>
            <p:cNvSpPr/>
            <p:nvPr/>
          </p:nvSpPr>
          <p:spPr bwMode="auto">
            <a:xfrm>
              <a:off x="9925050" y="520541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5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6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09" name="Freeform 1970"/>
            <p:cNvSpPr/>
            <p:nvPr/>
          </p:nvSpPr>
          <p:spPr bwMode="auto">
            <a:xfrm>
              <a:off x="9856788" y="527526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6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0" name="Freeform 1971"/>
            <p:cNvSpPr/>
            <p:nvPr/>
          </p:nvSpPr>
          <p:spPr bwMode="auto">
            <a:xfrm>
              <a:off x="9856788" y="5205413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6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1" name="Freeform 1972"/>
            <p:cNvSpPr/>
            <p:nvPr/>
          </p:nvSpPr>
          <p:spPr bwMode="auto">
            <a:xfrm>
              <a:off x="9782175" y="53451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3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8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7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3" y="131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3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2" name="Freeform 1973"/>
            <p:cNvSpPr/>
            <p:nvPr/>
          </p:nvSpPr>
          <p:spPr bwMode="auto">
            <a:xfrm>
              <a:off x="10263188" y="5548313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4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3" name="Freeform 1974"/>
            <p:cNvSpPr/>
            <p:nvPr/>
          </p:nvSpPr>
          <p:spPr bwMode="auto">
            <a:xfrm>
              <a:off x="10333038" y="5548313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7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3 w 153"/>
                <a:gd name="T43" fmla="*/ 23 h 153"/>
                <a:gd name="T44" fmla="*/ 34 w 153"/>
                <a:gd name="T45" fmla="*/ 14 h 153"/>
                <a:gd name="T46" fmla="*/ 47 w 153"/>
                <a:gd name="T47" fmla="*/ 6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4" name="Freeform 1975"/>
            <p:cNvSpPr/>
            <p:nvPr/>
          </p:nvSpPr>
          <p:spPr bwMode="auto">
            <a:xfrm>
              <a:off x="10193338" y="5622926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9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5" name="Freeform 1976"/>
            <p:cNvSpPr/>
            <p:nvPr/>
          </p:nvSpPr>
          <p:spPr bwMode="auto">
            <a:xfrm>
              <a:off x="10133013" y="5622926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7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8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6" name="Freeform 1977"/>
            <p:cNvSpPr/>
            <p:nvPr/>
          </p:nvSpPr>
          <p:spPr bwMode="auto">
            <a:xfrm>
              <a:off x="10617200" y="5337176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7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9 w 154"/>
                <a:gd name="T19" fmla="*/ 154 h 155"/>
                <a:gd name="T20" fmla="*/ 53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1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7" name="Freeform 1978"/>
            <p:cNvSpPr/>
            <p:nvPr/>
          </p:nvSpPr>
          <p:spPr bwMode="auto">
            <a:xfrm>
              <a:off x="10539413" y="4787901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1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5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8" name="Freeform 1979"/>
            <p:cNvSpPr/>
            <p:nvPr/>
          </p:nvSpPr>
          <p:spPr bwMode="auto">
            <a:xfrm>
              <a:off x="10958513" y="464185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19" name="Freeform 1980"/>
            <p:cNvSpPr/>
            <p:nvPr/>
          </p:nvSpPr>
          <p:spPr bwMode="auto">
            <a:xfrm>
              <a:off x="10480675" y="471328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39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39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39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0" name="Freeform 1981"/>
            <p:cNvSpPr/>
            <p:nvPr/>
          </p:nvSpPr>
          <p:spPr bwMode="auto">
            <a:xfrm>
              <a:off x="10547350" y="5411788"/>
              <a:ext cx="49213" cy="47625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5 h 154"/>
                <a:gd name="T28" fmla="*/ 9 w 155"/>
                <a:gd name="T29" fmla="*/ 113 h 154"/>
                <a:gd name="T30" fmla="*/ 3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6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3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1" name="Freeform 1982"/>
            <p:cNvSpPr/>
            <p:nvPr/>
          </p:nvSpPr>
          <p:spPr bwMode="auto">
            <a:xfrm>
              <a:off x="10404475" y="54784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4 w 155"/>
                <a:gd name="T21" fmla="*/ 150 h 155"/>
                <a:gd name="T22" fmla="*/ 40 w 155"/>
                <a:gd name="T23" fmla="*/ 144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6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2" name="Freeform 1983"/>
            <p:cNvSpPr/>
            <p:nvPr/>
          </p:nvSpPr>
          <p:spPr bwMode="auto">
            <a:xfrm>
              <a:off x="8382000" y="338931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3" name="Freeform 1984"/>
            <p:cNvSpPr/>
            <p:nvPr/>
          </p:nvSpPr>
          <p:spPr bwMode="auto">
            <a:xfrm>
              <a:off x="8451850" y="338931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4" name="Freeform 1985"/>
            <p:cNvSpPr/>
            <p:nvPr/>
          </p:nvSpPr>
          <p:spPr bwMode="auto">
            <a:xfrm>
              <a:off x="8521700" y="338931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5" name="Freeform 1986"/>
            <p:cNvSpPr/>
            <p:nvPr/>
          </p:nvSpPr>
          <p:spPr bwMode="auto">
            <a:xfrm>
              <a:off x="8382000" y="33194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6" name="Freeform 1987"/>
            <p:cNvSpPr/>
            <p:nvPr/>
          </p:nvSpPr>
          <p:spPr bwMode="auto">
            <a:xfrm>
              <a:off x="8451850" y="33194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7" name="Freeform 1988"/>
            <p:cNvSpPr/>
            <p:nvPr/>
          </p:nvSpPr>
          <p:spPr bwMode="auto">
            <a:xfrm>
              <a:off x="8521700" y="33194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8" name="Freeform 1989"/>
            <p:cNvSpPr/>
            <p:nvPr/>
          </p:nvSpPr>
          <p:spPr bwMode="auto">
            <a:xfrm>
              <a:off x="8664575" y="338931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2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29" name="Freeform 1990"/>
            <p:cNvSpPr/>
            <p:nvPr/>
          </p:nvSpPr>
          <p:spPr bwMode="auto">
            <a:xfrm>
              <a:off x="8594725" y="338931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0" name="Freeform 1991"/>
            <p:cNvSpPr/>
            <p:nvPr/>
          </p:nvSpPr>
          <p:spPr bwMode="auto">
            <a:xfrm>
              <a:off x="8594725" y="33194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7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1" name="Freeform 1992"/>
            <p:cNvSpPr/>
            <p:nvPr/>
          </p:nvSpPr>
          <p:spPr bwMode="auto">
            <a:xfrm>
              <a:off x="8939213" y="38782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5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3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4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2" name="Freeform 1993"/>
            <p:cNvSpPr/>
            <p:nvPr/>
          </p:nvSpPr>
          <p:spPr bwMode="auto">
            <a:xfrm>
              <a:off x="9009063" y="387826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3" name="Freeform 1994"/>
            <p:cNvSpPr/>
            <p:nvPr/>
          </p:nvSpPr>
          <p:spPr bwMode="auto">
            <a:xfrm>
              <a:off x="9078913" y="387826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4" name="Freeform 1995"/>
            <p:cNvSpPr/>
            <p:nvPr/>
          </p:nvSpPr>
          <p:spPr bwMode="auto">
            <a:xfrm>
              <a:off x="9078913" y="3810001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5" name="Freeform 1996"/>
            <p:cNvSpPr/>
            <p:nvPr/>
          </p:nvSpPr>
          <p:spPr bwMode="auto">
            <a:xfrm>
              <a:off x="8939213" y="4019551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5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3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6" name="Freeform 1997"/>
            <p:cNvSpPr/>
            <p:nvPr/>
          </p:nvSpPr>
          <p:spPr bwMode="auto">
            <a:xfrm>
              <a:off x="9009063" y="4019551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7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7" name="Freeform 1998"/>
            <p:cNvSpPr/>
            <p:nvPr/>
          </p:nvSpPr>
          <p:spPr bwMode="auto">
            <a:xfrm>
              <a:off x="9078913" y="4019551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8" name="Freeform 1999"/>
            <p:cNvSpPr/>
            <p:nvPr/>
          </p:nvSpPr>
          <p:spPr bwMode="auto">
            <a:xfrm>
              <a:off x="9150350" y="4019551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39" name="Freeform 2000"/>
            <p:cNvSpPr/>
            <p:nvPr/>
          </p:nvSpPr>
          <p:spPr bwMode="auto">
            <a:xfrm>
              <a:off x="9150350" y="4087813"/>
              <a:ext cx="47625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0" name="Freeform 2001"/>
            <p:cNvSpPr/>
            <p:nvPr/>
          </p:nvSpPr>
          <p:spPr bwMode="auto">
            <a:xfrm>
              <a:off x="9215438" y="4087813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1" name="Freeform 2002"/>
            <p:cNvSpPr/>
            <p:nvPr/>
          </p:nvSpPr>
          <p:spPr bwMode="auto">
            <a:xfrm>
              <a:off x="9150350" y="4152901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2" name="Freeform 2003"/>
            <p:cNvSpPr/>
            <p:nvPr/>
          </p:nvSpPr>
          <p:spPr bwMode="auto">
            <a:xfrm>
              <a:off x="9220200" y="415290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3" name="Freeform 2004"/>
            <p:cNvSpPr/>
            <p:nvPr/>
          </p:nvSpPr>
          <p:spPr bwMode="auto">
            <a:xfrm>
              <a:off x="8939213" y="39481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5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3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4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4" name="Freeform 2005"/>
            <p:cNvSpPr/>
            <p:nvPr/>
          </p:nvSpPr>
          <p:spPr bwMode="auto">
            <a:xfrm>
              <a:off x="9009063" y="394811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5" name="Freeform 2006"/>
            <p:cNvSpPr/>
            <p:nvPr/>
          </p:nvSpPr>
          <p:spPr bwMode="auto">
            <a:xfrm>
              <a:off x="8870950" y="4019551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6" name="Freeform 2007"/>
            <p:cNvSpPr/>
            <p:nvPr/>
          </p:nvSpPr>
          <p:spPr bwMode="auto">
            <a:xfrm>
              <a:off x="8870950" y="39481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7" name="Freeform 2008"/>
            <p:cNvSpPr/>
            <p:nvPr/>
          </p:nvSpPr>
          <p:spPr bwMode="auto">
            <a:xfrm>
              <a:off x="9078913" y="394811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8" name="Freeform 2009"/>
            <p:cNvSpPr/>
            <p:nvPr/>
          </p:nvSpPr>
          <p:spPr bwMode="auto">
            <a:xfrm>
              <a:off x="8939213" y="408146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49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5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3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49" name="Freeform 2010"/>
            <p:cNvSpPr/>
            <p:nvPr/>
          </p:nvSpPr>
          <p:spPr bwMode="auto">
            <a:xfrm>
              <a:off x="9009063" y="408146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0" name="Freeform 2011"/>
            <p:cNvSpPr/>
            <p:nvPr/>
          </p:nvSpPr>
          <p:spPr bwMode="auto">
            <a:xfrm>
              <a:off x="8870950" y="40814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1" name="Freeform 2012"/>
            <p:cNvSpPr/>
            <p:nvPr/>
          </p:nvSpPr>
          <p:spPr bwMode="auto">
            <a:xfrm>
              <a:off x="8939213" y="4291013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49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5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6 h 153"/>
                <a:gd name="T40" fmla="*/ 13 w 155"/>
                <a:gd name="T41" fmla="*/ 33 h 153"/>
                <a:gd name="T42" fmla="*/ 23 w 155"/>
                <a:gd name="T43" fmla="*/ 21 h 153"/>
                <a:gd name="T44" fmla="*/ 33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2" name="Freeform 2013"/>
            <p:cNvSpPr/>
            <p:nvPr/>
          </p:nvSpPr>
          <p:spPr bwMode="auto">
            <a:xfrm>
              <a:off x="8870950" y="429101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3" name="Freeform 2015"/>
            <p:cNvSpPr/>
            <p:nvPr/>
          </p:nvSpPr>
          <p:spPr bwMode="auto">
            <a:xfrm>
              <a:off x="8732838" y="42275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6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4" name="Freeform 2016"/>
            <p:cNvSpPr/>
            <p:nvPr/>
          </p:nvSpPr>
          <p:spPr bwMode="auto">
            <a:xfrm>
              <a:off x="8451850" y="35306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5" name="Freeform 2017"/>
            <p:cNvSpPr/>
            <p:nvPr/>
          </p:nvSpPr>
          <p:spPr bwMode="auto">
            <a:xfrm>
              <a:off x="8521700" y="353060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6" name="Freeform 2018"/>
            <p:cNvSpPr/>
            <p:nvPr/>
          </p:nvSpPr>
          <p:spPr bwMode="auto">
            <a:xfrm>
              <a:off x="8451850" y="3460750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7" name="Freeform 2019"/>
            <p:cNvSpPr/>
            <p:nvPr/>
          </p:nvSpPr>
          <p:spPr bwMode="auto">
            <a:xfrm>
              <a:off x="8521700" y="3460750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8" name="Freeform 2020"/>
            <p:cNvSpPr/>
            <p:nvPr/>
          </p:nvSpPr>
          <p:spPr bwMode="auto">
            <a:xfrm>
              <a:off x="8453438" y="39481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59" name="Freeform 2021"/>
            <p:cNvSpPr/>
            <p:nvPr/>
          </p:nvSpPr>
          <p:spPr bwMode="auto">
            <a:xfrm>
              <a:off x="8523288" y="39481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3 h 154"/>
                <a:gd name="T44" fmla="*/ 34 w 153"/>
                <a:gd name="T45" fmla="*/ 13 h 154"/>
                <a:gd name="T46" fmla="*/ 47 w 153"/>
                <a:gd name="T47" fmla="*/ 7 h 154"/>
                <a:gd name="T48" fmla="*/ 62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0" name="Freeform 2022"/>
            <p:cNvSpPr/>
            <p:nvPr/>
          </p:nvSpPr>
          <p:spPr bwMode="auto">
            <a:xfrm>
              <a:off x="8593138" y="39481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1" name="Freeform 2023"/>
            <p:cNvSpPr/>
            <p:nvPr/>
          </p:nvSpPr>
          <p:spPr bwMode="auto">
            <a:xfrm>
              <a:off x="8593138" y="407987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2" name="Freeform 2024"/>
            <p:cNvSpPr/>
            <p:nvPr/>
          </p:nvSpPr>
          <p:spPr bwMode="auto">
            <a:xfrm>
              <a:off x="8523288" y="40100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3" name="Freeform 2025"/>
            <p:cNvSpPr/>
            <p:nvPr/>
          </p:nvSpPr>
          <p:spPr bwMode="auto">
            <a:xfrm>
              <a:off x="8593138" y="40100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4" name="Freeform 2026"/>
            <p:cNvSpPr/>
            <p:nvPr/>
          </p:nvSpPr>
          <p:spPr bwMode="auto">
            <a:xfrm>
              <a:off x="8593138" y="4154488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5" name="Freeform 2027"/>
            <p:cNvSpPr/>
            <p:nvPr/>
          </p:nvSpPr>
          <p:spPr bwMode="auto">
            <a:xfrm>
              <a:off x="8661400" y="407987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6" name="Freeform 2028"/>
            <p:cNvSpPr/>
            <p:nvPr/>
          </p:nvSpPr>
          <p:spPr bwMode="auto">
            <a:xfrm>
              <a:off x="8661400" y="4154488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7" name="Freeform 2029"/>
            <p:cNvSpPr/>
            <p:nvPr/>
          </p:nvSpPr>
          <p:spPr bwMode="auto">
            <a:xfrm>
              <a:off x="8664575" y="353060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2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8" name="Freeform 2030"/>
            <p:cNvSpPr/>
            <p:nvPr/>
          </p:nvSpPr>
          <p:spPr bwMode="auto">
            <a:xfrm>
              <a:off x="8734425" y="35306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7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0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69" name="Freeform 2031"/>
            <p:cNvSpPr/>
            <p:nvPr/>
          </p:nvSpPr>
          <p:spPr bwMode="auto">
            <a:xfrm>
              <a:off x="8664575" y="346075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2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0" name="Freeform 2032"/>
            <p:cNvSpPr/>
            <p:nvPr/>
          </p:nvSpPr>
          <p:spPr bwMode="auto">
            <a:xfrm>
              <a:off x="8734425" y="346075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8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0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1" name="Freeform 2033"/>
            <p:cNvSpPr/>
            <p:nvPr/>
          </p:nvSpPr>
          <p:spPr bwMode="auto">
            <a:xfrm>
              <a:off x="8594725" y="35306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2" name="Freeform 2034"/>
            <p:cNvSpPr/>
            <p:nvPr/>
          </p:nvSpPr>
          <p:spPr bwMode="auto">
            <a:xfrm>
              <a:off x="8594725" y="346075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3" name="Freeform 2035"/>
            <p:cNvSpPr/>
            <p:nvPr/>
          </p:nvSpPr>
          <p:spPr bwMode="auto">
            <a:xfrm>
              <a:off x="8451850" y="359568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4" name="Freeform 2036"/>
            <p:cNvSpPr/>
            <p:nvPr/>
          </p:nvSpPr>
          <p:spPr bwMode="auto">
            <a:xfrm>
              <a:off x="8664575" y="359568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3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2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5" name="Freeform 2037"/>
            <p:cNvSpPr/>
            <p:nvPr/>
          </p:nvSpPr>
          <p:spPr bwMode="auto">
            <a:xfrm>
              <a:off x="8734425" y="3595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3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0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6" name="Freeform 2038"/>
            <p:cNvSpPr/>
            <p:nvPr/>
          </p:nvSpPr>
          <p:spPr bwMode="auto">
            <a:xfrm>
              <a:off x="8804275" y="359568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7" name="Freeform 2039"/>
            <p:cNvSpPr/>
            <p:nvPr/>
          </p:nvSpPr>
          <p:spPr bwMode="auto">
            <a:xfrm>
              <a:off x="8594725" y="359568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8" name="Freeform 2040"/>
            <p:cNvSpPr/>
            <p:nvPr/>
          </p:nvSpPr>
          <p:spPr bwMode="auto">
            <a:xfrm>
              <a:off x="8521700" y="374015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79" name="Freeform 2041"/>
            <p:cNvSpPr/>
            <p:nvPr/>
          </p:nvSpPr>
          <p:spPr bwMode="auto">
            <a:xfrm>
              <a:off x="8451850" y="3670300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0" name="Freeform 2042"/>
            <p:cNvSpPr/>
            <p:nvPr/>
          </p:nvSpPr>
          <p:spPr bwMode="auto">
            <a:xfrm>
              <a:off x="8451850" y="38814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1" name="Freeform 2043"/>
            <p:cNvSpPr/>
            <p:nvPr/>
          </p:nvSpPr>
          <p:spPr bwMode="auto">
            <a:xfrm>
              <a:off x="8521700" y="3811588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2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2" name="Freeform 2044"/>
            <p:cNvSpPr/>
            <p:nvPr/>
          </p:nvSpPr>
          <p:spPr bwMode="auto">
            <a:xfrm>
              <a:off x="8664575" y="36671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3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3" name="Freeform 2045"/>
            <p:cNvSpPr/>
            <p:nvPr/>
          </p:nvSpPr>
          <p:spPr bwMode="auto">
            <a:xfrm>
              <a:off x="8594725" y="38814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4" name="Freeform 2046"/>
            <p:cNvSpPr/>
            <p:nvPr/>
          </p:nvSpPr>
          <p:spPr bwMode="auto">
            <a:xfrm>
              <a:off x="8594725" y="381158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5" name="Freeform 2047"/>
            <p:cNvSpPr/>
            <p:nvPr/>
          </p:nvSpPr>
          <p:spPr bwMode="auto">
            <a:xfrm>
              <a:off x="9083675" y="261937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6" name="Freeform 2048"/>
            <p:cNvSpPr/>
            <p:nvPr/>
          </p:nvSpPr>
          <p:spPr bwMode="auto">
            <a:xfrm>
              <a:off x="8734425" y="22669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7" name="Freeform 2049"/>
            <p:cNvSpPr/>
            <p:nvPr/>
          </p:nvSpPr>
          <p:spPr bwMode="auto">
            <a:xfrm>
              <a:off x="8804275" y="22669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8" name="Freeform 2050"/>
            <p:cNvSpPr/>
            <p:nvPr/>
          </p:nvSpPr>
          <p:spPr bwMode="auto">
            <a:xfrm>
              <a:off x="8874125" y="22669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4 w 155"/>
                <a:gd name="T63" fmla="*/ 40 h 155"/>
                <a:gd name="T64" fmla="*/ 150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89" name="Freeform 2051"/>
            <p:cNvSpPr/>
            <p:nvPr/>
          </p:nvSpPr>
          <p:spPr bwMode="auto">
            <a:xfrm>
              <a:off x="8945563" y="22669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0" name="Freeform 2052"/>
            <p:cNvSpPr/>
            <p:nvPr/>
          </p:nvSpPr>
          <p:spPr bwMode="auto">
            <a:xfrm>
              <a:off x="9013825" y="22669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1" name="Freeform 2053"/>
            <p:cNvSpPr/>
            <p:nvPr/>
          </p:nvSpPr>
          <p:spPr bwMode="auto">
            <a:xfrm>
              <a:off x="8593138" y="22669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2" name="Freeform 2054"/>
            <p:cNvSpPr/>
            <p:nvPr/>
          </p:nvSpPr>
          <p:spPr bwMode="auto">
            <a:xfrm>
              <a:off x="8662988" y="22669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3" name="Freeform 2055"/>
            <p:cNvSpPr/>
            <p:nvPr/>
          </p:nvSpPr>
          <p:spPr bwMode="auto">
            <a:xfrm>
              <a:off x="9085263" y="1852613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4" name="Freeform 2056"/>
            <p:cNvSpPr/>
            <p:nvPr/>
          </p:nvSpPr>
          <p:spPr bwMode="auto">
            <a:xfrm>
              <a:off x="9085263" y="1922463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5" name="Freeform 2057"/>
            <p:cNvSpPr/>
            <p:nvPr/>
          </p:nvSpPr>
          <p:spPr bwMode="auto">
            <a:xfrm>
              <a:off x="9153525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6" name="Freeform 2058"/>
            <p:cNvSpPr/>
            <p:nvPr/>
          </p:nvSpPr>
          <p:spPr bwMode="auto">
            <a:xfrm>
              <a:off x="9153525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7" name="Freeform 2059"/>
            <p:cNvSpPr/>
            <p:nvPr/>
          </p:nvSpPr>
          <p:spPr bwMode="auto">
            <a:xfrm>
              <a:off x="8734425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5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8" name="Freeform 2060"/>
            <p:cNvSpPr/>
            <p:nvPr/>
          </p:nvSpPr>
          <p:spPr bwMode="auto">
            <a:xfrm>
              <a:off x="8734425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5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99" name="Freeform 2061"/>
            <p:cNvSpPr/>
            <p:nvPr/>
          </p:nvSpPr>
          <p:spPr bwMode="auto">
            <a:xfrm>
              <a:off x="8804275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0" name="Freeform 2062"/>
            <p:cNvSpPr/>
            <p:nvPr/>
          </p:nvSpPr>
          <p:spPr bwMode="auto">
            <a:xfrm>
              <a:off x="8804275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1" name="Freeform 2063"/>
            <p:cNvSpPr/>
            <p:nvPr/>
          </p:nvSpPr>
          <p:spPr bwMode="auto">
            <a:xfrm>
              <a:off x="8874125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0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2" name="Freeform 2064"/>
            <p:cNvSpPr/>
            <p:nvPr/>
          </p:nvSpPr>
          <p:spPr bwMode="auto">
            <a:xfrm>
              <a:off x="8874125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0 w 155"/>
                <a:gd name="T65" fmla="*/ 53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3" name="Freeform 2065"/>
            <p:cNvSpPr/>
            <p:nvPr/>
          </p:nvSpPr>
          <p:spPr bwMode="auto">
            <a:xfrm>
              <a:off x="8945563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1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8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4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4" name="Freeform 2066"/>
            <p:cNvSpPr/>
            <p:nvPr/>
          </p:nvSpPr>
          <p:spPr bwMode="auto">
            <a:xfrm>
              <a:off x="8945563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4" y="61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5" name="Freeform 2067"/>
            <p:cNvSpPr/>
            <p:nvPr/>
          </p:nvSpPr>
          <p:spPr bwMode="auto">
            <a:xfrm>
              <a:off x="9013825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2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6" name="Freeform 2068"/>
            <p:cNvSpPr/>
            <p:nvPr/>
          </p:nvSpPr>
          <p:spPr bwMode="auto">
            <a:xfrm>
              <a:off x="9013825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7" name="Freeform 2069"/>
            <p:cNvSpPr/>
            <p:nvPr/>
          </p:nvSpPr>
          <p:spPr bwMode="auto">
            <a:xfrm>
              <a:off x="8593138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8" name="Freeform 2070"/>
            <p:cNvSpPr/>
            <p:nvPr/>
          </p:nvSpPr>
          <p:spPr bwMode="auto">
            <a:xfrm>
              <a:off x="8593138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09" name="Freeform 2071"/>
            <p:cNvSpPr/>
            <p:nvPr/>
          </p:nvSpPr>
          <p:spPr bwMode="auto">
            <a:xfrm>
              <a:off x="8662988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0" name="Freeform 2072"/>
            <p:cNvSpPr/>
            <p:nvPr/>
          </p:nvSpPr>
          <p:spPr bwMode="auto">
            <a:xfrm>
              <a:off x="8662988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1" name="Freeform 2073"/>
            <p:cNvSpPr/>
            <p:nvPr/>
          </p:nvSpPr>
          <p:spPr bwMode="auto">
            <a:xfrm>
              <a:off x="9085263" y="170815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2" name="Freeform 2074"/>
            <p:cNvSpPr/>
            <p:nvPr/>
          </p:nvSpPr>
          <p:spPr bwMode="auto">
            <a:xfrm>
              <a:off x="9085263" y="1778000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3" name="Freeform 2075"/>
            <p:cNvSpPr/>
            <p:nvPr/>
          </p:nvSpPr>
          <p:spPr bwMode="auto">
            <a:xfrm>
              <a:off x="9153525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4" name="Freeform 2076"/>
            <p:cNvSpPr/>
            <p:nvPr/>
          </p:nvSpPr>
          <p:spPr bwMode="auto">
            <a:xfrm>
              <a:off x="9153525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5" name="Freeform 2077"/>
            <p:cNvSpPr/>
            <p:nvPr/>
          </p:nvSpPr>
          <p:spPr bwMode="auto">
            <a:xfrm>
              <a:off x="8734425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6" name="Freeform 2078"/>
            <p:cNvSpPr/>
            <p:nvPr/>
          </p:nvSpPr>
          <p:spPr bwMode="auto">
            <a:xfrm>
              <a:off x="8734425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7" name="Freeform 2079"/>
            <p:cNvSpPr/>
            <p:nvPr/>
          </p:nvSpPr>
          <p:spPr bwMode="auto">
            <a:xfrm>
              <a:off x="8804275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8" name="Freeform 2080"/>
            <p:cNvSpPr/>
            <p:nvPr/>
          </p:nvSpPr>
          <p:spPr bwMode="auto">
            <a:xfrm>
              <a:off x="8804275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19" name="Freeform 2081"/>
            <p:cNvSpPr/>
            <p:nvPr/>
          </p:nvSpPr>
          <p:spPr bwMode="auto">
            <a:xfrm>
              <a:off x="8874125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0" name="Freeform 2082"/>
            <p:cNvSpPr/>
            <p:nvPr/>
          </p:nvSpPr>
          <p:spPr bwMode="auto">
            <a:xfrm>
              <a:off x="8874125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0 h 155"/>
                <a:gd name="T64" fmla="*/ 150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1" name="Freeform 2083"/>
            <p:cNvSpPr/>
            <p:nvPr/>
          </p:nvSpPr>
          <p:spPr bwMode="auto">
            <a:xfrm>
              <a:off x="8945563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2" name="Freeform 2084"/>
            <p:cNvSpPr/>
            <p:nvPr/>
          </p:nvSpPr>
          <p:spPr bwMode="auto">
            <a:xfrm>
              <a:off x="8945563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3" name="Freeform 2085"/>
            <p:cNvSpPr/>
            <p:nvPr/>
          </p:nvSpPr>
          <p:spPr bwMode="auto">
            <a:xfrm>
              <a:off x="9013825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4" name="Freeform 2086"/>
            <p:cNvSpPr/>
            <p:nvPr/>
          </p:nvSpPr>
          <p:spPr bwMode="auto">
            <a:xfrm>
              <a:off x="9013825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5" name="Freeform 2087"/>
            <p:cNvSpPr/>
            <p:nvPr/>
          </p:nvSpPr>
          <p:spPr bwMode="auto">
            <a:xfrm>
              <a:off x="9221788" y="163830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6" name="Freeform 2088"/>
            <p:cNvSpPr/>
            <p:nvPr/>
          </p:nvSpPr>
          <p:spPr bwMode="auto">
            <a:xfrm>
              <a:off x="9291638" y="163830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7" name="Freeform 2089"/>
            <p:cNvSpPr/>
            <p:nvPr/>
          </p:nvSpPr>
          <p:spPr bwMode="auto">
            <a:xfrm>
              <a:off x="9363075" y="163830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8" name="Freeform 2090"/>
            <p:cNvSpPr/>
            <p:nvPr/>
          </p:nvSpPr>
          <p:spPr bwMode="auto">
            <a:xfrm>
              <a:off x="9432925" y="1638300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29" name="Freeform 2091"/>
            <p:cNvSpPr/>
            <p:nvPr/>
          </p:nvSpPr>
          <p:spPr bwMode="auto">
            <a:xfrm>
              <a:off x="9502775" y="1638300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2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8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0" name="Freeform 2092"/>
            <p:cNvSpPr/>
            <p:nvPr/>
          </p:nvSpPr>
          <p:spPr bwMode="auto">
            <a:xfrm>
              <a:off x="9571038" y="163830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2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8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1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1" name="Freeform 2093"/>
            <p:cNvSpPr/>
            <p:nvPr/>
          </p:nvSpPr>
          <p:spPr bwMode="auto">
            <a:xfrm>
              <a:off x="9572625" y="185261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20 h 153"/>
                <a:gd name="T8" fmla="*/ 130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2" name="Freeform 2094"/>
            <p:cNvSpPr/>
            <p:nvPr/>
          </p:nvSpPr>
          <p:spPr bwMode="auto">
            <a:xfrm>
              <a:off x="9572625" y="1922463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3" name="Freeform 2095"/>
            <p:cNvSpPr/>
            <p:nvPr/>
          </p:nvSpPr>
          <p:spPr bwMode="auto">
            <a:xfrm>
              <a:off x="9642475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4" name="Freeform 2096"/>
            <p:cNvSpPr/>
            <p:nvPr/>
          </p:nvSpPr>
          <p:spPr bwMode="auto">
            <a:xfrm>
              <a:off x="9642475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5" name="Freeform 2097"/>
            <p:cNvSpPr/>
            <p:nvPr/>
          </p:nvSpPr>
          <p:spPr bwMode="auto">
            <a:xfrm>
              <a:off x="9642475" y="20637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3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6" name="Freeform 2098"/>
            <p:cNvSpPr/>
            <p:nvPr/>
          </p:nvSpPr>
          <p:spPr bwMode="auto">
            <a:xfrm>
              <a:off x="9642475" y="213518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7" name="Freeform 2099"/>
            <p:cNvSpPr/>
            <p:nvPr/>
          </p:nvSpPr>
          <p:spPr bwMode="auto">
            <a:xfrm>
              <a:off x="9223375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8" name="Freeform 2100"/>
            <p:cNvSpPr/>
            <p:nvPr/>
          </p:nvSpPr>
          <p:spPr bwMode="auto">
            <a:xfrm>
              <a:off x="9223375" y="192246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39" name="Freeform 2101"/>
            <p:cNvSpPr/>
            <p:nvPr/>
          </p:nvSpPr>
          <p:spPr bwMode="auto">
            <a:xfrm>
              <a:off x="9293225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0" name="Freeform 2102"/>
            <p:cNvSpPr/>
            <p:nvPr/>
          </p:nvSpPr>
          <p:spPr bwMode="auto">
            <a:xfrm>
              <a:off x="9293225" y="19224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1" name="Freeform 2103"/>
            <p:cNvSpPr/>
            <p:nvPr/>
          </p:nvSpPr>
          <p:spPr bwMode="auto">
            <a:xfrm>
              <a:off x="9363075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5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2" name="Freeform 2104"/>
            <p:cNvSpPr/>
            <p:nvPr/>
          </p:nvSpPr>
          <p:spPr bwMode="auto">
            <a:xfrm>
              <a:off x="9432925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8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3" y="60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8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3" name="Freeform 2105"/>
            <p:cNvSpPr/>
            <p:nvPr/>
          </p:nvSpPr>
          <p:spPr bwMode="auto">
            <a:xfrm>
              <a:off x="9502775" y="185261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4" name="Freeform 2106"/>
            <p:cNvSpPr/>
            <p:nvPr/>
          </p:nvSpPr>
          <p:spPr bwMode="auto">
            <a:xfrm>
              <a:off x="9572625" y="17081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1 h 154"/>
                <a:gd name="T8" fmla="*/ 130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5" name="Freeform 2107"/>
            <p:cNvSpPr/>
            <p:nvPr/>
          </p:nvSpPr>
          <p:spPr bwMode="auto">
            <a:xfrm>
              <a:off x="9572625" y="17780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0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6" name="Freeform 2108"/>
            <p:cNvSpPr/>
            <p:nvPr/>
          </p:nvSpPr>
          <p:spPr bwMode="auto">
            <a:xfrm>
              <a:off x="9642475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7" name="Freeform 2109"/>
            <p:cNvSpPr/>
            <p:nvPr/>
          </p:nvSpPr>
          <p:spPr bwMode="auto">
            <a:xfrm>
              <a:off x="9642475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8" name="Freeform 2110"/>
            <p:cNvSpPr/>
            <p:nvPr/>
          </p:nvSpPr>
          <p:spPr bwMode="auto">
            <a:xfrm>
              <a:off x="9710738" y="1852613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1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49" name="Freeform 2111"/>
            <p:cNvSpPr/>
            <p:nvPr/>
          </p:nvSpPr>
          <p:spPr bwMode="auto">
            <a:xfrm>
              <a:off x="9780588" y="185261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0" name="Freeform 2112"/>
            <p:cNvSpPr/>
            <p:nvPr/>
          </p:nvSpPr>
          <p:spPr bwMode="auto">
            <a:xfrm>
              <a:off x="9845675" y="185261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8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8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1" name="Freeform 2113"/>
            <p:cNvSpPr/>
            <p:nvPr/>
          </p:nvSpPr>
          <p:spPr bwMode="auto">
            <a:xfrm>
              <a:off x="9920288" y="177800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4 w 154"/>
                <a:gd name="T53" fmla="*/ 0 h 153"/>
                <a:gd name="T54" fmla="*/ 101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2" name="Freeform 2114"/>
            <p:cNvSpPr/>
            <p:nvPr/>
          </p:nvSpPr>
          <p:spPr bwMode="auto">
            <a:xfrm>
              <a:off x="9710738" y="1922463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3" name="Freeform 2115"/>
            <p:cNvSpPr/>
            <p:nvPr/>
          </p:nvSpPr>
          <p:spPr bwMode="auto">
            <a:xfrm>
              <a:off x="9504363" y="1990725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5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4" name="Freeform 2116"/>
            <p:cNvSpPr/>
            <p:nvPr/>
          </p:nvSpPr>
          <p:spPr bwMode="auto">
            <a:xfrm>
              <a:off x="9574213" y="1990725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8 w 155"/>
                <a:gd name="T25" fmla="*/ 136 h 154"/>
                <a:gd name="T26" fmla="*/ 18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5 w 155"/>
                <a:gd name="T63" fmla="*/ 40 h 154"/>
                <a:gd name="T64" fmla="*/ 151 w 155"/>
                <a:gd name="T65" fmla="*/ 53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5" name="Freeform 2117"/>
            <p:cNvSpPr/>
            <p:nvPr/>
          </p:nvSpPr>
          <p:spPr bwMode="auto">
            <a:xfrm>
              <a:off x="9572625" y="2062163"/>
              <a:ext cx="49213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1 w 153"/>
                <a:gd name="T7" fmla="*/ 120 h 154"/>
                <a:gd name="T8" fmla="*/ 130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6" name="Freeform 2118"/>
            <p:cNvSpPr/>
            <p:nvPr/>
          </p:nvSpPr>
          <p:spPr bwMode="auto">
            <a:xfrm>
              <a:off x="9574213" y="2128838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5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1 h 153"/>
                <a:gd name="T38" fmla="*/ 6 w 155"/>
                <a:gd name="T39" fmla="*/ 47 h 153"/>
                <a:gd name="T40" fmla="*/ 13 w 155"/>
                <a:gd name="T41" fmla="*/ 34 h 153"/>
                <a:gd name="T42" fmla="*/ 23 w 155"/>
                <a:gd name="T43" fmla="*/ 23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7" name="Freeform 2119"/>
            <p:cNvSpPr/>
            <p:nvPr/>
          </p:nvSpPr>
          <p:spPr bwMode="auto">
            <a:xfrm>
              <a:off x="9710738" y="1708150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8" name="Freeform 2120"/>
            <p:cNvSpPr/>
            <p:nvPr/>
          </p:nvSpPr>
          <p:spPr bwMode="auto">
            <a:xfrm>
              <a:off x="9779000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59" name="Freeform 2121"/>
            <p:cNvSpPr/>
            <p:nvPr/>
          </p:nvSpPr>
          <p:spPr bwMode="auto">
            <a:xfrm>
              <a:off x="9710738" y="1778000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0" name="Freeform 2122"/>
            <p:cNvSpPr/>
            <p:nvPr/>
          </p:nvSpPr>
          <p:spPr bwMode="auto">
            <a:xfrm>
              <a:off x="9223375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1" name="Freeform 2123"/>
            <p:cNvSpPr/>
            <p:nvPr/>
          </p:nvSpPr>
          <p:spPr bwMode="auto">
            <a:xfrm>
              <a:off x="9223375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2" name="Freeform 2124"/>
            <p:cNvSpPr/>
            <p:nvPr/>
          </p:nvSpPr>
          <p:spPr bwMode="auto">
            <a:xfrm>
              <a:off x="9293225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3" name="Freeform 2125"/>
            <p:cNvSpPr/>
            <p:nvPr/>
          </p:nvSpPr>
          <p:spPr bwMode="auto">
            <a:xfrm>
              <a:off x="9293225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4" name="Freeform 2126"/>
            <p:cNvSpPr/>
            <p:nvPr/>
          </p:nvSpPr>
          <p:spPr bwMode="auto">
            <a:xfrm>
              <a:off x="9363075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5" name="Freeform 2127"/>
            <p:cNvSpPr/>
            <p:nvPr/>
          </p:nvSpPr>
          <p:spPr bwMode="auto">
            <a:xfrm>
              <a:off x="9363075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6" name="Freeform 2128"/>
            <p:cNvSpPr/>
            <p:nvPr/>
          </p:nvSpPr>
          <p:spPr bwMode="auto">
            <a:xfrm>
              <a:off x="9432925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8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7" name="Freeform 2129"/>
            <p:cNvSpPr/>
            <p:nvPr/>
          </p:nvSpPr>
          <p:spPr bwMode="auto">
            <a:xfrm>
              <a:off x="9432925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8" name="Freeform 2130"/>
            <p:cNvSpPr/>
            <p:nvPr/>
          </p:nvSpPr>
          <p:spPr bwMode="auto">
            <a:xfrm>
              <a:off x="9502775" y="17081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5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69" name="Freeform 2131"/>
            <p:cNvSpPr/>
            <p:nvPr/>
          </p:nvSpPr>
          <p:spPr bwMode="auto">
            <a:xfrm>
              <a:off x="9502775" y="1778000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0" name="Freeform 2132"/>
            <p:cNvSpPr/>
            <p:nvPr/>
          </p:nvSpPr>
          <p:spPr bwMode="auto">
            <a:xfrm>
              <a:off x="8593138" y="17081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1" name="Freeform 2133"/>
            <p:cNvSpPr/>
            <p:nvPr/>
          </p:nvSpPr>
          <p:spPr bwMode="auto">
            <a:xfrm>
              <a:off x="8593138" y="17780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7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2" name="Freeform 2134"/>
            <p:cNvSpPr/>
            <p:nvPr/>
          </p:nvSpPr>
          <p:spPr bwMode="auto">
            <a:xfrm>
              <a:off x="8662988" y="17081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3" name="Freeform 2135"/>
            <p:cNvSpPr/>
            <p:nvPr/>
          </p:nvSpPr>
          <p:spPr bwMode="auto">
            <a:xfrm>
              <a:off x="8662988" y="1778000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4" name="Freeform 2136"/>
            <p:cNvSpPr/>
            <p:nvPr/>
          </p:nvSpPr>
          <p:spPr bwMode="auto">
            <a:xfrm>
              <a:off x="6842125" y="23352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5" name="Freeform 2137"/>
            <p:cNvSpPr/>
            <p:nvPr/>
          </p:nvSpPr>
          <p:spPr bwMode="auto">
            <a:xfrm>
              <a:off x="6775450" y="23352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6" name="Freeform 2138"/>
            <p:cNvSpPr/>
            <p:nvPr/>
          </p:nvSpPr>
          <p:spPr bwMode="auto">
            <a:xfrm>
              <a:off x="6842125" y="24050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7" name="Freeform 2139"/>
            <p:cNvSpPr/>
            <p:nvPr/>
          </p:nvSpPr>
          <p:spPr bwMode="auto">
            <a:xfrm>
              <a:off x="6911975" y="23352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3 h 154"/>
                <a:gd name="T42" fmla="*/ 23 w 155"/>
                <a:gd name="T43" fmla="*/ 22 h 154"/>
                <a:gd name="T44" fmla="*/ 33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0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8" name="Freeform 2140"/>
            <p:cNvSpPr/>
            <p:nvPr/>
          </p:nvSpPr>
          <p:spPr bwMode="auto">
            <a:xfrm>
              <a:off x="6911975" y="24050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3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7 h 155"/>
                <a:gd name="T60" fmla="*/ 136 w 155"/>
                <a:gd name="T61" fmla="*/ 29 h 155"/>
                <a:gd name="T62" fmla="*/ 144 w 155"/>
                <a:gd name="T63" fmla="*/ 40 h 155"/>
                <a:gd name="T64" fmla="*/ 150 w 155"/>
                <a:gd name="T65" fmla="*/ 54 h 155"/>
                <a:gd name="T66" fmla="*/ 154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79" name="Freeform 2141"/>
            <p:cNvSpPr/>
            <p:nvPr/>
          </p:nvSpPr>
          <p:spPr bwMode="auto">
            <a:xfrm>
              <a:off x="6981825" y="23352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0" name="Freeform 2142"/>
            <p:cNvSpPr/>
            <p:nvPr/>
          </p:nvSpPr>
          <p:spPr bwMode="auto">
            <a:xfrm>
              <a:off x="6981825" y="24050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1" name="Freeform 2143"/>
            <p:cNvSpPr/>
            <p:nvPr/>
          </p:nvSpPr>
          <p:spPr bwMode="auto">
            <a:xfrm>
              <a:off x="7051675" y="23352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6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3 w 155"/>
                <a:gd name="T41" fmla="*/ 33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3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2" name="Freeform 2144"/>
            <p:cNvSpPr/>
            <p:nvPr/>
          </p:nvSpPr>
          <p:spPr bwMode="auto">
            <a:xfrm>
              <a:off x="7051675" y="24050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6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8 w 155"/>
                <a:gd name="T25" fmla="*/ 136 h 155"/>
                <a:gd name="T26" fmla="*/ 17 w 155"/>
                <a:gd name="T27" fmla="*/ 126 h 155"/>
                <a:gd name="T28" fmla="*/ 9 w 155"/>
                <a:gd name="T29" fmla="*/ 114 h 155"/>
                <a:gd name="T30" fmla="*/ 3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3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7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4 h 155"/>
                <a:gd name="T66" fmla="*/ 153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3" name="Freeform 2145"/>
            <p:cNvSpPr/>
            <p:nvPr/>
          </p:nvSpPr>
          <p:spPr bwMode="auto">
            <a:xfrm>
              <a:off x="7121525" y="23352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3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4" name="Freeform 2146"/>
            <p:cNvSpPr/>
            <p:nvPr/>
          </p:nvSpPr>
          <p:spPr bwMode="auto">
            <a:xfrm>
              <a:off x="7121525" y="24050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5" name="Freeform 2147"/>
            <p:cNvSpPr/>
            <p:nvPr/>
          </p:nvSpPr>
          <p:spPr bwMode="auto">
            <a:xfrm>
              <a:off x="6777038" y="24050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6" name="Freeform 2148"/>
            <p:cNvSpPr/>
            <p:nvPr/>
          </p:nvSpPr>
          <p:spPr bwMode="auto">
            <a:xfrm>
              <a:off x="6777038" y="3179763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7" name="Freeform 2149"/>
            <p:cNvSpPr/>
            <p:nvPr/>
          </p:nvSpPr>
          <p:spPr bwMode="auto">
            <a:xfrm>
              <a:off x="6777038" y="3251200"/>
              <a:ext cx="47625" cy="47625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8" name="Freeform 2150"/>
            <p:cNvSpPr/>
            <p:nvPr/>
          </p:nvSpPr>
          <p:spPr bwMode="auto">
            <a:xfrm>
              <a:off x="6777038" y="3321050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0 h 153"/>
                <a:gd name="T10" fmla="*/ 121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89" name="Freeform 2151"/>
            <p:cNvSpPr/>
            <p:nvPr/>
          </p:nvSpPr>
          <p:spPr bwMode="auto">
            <a:xfrm>
              <a:off x="6777038" y="339248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8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0" name="Freeform 2152"/>
            <p:cNvSpPr/>
            <p:nvPr/>
          </p:nvSpPr>
          <p:spPr bwMode="auto">
            <a:xfrm>
              <a:off x="6705600" y="3452813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1" name="Freeform 2153"/>
            <p:cNvSpPr/>
            <p:nvPr/>
          </p:nvSpPr>
          <p:spPr bwMode="auto">
            <a:xfrm>
              <a:off x="6777038" y="346075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2" name="Freeform 2154"/>
            <p:cNvSpPr/>
            <p:nvPr/>
          </p:nvSpPr>
          <p:spPr bwMode="auto">
            <a:xfrm>
              <a:off x="6981825" y="31797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3" name="Freeform 2155"/>
            <p:cNvSpPr/>
            <p:nvPr/>
          </p:nvSpPr>
          <p:spPr bwMode="auto">
            <a:xfrm>
              <a:off x="6981825" y="32496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0 w 154"/>
                <a:gd name="T55" fmla="*/ 4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4" name="Freeform 2156"/>
            <p:cNvSpPr/>
            <p:nvPr/>
          </p:nvSpPr>
          <p:spPr bwMode="auto">
            <a:xfrm>
              <a:off x="6981825" y="332105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49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6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5" name="Freeform 2157"/>
            <p:cNvSpPr/>
            <p:nvPr/>
          </p:nvSpPr>
          <p:spPr bwMode="auto">
            <a:xfrm>
              <a:off x="6981825" y="3390900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6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7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6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6" name="Freeform 2158"/>
            <p:cNvSpPr/>
            <p:nvPr/>
          </p:nvSpPr>
          <p:spPr bwMode="auto">
            <a:xfrm>
              <a:off x="6981825" y="345757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2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7" name="Freeform 2159"/>
            <p:cNvSpPr/>
            <p:nvPr/>
          </p:nvSpPr>
          <p:spPr bwMode="auto">
            <a:xfrm>
              <a:off x="6915150" y="3179763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8" name="Freeform 2160"/>
            <p:cNvSpPr/>
            <p:nvPr/>
          </p:nvSpPr>
          <p:spPr bwMode="auto">
            <a:xfrm>
              <a:off x="6915150" y="3251200"/>
              <a:ext cx="49213" cy="47625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99" name="Freeform 2161"/>
            <p:cNvSpPr/>
            <p:nvPr/>
          </p:nvSpPr>
          <p:spPr bwMode="auto">
            <a:xfrm>
              <a:off x="6915150" y="3321050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20 h 153"/>
                <a:gd name="T8" fmla="*/ 130 w 153"/>
                <a:gd name="T9" fmla="*/ 130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0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0" name="Freeform 2162"/>
            <p:cNvSpPr/>
            <p:nvPr/>
          </p:nvSpPr>
          <p:spPr bwMode="auto">
            <a:xfrm>
              <a:off x="6915150" y="339248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1" name="Freeform 2163"/>
            <p:cNvSpPr/>
            <p:nvPr/>
          </p:nvSpPr>
          <p:spPr bwMode="auto">
            <a:xfrm>
              <a:off x="7123113" y="32496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2" name="Freeform 2164"/>
            <p:cNvSpPr/>
            <p:nvPr/>
          </p:nvSpPr>
          <p:spPr bwMode="auto">
            <a:xfrm>
              <a:off x="7123113" y="33210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49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5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3" name="Freeform 2165"/>
            <p:cNvSpPr/>
            <p:nvPr/>
          </p:nvSpPr>
          <p:spPr bwMode="auto">
            <a:xfrm>
              <a:off x="7058025" y="3251200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4" name="Freeform 2166"/>
            <p:cNvSpPr/>
            <p:nvPr/>
          </p:nvSpPr>
          <p:spPr bwMode="auto">
            <a:xfrm>
              <a:off x="7123113" y="3178175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5" name="Freeform 2167"/>
            <p:cNvSpPr/>
            <p:nvPr/>
          </p:nvSpPr>
          <p:spPr bwMode="auto">
            <a:xfrm>
              <a:off x="7058025" y="3179763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19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6" name="Freeform 2168"/>
            <p:cNvSpPr/>
            <p:nvPr/>
          </p:nvSpPr>
          <p:spPr bwMode="auto">
            <a:xfrm>
              <a:off x="7058025" y="31067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9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9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7" name="Freeform 2169"/>
            <p:cNvSpPr/>
            <p:nvPr/>
          </p:nvSpPr>
          <p:spPr bwMode="auto">
            <a:xfrm>
              <a:off x="7058025" y="33210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0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8" name="Freeform 2170"/>
            <p:cNvSpPr/>
            <p:nvPr/>
          </p:nvSpPr>
          <p:spPr bwMode="auto">
            <a:xfrm>
              <a:off x="7058025" y="339248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09" name="Freeform 2171"/>
            <p:cNvSpPr/>
            <p:nvPr/>
          </p:nvSpPr>
          <p:spPr bwMode="auto">
            <a:xfrm>
              <a:off x="6915150" y="346075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8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8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0" name="Freeform 2172"/>
            <p:cNvSpPr/>
            <p:nvPr/>
          </p:nvSpPr>
          <p:spPr bwMode="auto">
            <a:xfrm>
              <a:off x="6777038" y="3041650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1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1" name="Freeform 2173"/>
            <p:cNvSpPr/>
            <p:nvPr/>
          </p:nvSpPr>
          <p:spPr bwMode="auto">
            <a:xfrm>
              <a:off x="6777038" y="3113088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2" name="Freeform 2174"/>
            <p:cNvSpPr/>
            <p:nvPr/>
          </p:nvSpPr>
          <p:spPr bwMode="auto">
            <a:xfrm>
              <a:off x="6775450" y="28971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8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3" name="Freeform 2175"/>
            <p:cNvSpPr/>
            <p:nvPr/>
          </p:nvSpPr>
          <p:spPr bwMode="auto">
            <a:xfrm>
              <a:off x="6777038" y="2968625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3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4" name="Freeform 2176"/>
            <p:cNvSpPr/>
            <p:nvPr/>
          </p:nvSpPr>
          <p:spPr bwMode="auto">
            <a:xfrm>
              <a:off x="8102600" y="23352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3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5" name="Freeform 2177"/>
            <p:cNvSpPr/>
            <p:nvPr/>
          </p:nvSpPr>
          <p:spPr bwMode="auto">
            <a:xfrm>
              <a:off x="8102600" y="24050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6" name="Freeform 2178"/>
            <p:cNvSpPr/>
            <p:nvPr/>
          </p:nvSpPr>
          <p:spPr bwMode="auto">
            <a:xfrm>
              <a:off x="8170863" y="23352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3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7" name="Freeform 2179"/>
            <p:cNvSpPr/>
            <p:nvPr/>
          </p:nvSpPr>
          <p:spPr bwMode="auto">
            <a:xfrm>
              <a:off x="8170863" y="24050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8" name="Freeform 2180"/>
            <p:cNvSpPr/>
            <p:nvPr/>
          </p:nvSpPr>
          <p:spPr bwMode="auto">
            <a:xfrm>
              <a:off x="8242300" y="23352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19" name="Freeform 2181"/>
            <p:cNvSpPr/>
            <p:nvPr/>
          </p:nvSpPr>
          <p:spPr bwMode="auto">
            <a:xfrm>
              <a:off x="8242300" y="24050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0" name="Freeform 2182"/>
            <p:cNvSpPr/>
            <p:nvPr/>
          </p:nvSpPr>
          <p:spPr bwMode="auto">
            <a:xfrm>
              <a:off x="8312150" y="23352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3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1" name="Freeform 2183"/>
            <p:cNvSpPr/>
            <p:nvPr/>
          </p:nvSpPr>
          <p:spPr bwMode="auto">
            <a:xfrm>
              <a:off x="8312150" y="24050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2" name="Freeform 2184"/>
            <p:cNvSpPr/>
            <p:nvPr/>
          </p:nvSpPr>
          <p:spPr bwMode="auto">
            <a:xfrm>
              <a:off x="7681913" y="345916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8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2 h 154"/>
                <a:gd name="T38" fmla="*/ 6 w 155"/>
                <a:gd name="T39" fmla="*/ 47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3" name="Freeform 2185"/>
            <p:cNvSpPr/>
            <p:nvPr/>
          </p:nvSpPr>
          <p:spPr bwMode="auto">
            <a:xfrm>
              <a:off x="7751763" y="3459163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6 w 153"/>
                <a:gd name="T39" fmla="*/ 47 h 154"/>
                <a:gd name="T40" fmla="*/ 14 w 153"/>
                <a:gd name="T41" fmla="*/ 34 h 154"/>
                <a:gd name="T42" fmla="*/ 23 w 153"/>
                <a:gd name="T43" fmla="*/ 23 h 154"/>
                <a:gd name="T44" fmla="*/ 34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4" name="Freeform 2186"/>
            <p:cNvSpPr/>
            <p:nvPr/>
          </p:nvSpPr>
          <p:spPr bwMode="auto">
            <a:xfrm>
              <a:off x="7821613" y="3459163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2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5" name="Freeform 2187"/>
            <p:cNvSpPr/>
            <p:nvPr/>
          </p:nvSpPr>
          <p:spPr bwMode="auto">
            <a:xfrm>
              <a:off x="7889875" y="3738563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2 w 155"/>
                <a:gd name="T7" fmla="*/ 119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49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5 h 153"/>
                <a:gd name="T28" fmla="*/ 10 w 155"/>
                <a:gd name="T29" fmla="*/ 113 h 153"/>
                <a:gd name="T30" fmla="*/ 3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8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19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5"/>
                  </a:lnTo>
                  <a:lnTo>
                    <a:pt x="14" y="119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6" name="Freeform 2188"/>
            <p:cNvSpPr/>
            <p:nvPr/>
          </p:nvSpPr>
          <p:spPr bwMode="auto">
            <a:xfrm>
              <a:off x="7681913" y="3530600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8 w 155"/>
                <a:gd name="T25" fmla="*/ 137 h 154"/>
                <a:gd name="T26" fmla="*/ 17 w 155"/>
                <a:gd name="T27" fmla="*/ 127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6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8 h 154"/>
                <a:gd name="T40" fmla="*/ 13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7" name="Freeform 2189"/>
            <p:cNvSpPr/>
            <p:nvPr/>
          </p:nvSpPr>
          <p:spPr bwMode="auto">
            <a:xfrm>
              <a:off x="7751763" y="35306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8" name="Freeform 2190"/>
            <p:cNvSpPr/>
            <p:nvPr/>
          </p:nvSpPr>
          <p:spPr bwMode="auto">
            <a:xfrm>
              <a:off x="7821613" y="35306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6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7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8 h 154"/>
                <a:gd name="T40" fmla="*/ 12 w 154"/>
                <a:gd name="T41" fmla="*/ 34 h 154"/>
                <a:gd name="T42" fmla="*/ 23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29" name="Freeform 2191"/>
            <p:cNvSpPr/>
            <p:nvPr/>
          </p:nvSpPr>
          <p:spPr bwMode="auto">
            <a:xfrm>
              <a:off x="7751763" y="36004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0" name="Freeform 2192"/>
            <p:cNvSpPr/>
            <p:nvPr/>
          </p:nvSpPr>
          <p:spPr bwMode="auto">
            <a:xfrm>
              <a:off x="7751763" y="36718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1" name="Freeform 2193"/>
            <p:cNvSpPr/>
            <p:nvPr/>
          </p:nvSpPr>
          <p:spPr bwMode="auto">
            <a:xfrm>
              <a:off x="7821613" y="360045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5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3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2" name="Freeform 2194"/>
            <p:cNvSpPr/>
            <p:nvPr/>
          </p:nvSpPr>
          <p:spPr bwMode="auto">
            <a:xfrm>
              <a:off x="7821613" y="36718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0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3" name="Freeform 2195"/>
            <p:cNvSpPr/>
            <p:nvPr/>
          </p:nvSpPr>
          <p:spPr bwMode="auto">
            <a:xfrm>
              <a:off x="5727700" y="46482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2 h 155"/>
                <a:gd name="T22" fmla="*/ 42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9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5 h 155"/>
                <a:gd name="T56" fmla="*/ 115 w 155"/>
                <a:gd name="T57" fmla="*/ 11 h 155"/>
                <a:gd name="T58" fmla="*/ 127 w 155"/>
                <a:gd name="T59" fmla="*/ 19 h 155"/>
                <a:gd name="T60" fmla="*/ 138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1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1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2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2"/>
                  </a:lnTo>
                  <a:lnTo>
                    <a:pt x="48" y="149"/>
                  </a:lnTo>
                  <a:lnTo>
                    <a:pt x="42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9"/>
                  </a:lnTo>
                  <a:lnTo>
                    <a:pt x="11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2" y="11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1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2"/>
                  </a:lnTo>
                  <a:lnTo>
                    <a:pt x="149" y="49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4" name="Freeform 2196"/>
            <p:cNvSpPr/>
            <p:nvPr/>
          </p:nvSpPr>
          <p:spPr bwMode="auto">
            <a:xfrm>
              <a:off x="5727700" y="47180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2 h 154"/>
                <a:gd name="T4" fmla="*/ 149 w 155"/>
                <a:gd name="T5" fmla="*/ 106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5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2 h 154"/>
                <a:gd name="T46" fmla="*/ 48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7 h 154"/>
                <a:gd name="T62" fmla="*/ 146 w 155"/>
                <a:gd name="T63" fmla="*/ 40 h 154"/>
                <a:gd name="T64" fmla="*/ 151 w 155"/>
                <a:gd name="T65" fmla="*/ 53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5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7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4" y="61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5" name="Freeform 2197"/>
            <p:cNvSpPr/>
            <p:nvPr/>
          </p:nvSpPr>
          <p:spPr bwMode="auto">
            <a:xfrm>
              <a:off x="5797550" y="46482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19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2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9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2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2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9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6" name="Freeform 2198"/>
            <p:cNvSpPr/>
            <p:nvPr/>
          </p:nvSpPr>
          <p:spPr bwMode="auto">
            <a:xfrm>
              <a:off x="5797550" y="471805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7" name="Freeform 2199"/>
            <p:cNvSpPr/>
            <p:nvPr/>
          </p:nvSpPr>
          <p:spPr bwMode="auto">
            <a:xfrm>
              <a:off x="5867400" y="46482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2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9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2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2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9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9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8" name="Freeform 2200"/>
            <p:cNvSpPr/>
            <p:nvPr/>
          </p:nvSpPr>
          <p:spPr bwMode="auto">
            <a:xfrm>
              <a:off x="5867400" y="471805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39" name="Freeform 2201"/>
            <p:cNvSpPr/>
            <p:nvPr/>
          </p:nvSpPr>
          <p:spPr bwMode="auto">
            <a:xfrm>
              <a:off x="5797550" y="4787900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0" name="Freeform 2202"/>
            <p:cNvSpPr/>
            <p:nvPr/>
          </p:nvSpPr>
          <p:spPr bwMode="auto">
            <a:xfrm>
              <a:off x="5797550" y="48593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19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1" name="Freeform 2203"/>
            <p:cNvSpPr/>
            <p:nvPr/>
          </p:nvSpPr>
          <p:spPr bwMode="auto">
            <a:xfrm>
              <a:off x="5867400" y="4787900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2" name="Freeform 2204"/>
            <p:cNvSpPr/>
            <p:nvPr/>
          </p:nvSpPr>
          <p:spPr bwMode="auto">
            <a:xfrm>
              <a:off x="5867400" y="48593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3" name="Freeform 2205"/>
            <p:cNvSpPr/>
            <p:nvPr/>
          </p:nvSpPr>
          <p:spPr bwMode="auto">
            <a:xfrm>
              <a:off x="5797550" y="4930775"/>
              <a:ext cx="47625" cy="47625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49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4" name="Freeform 2206"/>
            <p:cNvSpPr/>
            <p:nvPr/>
          </p:nvSpPr>
          <p:spPr bwMode="auto">
            <a:xfrm>
              <a:off x="5797550" y="5000625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0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6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5" name="Freeform 2207"/>
            <p:cNvSpPr/>
            <p:nvPr/>
          </p:nvSpPr>
          <p:spPr bwMode="auto">
            <a:xfrm>
              <a:off x="5867400" y="4930775"/>
              <a:ext cx="47625" cy="47625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49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6" name="Freeform 2208"/>
            <p:cNvSpPr/>
            <p:nvPr/>
          </p:nvSpPr>
          <p:spPr bwMode="auto">
            <a:xfrm>
              <a:off x="5867400" y="5000625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6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6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7" name="Freeform 2209"/>
            <p:cNvSpPr/>
            <p:nvPr/>
          </p:nvSpPr>
          <p:spPr bwMode="auto">
            <a:xfrm>
              <a:off x="6146800" y="5065713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5 h 154"/>
                <a:gd name="T28" fmla="*/ 10 w 155"/>
                <a:gd name="T29" fmla="*/ 114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8" name="Freeform 2210"/>
            <p:cNvSpPr/>
            <p:nvPr/>
          </p:nvSpPr>
          <p:spPr bwMode="auto">
            <a:xfrm>
              <a:off x="6146800" y="513715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9" y="126"/>
                  </a:lnTo>
                  <a:lnTo>
                    <a:pt x="14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49" name="Freeform 2211"/>
            <p:cNvSpPr/>
            <p:nvPr/>
          </p:nvSpPr>
          <p:spPr bwMode="auto">
            <a:xfrm>
              <a:off x="6216650" y="506571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0" name="Freeform 2212"/>
            <p:cNvSpPr/>
            <p:nvPr/>
          </p:nvSpPr>
          <p:spPr bwMode="auto">
            <a:xfrm>
              <a:off x="5935663" y="506571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1" name="Freeform 2213"/>
            <p:cNvSpPr/>
            <p:nvPr/>
          </p:nvSpPr>
          <p:spPr bwMode="auto">
            <a:xfrm>
              <a:off x="5935663" y="51371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5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2" name="Freeform 2214"/>
            <p:cNvSpPr/>
            <p:nvPr/>
          </p:nvSpPr>
          <p:spPr bwMode="auto">
            <a:xfrm>
              <a:off x="6005513" y="5065713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3" name="Freeform 2216"/>
            <p:cNvSpPr/>
            <p:nvPr/>
          </p:nvSpPr>
          <p:spPr bwMode="auto">
            <a:xfrm>
              <a:off x="6005513" y="5137151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6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4" name="Freeform 2217"/>
            <p:cNvSpPr/>
            <p:nvPr/>
          </p:nvSpPr>
          <p:spPr bwMode="auto">
            <a:xfrm>
              <a:off x="6075363" y="5065713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5" name="Freeform 2218"/>
            <p:cNvSpPr/>
            <p:nvPr/>
          </p:nvSpPr>
          <p:spPr bwMode="auto">
            <a:xfrm>
              <a:off x="6075363" y="5137151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19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6" name="Freeform 2219"/>
            <p:cNvSpPr/>
            <p:nvPr/>
          </p:nvSpPr>
          <p:spPr bwMode="auto">
            <a:xfrm>
              <a:off x="5935663" y="5207001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7" name="Freeform 2220"/>
            <p:cNvSpPr/>
            <p:nvPr/>
          </p:nvSpPr>
          <p:spPr bwMode="auto">
            <a:xfrm>
              <a:off x="6005513" y="5207001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8" name="Freeform 2221"/>
            <p:cNvSpPr/>
            <p:nvPr/>
          </p:nvSpPr>
          <p:spPr bwMode="auto">
            <a:xfrm>
              <a:off x="6075363" y="5207001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59" name="Freeform 2222"/>
            <p:cNvSpPr/>
            <p:nvPr/>
          </p:nvSpPr>
          <p:spPr bwMode="auto">
            <a:xfrm>
              <a:off x="5867401" y="5065713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0" name="Freeform 2223"/>
            <p:cNvSpPr/>
            <p:nvPr/>
          </p:nvSpPr>
          <p:spPr bwMode="auto">
            <a:xfrm>
              <a:off x="5867401" y="5137151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1" name="Freeform 2224"/>
            <p:cNvSpPr/>
            <p:nvPr/>
          </p:nvSpPr>
          <p:spPr bwMode="auto">
            <a:xfrm>
              <a:off x="5867401" y="5207001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2" name="Freeform 2225"/>
            <p:cNvSpPr/>
            <p:nvPr/>
          </p:nvSpPr>
          <p:spPr bwMode="auto">
            <a:xfrm>
              <a:off x="3424238" y="42910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3" name="Freeform 2226"/>
            <p:cNvSpPr/>
            <p:nvPr/>
          </p:nvSpPr>
          <p:spPr bwMode="auto">
            <a:xfrm>
              <a:off x="3424238" y="4362451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4" name="Freeform 2227"/>
            <p:cNvSpPr/>
            <p:nvPr/>
          </p:nvSpPr>
          <p:spPr bwMode="auto">
            <a:xfrm>
              <a:off x="3492501" y="42910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5" name="Freeform 2228"/>
            <p:cNvSpPr/>
            <p:nvPr/>
          </p:nvSpPr>
          <p:spPr bwMode="auto">
            <a:xfrm>
              <a:off x="3492501" y="43624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6" name="Freeform 2229"/>
            <p:cNvSpPr/>
            <p:nvPr/>
          </p:nvSpPr>
          <p:spPr bwMode="auto">
            <a:xfrm>
              <a:off x="3562351" y="42910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7" name="Freeform 2230"/>
            <p:cNvSpPr/>
            <p:nvPr/>
          </p:nvSpPr>
          <p:spPr bwMode="auto">
            <a:xfrm>
              <a:off x="3562351" y="43624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8" name="Freeform 2231"/>
            <p:cNvSpPr/>
            <p:nvPr/>
          </p:nvSpPr>
          <p:spPr bwMode="auto">
            <a:xfrm>
              <a:off x="3633788" y="42910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69" name="Freeform 2232"/>
            <p:cNvSpPr/>
            <p:nvPr/>
          </p:nvSpPr>
          <p:spPr bwMode="auto">
            <a:xfrm>
              <a:off x="3633788" y="436245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0" name="Freeform 2233"/>
            <p:cNvSpPr/>
            <p:nvPr/>
          </p:nvSpPr>
          <p:spPr bwMode="auto">
            <a:xfrm>
              <a:off x="3703638" y="429101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2 h 155"/>
                <a:gd name="T12" fmla="*/ 107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1" name="Freeform 2234"/>
            <p:cNvSpPr/>
            <p:nvPr/>
          </p:nvSpPr>
          <p:spPr bwMode="auto">
            <a:xfrm>
              <a:off x="3703638" y="4362451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5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2" name="Freeform 2235"/>
            <p:cNvSpPr/>
            <p:nvPr/>
          </p:nvSpPr>
          <p:spPr bwMode="auto">
            <a:xfrm>
              <a:off x="3424238" y="443230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3" name="Freeform 2236"/>
            <p:cNvSpPr/>
            <p:nvPr/>
          </p:nvSpPr>
          <p:spPr bwMode="auto">
            <a:xfrm>
              <a:off x="3424238" y="450373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4" name="Freeform 2237"/>
            <p:cNvSpPr/>
            <p:nvPr/>
          </p:nvSpPr>
          <p:spPr bwMode="auto">
            <a:xfrm>
              <a:off x="3492501" y="44323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5" name="Freeform 2238"/>
            <p:cNvSpPr/>
            <p:nvPr/>
          </p:nvSpPr>
          <p:spPr bwMode="auto">
            <a:xfrm>
              <a:off x="3492501" y="45037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6" name="Freeform 2239"/>
            <p:cNvSpPr/>
            <p:nvPr/>
          </p:nvSpPr>
          <p:spPr bwMode="auto">
            <a:xfrm>
              <a:off x="3562351" y="443230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7" name="Freeform 2240"/>
            <p:cNvSpPr/>
            <p:nvPr/>
          </p:nvSpPr>
          <p:spPr bwMode="auto">
            <a:xfrm>
              <a:off x="3562351" y="45037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8" name="Freeform 2241"/>
            <p:cNvSpPr/>
            <p:nvPr/>
          </p:nvSpPr>
          <p:spPr bwMode="auto">
            <a:xfrm>
              <a:off x="3633788" y="443230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79" name="Freeform 2242"/>
            <p:cNvSpPr/>
            <p:nvPr/>
          </p:nvSpPr>
          <p:spPr bwMode="auto">
            <a:xfrm>
              <a:off x="3633788" y="450373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0" name="Freeform 2243"/>
            <p:cNvSpPr/>
            <p:nvPr/>
          </p:nvSpPr>
          <p:spPr bwMode="auto">
            <a:xfrm>
              <a:off x="3703638" y="4432301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9 h 155"/>
                <a:gd name="T14" fmla="*/ 93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1" name="Freeform 2244"/>
            <p:cNvSpPr/>
            <p:nvPr/>
          </p:nvSpPr>
          <p:spPr bwMode="auto">
            <a:xfrm>
              <a:off x="3703638" y="450373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2" name="Freeform 2245"/>
            <p:cNvSpPr/>
            <p:nvPr/>
          </p:nvSpPr>
          <p:spPr bwMode="auto">
            <a:xfrm>
              <a:off x="3424238" y="45704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3" name="Freeform 2246"/>
            <p:cNvSpPr/>
            <p:nvPr/>
          </p:nvSpPr>
          <p:spPr bwMode="auto">
            <a:xfrm>
              <a:off x="3424238" y="4641851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5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4" name="Freeform 2247"/>
            <p:cNvSpPr/>
            <p:nvPr/>
          </p:nvSpPr>
          <p:spPr bwMode="auto">
            <a:xfrm>
              <a:off x="3492501" y="45704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5" name="Freeform 2248"/>
            <p:cNvSpPr/>
            <p:nvPr/>
          </p:nvSpPr>
          <p:spPr bwMode="auto">
            <a:xfrm>
              <a:off x="3492501" y="4641851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5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6" name="Freeform 2249"/>
            <p:cNvSpPr/>
            <p:nvPr/>
          </p:nvSpPr>
          <p:spPr bwMode="auto">
            <a:xfrm>
              <a:off x="3562351" y="45704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7" name="Freeform 2250"/>
            <p:cNvSpPr/>
            <p:nvPr/>
          </p:nvSpPr>
          <p:spPr bwMode="auto">
            <a:xfrm>
              <a:off x="3562351" y="4641851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2 w 155"/>
                <a:gd name="T33" fmla="*/ 85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8" name="Freeform 2251"/>
            <p:cNvSpPr/>
            <p:nvPr/>
          </p:nvSpPr>
          <p:spPr bwMode="auto">
            <a:xfrm>
              <a:off x="3633788" y="45704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89" name="Freeform 2252"/>
            <p:cNvSpPr/>
            <p:nvPr/>
          </p:nvSpPr>
          <p:spPr bwMode="auto">
            <a:xfrm>
              <a:off x="3633788" y="4641851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0" name="Freeform 2253"/>
            <p:cNvSpPr/>
            <p:nvPr/>
          </p:nvSpPr>
          <p:spPr bwMode="auto">
            <a:xfrm>
              <a:off x="3703638" y="45704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6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7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1" name="Freeform 2254"/>
            <p:cNvSpPr/>
            <p:nvPr/>
          </p:nvSpPr>
          <p:spPr bwMode="auto">
            <a:xfrm>
              <a:off x="3703638" y="4641851"/>
              <a:ext cx="47625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7 w 153"/>
                <a:gd name="T13" fmla="*/ 149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2" name="Freeform 2255"/>
            <p:cNvSpPr/>
            <p:nvPr/>
          </p:nvSpPr>
          <p:spPr bwMode="auto">
            <a:xfrm>
              <a:off x="3424238" y="4711701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3" name="Freeform 2256"/>
            <p:cNvSpPr/>
            <p:nvPr/>
          </p:nvSpPr>
          <p:spPr bwMode="auto">
            <a:xfrm>
              <a:off x="3424238" y="47831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8 h 154"/>
                <a:gd name="T6" fmla="*/ 142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4" name="Freeform 2257"/>
            <p:cNvSpPr/>
            <p:nvPr/>
          </p:nvSpPr>
          <p:spPr bwMode="auto">
            <a:xfrm>
              <a:off x="3492501" y="47117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5" name="Freeform 2258"/>
            <p:cNvSpPr/>
            <p:nvPr/>
          </p:nvSpPr>
          <p:spPr bwMode="auto">
            <a:xfrm>
              <a:off x="3492501" y="47831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6" name="Freeform 2259"/>
            <p:cNvSpPr/>
            <p:nvPr/>
          </p:nvSpPr>
          <p:spPr bwMode="auto">
            <a:xfrm>
              <a:off x="3562351" y="47117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7" name="Freeform 2260"/>
            <p:cNvSpPr/>
            <p:nvPr/>
          </p:nvSpPr>
          <p:spPr bwMode="auto">
            <a:xfrm>
              <a:off x="3562351" y="47831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7 w 155"/>
                <a:gd name="T61" fmla="*/ 29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8" name="Freeform 2261"/>
            <p:cNvSpPr/>
            <p:nvPr/>
          </p:nvSpPr>
          <p:spPr bwMode="auto">
            <a:xfrm>
              <a:off x="3633788" y="4711701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99" name="Freeform 2262"/>
            <p:cNvSpPr/>
            <p:nvPr/>
          </p:nvSpPr>
          <p:spPr bwMode="auto">
            <a:xfrm>
              <a:off x="3633788" y="47831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0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0" name="Freeform 2263"/>
            <p:cNvSpPr/>
            <p:nvPr/>
          </p:nvSpPr>
          <p:spPr bwMode="auto">
            <a:xfrm>
              <a:off x="3703638" y="4711701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7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1" name="Freeform 2264"/>
            <p:cNvSpPr/>
            <p:nvPr/>
          </p:nvSpPr>
          <p:spPr bwMode="auto">
            <a:xfrm>
              <a:off x="3703638" y="47831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2" name="Freeform 2265"/>
            <p:cNvSpPr/>
            <p:nvPr/>
          </p:nvSpPr>
          <p:spPr bwMode="auto">
            <a:xfrm>
              <a:off x="3074988" y="42910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3" name="Freeform 2266"/>
            <p:cNvSpPr/>
            <p:nvPr/>
          </p:nvSpPr>
          <p:spPr bwMode="auto">
            <a:xfrm>
              <a:off x="3074988" y="4362451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4" name="Freeform 2267"/>
            <p:cNvSpPr/>
            <p:nvPr/>
          </p:nvSpPr>
          <p:spPr bwMode="auto">
            <a:xfrm>
              <a:off x="3143251" y="42910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5" name="Freeform 2268"/>
            <p:cNvSpPr/>
            <p:nvPr/>
          </p:nvSpPr>
          <p:spPr bwMode="auto">
            <a:xfrm>
              <a:off x="3143251" y="43624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6" name="Freeform 2269"/>
            <p:cNvSpPr/>
            <p:nvPr/>
          </p:nvSpPr>
          <p:spPr bwMode="auto">
            <a:xfrm>
              <a:off x="3214688" y="429101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7" name="Freeform 2270"/>
            <p:cNvSpPr/>
            <p:nvPr/>
          </p:nvSpPr>
          <p:spPr bwMode="auto">
            <a:xfrm>
              <a:off x="3214688" y="4362451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8" name="Freeform 2271"/>
            <p:cNvSpPr/>
            <p:nvPr/>
          </p:nvSpPr>
          <p:spPr bwMode="auto">
            <a:xfrm>
              <a:off x="3284538" y="42910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3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09" name="Freeform 2272"/>
            <p:cNvSpPr/>
            <p:nvPr/>
          </p:nvSpPr>
          <p:spPr bwMode="auto">
            <a:xfrm>
              <a:off x="3284538" y="43624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0" name="Freeform 2273"/>
            <p:cNvSpPr/>
            <p:nvPr/>
          </p:nvSpPr>
          <p:spPr bwMode="auto">
            <a:xfrm>
              <a:off x="3354388" y="42910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1" name="Freeform 2274"/>
            <p:cNvSpPr/>
            <p:nvPr/>
          </p:nvSpPr>
          <p:spPr bwMode="auto">
            <a:xfrm>
              <a:off x="3354388" y="43624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2" name="Freeform 2275"/>
            <p:cNvSpPr/>
            <p:nvPr/>
          </p:nvSpPr>
          <p:spPr bwMode="auto">
            <a:xfrm>
              <a:off x="3074988" y="443230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3" name="Freeform 2276"/>
            <p:cNvSpPr/>
            <p:nvPr/>
          </p:nvSpPr>
          <p:spPr bwMode="auto">
            <a:xfrm>
              <a:off x="3074988" y="450373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4" name="Freeform 2277"/>
            <p:cNvSpPr/>
            <p:nvPr/>
          </p:nvSpPr>
          <p:spPr bwMode="auto">
            <a:xfrm>
              <a:off x="3143251" y="44323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5" name="Freeform 2278"/>
            <p:cNvSpPr/>
            <p:nvPr/>
          </p:nvSpPr>
          <p:spPr bwMode="auto">
            <a:xfrm>
              <a:off x="3143251" y="45037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6" name="Freeform 2279"/>
            <p:cNvSpPr/>
            <p:nvPr/>
          </p:nvSpPr>
          <p:spPr bwMode="auto">
            <a:xfrm>
              <a:off x="3214688" y="4432301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7" name="Freeform 2280"/>
            <p:cNvSpPr/>
            <p:nvPr/>
          </p:nvSpPr>
          <p:spPr bwMode="auto">
            <a:xfrm>
              <a:off x="3214688" y="450373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8" name="Freeform 2281"/>
            <p:cNvSpPr/>
            <p:nvPr/>
          </p:nvSpPr>
          <p:spPr bwMode="auto">
            <a:xfrm>
              <a:off x="3284538" y="44323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19" name="Freeform 2282"/>
            <p:cNvSpPr/>
            <p:nvPr/>
          </p:nvSpPr>
          <p:spPr bwMode="auto">
            <a:xfrm>
              <a:off x="3284538" y="45037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3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0" name="Freeform 2283"/>
            <p:cNvSpPr/>
            <p:nvPr/>
          </p:nvSpPr>
          <p:spPr bwMode="auto">
            <a:xfrm>
              <a:off x="3354388" y="443230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1" name="Freeform 2284"/>
            <p:cNvSpPr/>
            <p:nvPr/>
          </p:nvSpPr>
          <p:spPr bwMode="auto">
            <a:xfrm>
              <a:off x="3354388" y="45037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2" name="Freeform 2285"/>
            <p:cNvSpPr/>
            <p:nvPr/>
          </p:nvSpPr>
          <p:spPr bwMode="auto">
            <a:xfrm>
              <a:off x="3074988" y="45704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3" name="Freeform 2286"/>
            <p:cNvSpPr/>
            <p:nvPr/>
          </p:nvSpPr>
          <p:spPr bwMode="auto">
            <a:xfrm>
              <a:off x="3074988" y="4641851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4" name="Freeform 2287"/>
            <p:cNvSpPr/>
            <p:nvPr/>
          </p:nvSpPr>
          <p:spPr bwMode="auto">
            <a:xfrm>
              <a:off x="3143251" y="45704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5" name="Freeform 2288"/>
            <p:cNvSpPr/>
            <p:nvPr/>
          </p:nvSpPr>
          <p:spPr bwMode="auto">
            <a:xfrm>
              <a:off x="3143251" y="4641851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9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6" name="Freeform 2289"/>
            <p:cNvSpPr/>
            <p:nvPr/>
          </p:nvSpPr>
          <p:spPr bwMode="auto">
            <a:xfrm>
              <a:off x="3214688" y="45704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7" name="Freeform 2290"/>
            <p:cNvSpPr/>
            <p:nvPr/>
          </p:nvSpPr>
          <p:spPr bwMode="auto">
            <a:xfrm>
              <a:off x="3214688" y="4641851"/>
              <a:ext cx="47625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5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8" name="Freeform 2291"/>
            <p:cNvSpPr/>
            <p:nvPr/>
          </p:nvSpPr>
          <p:spPr bwMode="auto">
            <a:xfrm>
              <a:off x="3284538" y="45704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29" name="Freeform 2292"/>
            <p:cNvSpPr/>
            <p:nvPr/>
          </p:nvSpPr>
          <p:spPr bwMode="auto">
            <a:xfrm>
              <a:off x="3284538" y="4641851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0" name="Freeform 2293"/>
            <p:cNvSpPr/>
            <p:nvPr/>
          </p:nvSpPr>
          <p:spPr bwMode="auto">
            <a:xfrm>
              <a:off x="3354388" y="45704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1" name="Freeform 2294"/>
            <p:cNvSpPr/>
            <p:nvPr/>
          </p:nvSpPr>
          <p:spPr bwMode="auto">
            <a:xfrm>
              <a:off x="3354388" y="4641851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5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2" name="Freeform 2295"/>
            <p:cNvSpPr/>
            <p:nvPr/>
          </p:nvSpPr>
          <p:spPr bwMode="auto">
            <a:xfrm>
              <a:off x="2862263" y="42910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2 h 155"/>
                <a:gd name="T12" fmla="*/ 107 w 153"/>
                <a:gd name="T13" fmla="*/ 149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3" name="Freeform 2296"/>
            <p:cNvSpPr/>
            <p:nvPr/>
          </p:nvSpPr>
          <p:spPr bwMode="auto">
            <a:xfrm>
              <a:off x="2862263" y="436245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2 h 154"/>
                <a:gd name="T10" fmla="*/ 119 w 153"/>
                <a:gd name="T11" fmla="*/ 141 h 154"/>
                <a:gd name="T12" fmla="*/ 107 w 153"/>
                <a:gd name="T13" fmla="*/ 148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5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4" name="Freeform 2297"/>
            <p:cNvSpPr/>
            <p:nvPr/>
          </p:nvSpPr>
          <p:spPr bwMode="auto">
            <a:xfrm>
              <a:off x="2932113" y="42910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5" name="Freeform 2298"/>
            <p:cNvSpPr/>
            <p:nvPr/>
          </p:nvSpPr>
          <p:spPr bwMode="auto">
            <a:xfrm>
              <a:off x="2932113" y="436245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6" name="Freeform 2299"/>
            <p:cNvSpPr/>
            <p:nvPr/>
          </p:nvSpPr>
          <p:spPr bwMode="auto">
            <a:xfrm>
              <a:off x="3001963" y="42910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8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2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7" name="Freeform 2300"/>
            <p:cNvSpPr/>
            <p:nvPr/>
          </p:nvSpPr>
          <p:spPr bwMode="auto">
            <a:xfrm>
              <a:off x="3001963" y="43624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8" name="Freeform 2301"/>
            <p:cNvSpPr/>
            <p:nvPr/>
          </p:nvSpPr>
          <p:spPr bwMode="auto">
            <a:xfrm>
              <a:off x="2862263" y="443230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7 w 153"/>
                <a:gd name="T13" fmla="*/ 149 h 155"/>
                <a:gd name="T14" fmla="*/ 92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39" name="Freeform 2302"/>
            <p:cNvSpPr/>
            <p:nvPr/>
          </p:nvSpPr>
          <p:spPr bwMode="auto">
            <a:xfrm>
              <a:off x="2862263" y="450373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19 w 153"/>
                <a:gd name="T11" fmla="*/ 141 h 154"/>
                <a:gd name="T12" fmla="*/ 107 w 153"/>
                <a:gd name="T13" fmla="*/ 148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0" name="Freeform 2303"/>
            <p:cNvSpPr/>
            <p:nvPr/>
          </p:nvSpPr>
          <p:spPr bwMode="auto">
            <a:xfrm>
              <a:off x="2932113" y="4432301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1" name="Freeform 2304"/>
            <p:cNvSpPr/>
            <p:nvPr/>
          </p:nvSpPr>
          <p:spPr bwMode="auto">
            <a:xfrm>
              <a:off x="2932113" y="4503738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2" name="Freeform 2305"/>
            <p:cNvSpPr/>
            <p:nvPr/>
          </p:nvSpPr>
          <p:spPr bwMode="auto">
            <a:xfrm>
              <a:off x="3001963" y="443230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8 h 155"/>
                <a:gd name="T26" fmla="*/ 19 w 155"/>
                <a:gd name="T27" fmla="*/ 126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9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3" name="Freeform 2306"/>
            <p:cNvSpPr/>
            <p:nvPr/>
          </p:nvSpPr>
          <p:spPr bwMode="auto">
            <a:xfrm>
              <a:off x="3001963" y="45037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4" name="Freeform 2307"/>
            <p:cNvSpPr/>
            <p:nvPr/>
          </p:nvSpPr>
          <p:spPr bwMode="auto">
            <a:xfrm>
              <a:off x="2932113" y="45704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5" name="Freeform 2308"/>
            <p:cNvSpPr/>
            <p:nvPr/>
          </p:nvSpPr>
          <p:spPr bwMode="auto">
            <a:xfrm>
              <a:off x="3001963" y="45704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6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6" name="Freeform 2309"/>
            <p:cNvSpPr/>
            <p:nvPr/>
          </p:nvSpPr>
          <p:spPr bwMode="auto">
            <a:xfrm>
              <a:off x="2792413" y="42910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7" name="Freeform 2310"/>
            <p:cNvSpPr/>
            <p:nvPr/>
          </p:nvSpPr>
          <p:spPr bwMode="auto">
            <a:xfrm>
              <a:off x="2792413" y="43624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8" name="Freeform 2311"/>
            <p:cNvSpPr/>
            <p:nvPr/>
          </p:nvSpPr>
          <p:spPr bwMode="auto">
            <a:xfrm>
              <a:off x="3074988" y="4711701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49" name="Freeform 2312"/>
            <p:cNvSpPr/>
            <p:nvPr/>
          </p:nvSpPr>
          <p:spPr bwMode="auto">
            <a:xfrm>
              <a:off x="3143251" y="47117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0" name="Freeform 2313"/>
            <p:cNvSpPr/>
            <p:nvPr/>
          </p:nvSpPr>
          <p:spPr bwMode="auto">
            <a:xfrm>
              <a:off x="3214688" y="4711701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1" name="Freeform 2314"/>
            <p:cNvSpPr/>
            <p:nvPr/>
          </p:nvSpPr>
          <p:spPr bwMode="auto">
            <a:xfrm>
              <a:off x="3214688" y="4783138"/>
              <a:ext cx="47625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2" name="Freeform 2315"/>
            <p:cNvSpPr/>
            <p:nvPr/>
          </p:nvSpPr>
          <p:spPr bwMode="auto">
            <a:xfrm>
              <a:off x="3284538" y="47117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3" name="Freeform 2316"/>
            <p:cNvSpPr/>
            <p:nvPr/>
          </p:nvSpPr>
          <p:spPr bwMode="auto">
            <a:xfrm>
              <a:off x="3284538" y="47831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8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4" name="Freeform 2317"/>
            <p:cNvSpPr/>
            <p:nvPr/>
          </p:nvSpPr>
          <p:spPr bwMode="auto">
            <a:xfrm>
              <a:off x="3073401" y="47831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8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5 w 154"/>
                <a:gd name="T59" fmla="*/ 18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5" name="Freeform 2318"/>
            <p:cNvSpPr/>
            <p:nvPr/>
          </p:nvSpPr>
          <p:spPr bwMode="auto">
            <a:xfrm>
              <a:off x="3143251" y="4783138"/>
              <a:ext cx="49213" cy="47625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6" name="Freeform 2319"/>
            <p:cNvSpPr/>
            <p:nvPr/>
          </p:nvSpPr>
          <p:spPr bwMode="auto">
            <a:xfrm>
              <a:off x="3354388" y="47117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7" name="Freeform 2320"/>
            <p:cNvSpPr/>
            <p:nvPr/>
          </p:nvSpPr>
          <p:spPr bwMode="auto">
            <a:xfrm>
              <a:off x="3354388" y="47831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8" name="Freeform 2321"/>
            <p:cNvSpPr/>
            <p:nvPr/>
          </p:nvSpPr>
          <p:spPr bwMode="auto">
            <a:xfrm>
              <a:off x="3424238" y="4852988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59" name="Freeform 2322"/>
            <p:cNvSpPr/>
            <p:nvPr/>
          </p:nvSpPr>
          <p:spPr bwMode="auto">
            <a:xfrm>
              <a:off x="3424238" y="49228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0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0" name="Freeform 2323"/>
            <p:cNvSpPr/>
            <p:nvPr/>
          </p:nvSpPr>
          <p:spPr bwMode="auto">
            <a:xfrm>
              <a:off x="3492501" y="48529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1" name="Freeform 2324"/>
            <p:cNvSpPr/>
            <p:nvPr/>
          </p:nvSpPr>
          <p:spPr bwMode="auto">
            <a:xfrm>
              <a:off x="3492501" y="49228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2" name="Freeform 2325"/>
            <p:cNvSpPr/>
            <p:nvPr/>
          </p:nvSpPr>
          <p:spPr bwMode="auto">
            <a:xfrm>
              <a:off x="3562351" y="485298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2 w 155"/>
                <a:gd name="T33" fmla="*/ 84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3" name="Freeform 2326"/>
            <p:cNvSpPr/>
            <p:nvPr/>
          </p:nvSpPr>
          <p:spPr bwMode="auto">
            <a:xfrm>
              <a:off x="3562351" y="49228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0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4" name="Freeform 2327"/>
            <p:cNvSpPr/>
            <p:nvPr/>
          </p:nvSpPr>
          <p:spPr bwMode="auto">
            <a:xfrm>
              <a:off x="3633788" y="485298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5" name="Freeform 2328"/>
            <p:cNvSpPr/>
            <p:nvPr/>
          </p:nvSpPr>
          <p:spPr bwMode="auto">
            <a:xfrm>
              <a:off x="3633788" y="49228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0 h 153"/>
                <a:gd name="T10" fmla="*/ 120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0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6" name="Freeform 2329"/>
            <p:cNvSpPr/>
            <p:nvPr/>
          </p:nvSpPr>
          <p:spPr bwMode="auto">
            <a:xfrm>
              <a:off x="3703638" y="485298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7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7" name="Freeform 2330"/>
            <p:cNvSpPr/>
            <p:nvPr/>
          </p:nvSpPr>
          <p:spPr bwMode="auto">
            <a:xfrm>
              <a:off x="3703638" y="492283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0 h 153"/>
                <a:gd name="T10" fmla="*/ 120 w 153"/>
                <a:gd name="T11" fmla="*/ 141 h 153"/>
                <a:gd name="T12" fmla="*/ 107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8" name="Freeform 2331"/>
            <p:cNvSpPr/>
            <p:nvPr/>
          </p:nvSpPr>
          <p:spPr bwMode="auto">
            <a:xfrm>
              <a:off x="3424238" y="499427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69" name="Freeform 2332"/>
            <p:cNvSpPr/>
            <p:nvPr/>
          </p:nvSpPr>
          <p:spPr bwMode="auto">
            <a:xfrm>
              <a:off x="3424238" y="5064126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2 h 154"/>
                <a:gd name="T12" fmla="*/ 108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0" name="Freeform 2333"/>
            <p:cNvSpPr/>
            <p:nvPr/>
          </p:nvSpPr>
          <p:spPr bwMode="auto">
            <a:xfrm>
              <a:off x="3492501" y="49942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8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9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1" name="Freeform 2334"/>
            <p:cNvSpPr/>
            <p:nvPr/>
          </p:nvSpPr>
          <p:spPr bwMode="auto">
            <a:xfrm>
              <a:off x="3492501" y="506412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2" name="Freeform 2335"/>
            <p:cNvSpPr/>
            <p:nvPr/>
          </p:nvSpPr>
          <p:spPr bwMode="auto">
            <a:xfrm>
              <a:off x="3562351" y="49942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9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3" name="Freeform 2336"/>
            <p:cNvSpPr/>
            <p:nvPr/>
          </p:nvSpPr>
          <p:spPr bwMode="auto">
            <a:xfrm>
              <a:off x="3562351" y="5064126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10 w 155"/>
                <a:gd name="T29" fmla="*/ 114 h 154"/>
                <a:gd name="T30" fmla="*/ 4 w 155"/>
                <a:gd name="T31" fmla="*/ 101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9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4" name="Freeform 2337"/>
            <p:cNvSpPr/>
            <p:nvPr/>
          </p:nvSpPr>
          <p:spPr bwMode="auto">
            <a:xfrm>
              <a:off x="3633788" y="499427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5" name="Freeform 2338"/>
            <p:cNvSpPr/>
            <p:nvPr/>
          </p:nvSpPr>
          <p:spPr bwMode="auto">
            <a:xfrm>
              <a:off x="3633788" y="5064126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6" name="Freeform 2339"/>
            <p:cNvSpPr/>
            <p:nvPr/>
          </p:nvSpPr>
          <p:spPr bwMode="auto">
            <a:xfrm>
              <a:off x="3214688" y="492283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0 w 153"/>
                <a:gd name="T9" fmla="*/ 130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0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7" name="Freeform 2340"/>
            <p:cNvSpPr/>
            <p:nvPr/>
          </p:nvSpPr>
          <p:spPr bwMode="auto">
            <a:xfrm>
              <a:off x="3068638" y="49228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0 h 153"/>
                <a:gd name="T10" fmla="*/ 120 w 154"/>
                <a:gd name="T11" fmla="*/ 141 h 153"/>
                <a:gd name="T12" fmla="*/ 106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2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8" name="Freeform 2341"/>
            <p:cNvSpPr/>
            <p:nvPr/>
          </p:nvSpPr>
          <p:spPr bwMode="auto">
            <a:xfrm>
              <a:off x="3148013" y="49228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0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79" name="Freeform 2342"/>
            <p:cNvSpPr/>
            <p:nvPr/>
          </p:nvSpPr>
          <p:spPr bwMode="auto">
            <a:xfrm>
              <a:off x="3284538" y="485298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2 w 155"/>
                <a:gd name="T33" fmla="*/ 84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2 w 155"/>
                <a:gd name="T65" fmla="*/ 54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2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0" name="Freeform 2343"/>
            <p:cNvSpPr/>
            <p:nvPr/>
          </p:nvSpPr>
          <p:spPr bwMode="auto">
            <a:xfrm>
              <a:off x="3284538" y="49228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0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2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2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1" name="Freeform 2344"/>
            <p:cNvSpPr/>
            <p:nvPr/>
          </p:nvSpPr>
          <p:spPr bwMode="auto">
            <a:xfrm>
              <a:off x="3354388" y="4852988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2" name="Freeform 2345"/>
            <p:cNvSpPr/>
            <p:nvPr/>
          </p:nvSpPr>
          <p:spPr bwMode="auto">
            <a:xfrm>
              <a:off x="3213101" y="485298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0 w 155"/>
                <a:gd name="T33" fmla="*/ 84 h 154"/>
                <a:gd name="T34" fmla="*/ 0 w 155"/>
                <a:gd name="T35" fmla="*/ 78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3" name="Freeform 2346"/>
            <p:cNvSpPr/>
            <p:nvPr/>
          </p:nvSpPr>
          <p:spPr bwMode="auto">
            <a:xfrm>
              <a:off x="3073401" y="48529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4" name="Freeform 2347"/>
            <p:cNvSpPr/>
            <p:nvPr/>
          </p:nvSpPr>
          <p:spPr bwMode="auto">
            <a:xfrm>
              <a:off x="3144838" y="4852988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4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5" name="Freeform 2348"/>
            <p:cNvSpPr/>
            <p:nvPr/>
          </p:nvSpPr>
          <p:spPr bwMode="auto">
            <a:xfrm>
              <a:off x="3354388" y="49228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0 h 153"/>
                <a:gd name="T10" fmla="*/ 120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6" name="Freeform 2349"/>
            <p:cNvSpPr/>
            <p:nvPr/>
          </p:nvSpPr>
          <p:spPr bwMode="auto">
            <a:xfrm>
              <a:off x="3214688" y="499427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7" name="Freeform 2350"/>
            <p:cNvSpPr/>
            <p:nvPr/>
          </p:nvSpPr>
          <p:spPr bwMode="auto">
            <a:xfrm>
              <a:off x="3284538" y="499427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9 h 154"/>
                <a:gd name="T62" fmla="*/ 146 w 155"/>
                <a:gd name="T63" fmla="*/ 40 h 154"/>
                <a:gd name="T64" fmla="*/ 152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2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2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8" name="Freeform 2351"/>
            <p:cNvSpPr/>
            <p:nvPr/>
          </p:nvSpPr>
          <p:spPr bwMode="auto">
            <a:xfrm>
              <a:off x="3144838" y="49942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9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89" name="Freeform 2352"/>
            <p:cNvSpPr/>
            <p:nvPr/>
          </p:nvSpPr>
          <p:spPr bwMode="auto">
            <a:xfrm>
              <a:off x="3068638" y="499427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6 w 154"/>
                <a:gd name="T47" fmla="*/ 6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5 w 154"/>
                <a:gd name="T59" fmla="*/ 17 h 154"/>
                <a:gd name="T60" fmla="*/ 136 w 154"/>
                <a:gd name="T61" fmla="*/ 29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0" name="Freeform 2353"/>
            <p:cNvSpPr/>
            <p:nvPr/>
          </p:nvSpPr>
          <p:spPr bwMode="auto">
            <a:xfrm>
              <a:off x="3284538" y="5064126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9 w 155"/>
                <a:gd name="T27" fmla="*/ 127 h 154"/>
                <a:gd name="T28" fmla="*/ 10 w 155"/>
                <a:gd name="T29" fmla="*/ 114 h 154"/>
                <a:gd name="T30" fmla="*/ 4 w 155"/>
                <a:gd name="T31" fmla="*/ 101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9 h 154"/>
                <a:gd name="T62" fmla="*/ 146 w 155"/>
                <a:gd name="T63" fmla="*/ 41 h 154"/>
                <a:gd name="T64" fmla="*/ 152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2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2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1" name="Freeform 2354"/>
            <p:cNvSpPr/>
            <p:nvPr/>
          </p:nvSpPr>
          <p:spPr bwMode="auto">
            <a:xfrm>
              <a:off x="3354388" y="499427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2" name="Freeform 2355"/>
            <p:cNvSpPr/>
            <p:nvPr/>
          </p:nvSpPr>
          <p:spPr bwMode="auto">
            <a:xfrm>
              <a:off x="3354388" y="5064126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3" name="Freeform 2356"/>
            <p:cNvSpPr/>
            <p:nvPr/>
          </p:nvSpPr>
          <p:spPr bwMode="auto">
            <a:xfrm>
              <a:off x="3211513" y="5064126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2 h 154"/>
                <a:gd name="T12" fmla="*/ 106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4" name="Freeform 2357"/>
            <p:cNvSpPr/>
            <p:nvPr/>
          </p:nvSpPr>
          <p:spPr bwMode="auto">
            <a:xfrm>
              <a:off x="3071813" y="506412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2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5" name="Freeform 2358"/>
            <p:cNvSpPr/>
            <p:nvPr/>
          </p:nvSpPr>
          <p:spPr bwMode="auto">
            <a:xfrm>
              <a:off x="3143251" y="5064126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2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6" name="Freeform 2359"/>
            <p:cNvSpPr/>
            <p:nvPr/>
          </p:nvSpPr>
          <p:spPr bwMode="auto">
            <a:xfrm>
              <a:off x="3703638" y="499427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7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9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7" name="Freeform 2360"/>
            <p:cNvSpPr/>
            <p:nvPr/>
          </p:nvSpPr>
          <p:spPr bwMode="auto">
            <a:xfrm>
              <a:off x="3703638" y="5064126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2 h 154"/>
                <a:gd name="T12" fmla="*/ 107 w 153"/>
                <a:gd name="T13" fmla="*/ 149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4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8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8" name="Freeform 2361"/>
            <p:cNvSpPr/>
            <p:nvPr/>
          </p:nvSpPr>
          <p:spPr bwMode="auto">
            <a:xfrm>
              <a:off x="3773488" y="42910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99" name="Freeform 2362"/>
            <p:cNvSpPr/>
            <p:nvPr/>
          </p:nvSpPr>
          <p:spPr bwMode="auto">
            <a:xfrm>
              <a:off x="3773488" y="43624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0" name="Freeform 2363"/>
            <p:cNvSpPr/>
            <p:nvPr/>
          </p:nvSpPr>
          <p:spPr bwMode="auto">
            <a:xfrm>
              <a:off x="3841751" y="42910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2 h 155"/>
                <a:gd name="T12" fmla="*/ 107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1" name="Freeform 2364"/>
            <p:cNvSpPr/>
            <p:nvPr/>
          </p:nvSpPr>
          <p:spPr bwMode="auto">
            <a:xfrm>
              <a:off x="3841751" y="43624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2" name="Freeform 2365"/>
            <p:cNvSpPr/>
            <p:nvPr/>
          </p:nvSpPr>
          <p:spPr bwMode="auto">
            <a:xfrm>
              <a:off x="3913188" y="42910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3" name="Freeform 2366"/>
            <p:cNvSpPr/>
            <p:nvPr/>
          </p:nvSpPr>
          <p:spPr bwMode="auto">
            <a:xfrm>
              <a:off x="3913188" y="4362451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4" name="Freeform 2367"/>
            <p:cNvSpPr/>
            <p:nvPr/>
          </p:nvSpPr>
          <p:spPr bwMode="auto">
            <a:xfrm>
              <a:off x="3983038" y="42910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5" name="Freeform 2368"/>
            <p:cNvSpPr/>
            <p:nvPr/>
          </p:nvSpPr>
          <p:spPr bwMode="auto">
            <a:xfrm>
              <a:off x="3983038" y="43624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6" name="Freeform 2369"/>
            <p:cNvSpPr/>
            <p:nvPr/>
          </p:nvSpPr>
          <p:spPr bwMode="auto">
            <a:xfrm>
              <a:off x="3773488" y="4432301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7" name="Freeform 2370"/>
            <p:cNvSpPr/>
            <p:nvPr/>
          </p:nvSpPr>
          <p:spPr bwMode="auto">
            <a:xfrm>
              <a:off x="3773488" y="45037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8" name="Freeform 2371"/>
            <p:cNvSpPr/>
            <p:nvPr/>
          </p:nvSpPr>
          <p:spPr bwMode="auto">
            <a:xfrm>
              <a:off x="3841751" y="443230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7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09" name="Freeform 2372"/>
            <p:cNvSpPr/>
            <p:nvPr/>
          </p:nvSpPr>
          <p:spPr bwMode="auto">
            <a:xfrm>
              <a:off x="3841751" y="45037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0" name="Freeform 2373"/>
            <p:cNvSpPr/>
            <p:nvPr/>
          </p:nvSpPr>
          <p:spPr bwMode="auto">
            <a:xfrm>
              <a:off x="3913188" y="4432301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1" name="Freeform 2374"/>
            <p:cNvSpPr/>
            <p:nvPr/>
          </p:nvSpPr>
          <p:spPr bwMode="auto">
            <a:xfrm>
              <a:off x="3913188" y="450373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2" name="Freeform 2375"/>
            <p:cNvSpPr/>
            <p:nvPr/>
          </p:nvSpPr>
          <p:spPr bwMode="auto">
            <a:xfrm>
              <a:off x="3983038" y="4432301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3" name="Freeform 2376"/>
            <p:cNvSpPr/>
            <p:nvPr/>
          </p:nvSpPr>
          <p:spPr bwMode="auto">
            <a:xfrm>
              <a:off x="3983038" y="4503738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4" name="Freeform 2377"/>
            <p:cNvSpPr/>
            <p:nvPr/>
          </p:nvSpPr>
          <p:spPr bwMode="auto">
            <a:xfrm>
              <a:off x="3773488" y="45704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5" name="Freeform 2378"/>
            <p:cNvSpPr/>
            <p:nvPr/>
          </p:nvSpPr>
          <p:spPr bwMode="auto">
            <a:xfrm>
              <a:off x="3773488" y="4641851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6" name="Freeform 2379"/>
            <p:cNvSpPr/>
            <p:nvPr/>
          </p:nvSpPr>
          <p:spPr bwMode="auto">
            <a:xfrm>
              <a:off x="3841751" y="45704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7" name="Freeform 2380"/>
            <p:cNvSpPr/>
            <p:nvPr/>
          </p:nvSpPr>
          <p:spPr bwMode="auto">
            <a:xfrm>
              <a:off x="3841751" y="4641851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7 w 155"/>
                <a:gd name="T13" fmla="*/ 149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0 w 155"/>
                <a:gd name="T33" fmla="*/ 85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8" name="Freeform 2381"/>
            <p:cNvSpPr/>
            <p:nvPr/>
          </p:nvSpPr>
          <p:spPr bwMode="auto">
            <a:xfrm>
              <a:off x="3913188" y="45704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19" name="Freeform 2382"/>
            <p:cNvSpPr/>
            <p:nvPr/>
          </p:nvSpPr>
          <p:spPr bwMode="auto">
            <a:xfrm>
              <a:off x="3913188" y="4641851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5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0" name="Freeform 2383"/>
            <p:cNvSpPr/>
            <p:nvPr/>
          </p:nvSpPr>
          <p:spPr bwMode="auto">
            <a:xfrm>
              <a:off x="3983038" y="45704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1" name="Freeform 2384"/>
            <p:cNvSpPr/>
            <p:nvPr/>
          </p:nvSpPr>
          <p:spPr bwMode="auto">
            <a:xfrm>
              <a:off x="3983038" y="4641851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1 w 155"/>
                <a:gd name="T33" fmla="*/ 85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2" name="Freeform 2385"/>
            <p:cNvSpPr/>
            <p:nvPr/>
          </p:nvSpPr>
          <p:spPr bwMode="auto">
            <a:xfrm>
              <a:off x="3773488" y="4711701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3" name="Freeform 2386"/>
            <p:cNvSpPr/>
            <p:nvPr/>
          </p:nvSpPr>
          <p:spPr bwMode="auto">
            <a:xfrm>
              <a:off x="3773488" y="4783138"/>
              <a:ext cx="49213" cy="47625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4" name="Freeform 2387"/>
            <p:cNvSpPr/>
            <p:nvPr/>
          </p:nvSpPr>
          <p:spPr bwMode="auto">
            <a:xfrm>
              <a:off x="3841751" y="47117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5" name="Freeform 2388"/>
            <p:cNvSpPr/>
            <p:nvPr/>
          </p:nvSpPr>
          <p:spPr bwMode="auto">
            <a:xfrm>
              <a:off x="3841751" y="47831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9 h 154"/>
                <a:gd name="T62" fmla="*/ 145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6" name="Freeform 2389"/>
            <p:cNvSpPr/>
            <p:nvPr/>
          </p:nvSpPr>
          <p:spPr bwMode="auto">
            <a:xfrm>
              <a:off x="3913188" y="4711701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7" name="Freeform 2390"/>
            <p:cNvSpPr/>
            <p:nvPr/>
          </p:nvSpPr>
          <p:spPr bwMode="auto">
            <a:xfrm>
              <a:off x="3913188" y="4783138"/>
              <a:ext cx="47625" cy="47625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8" name="Freeform 2391"/>
            <p:cNvSpPr/>
            <p:nvPr/>
          </p:nvSpPr>
          <p:spPr bwMode="auto">
            <a:xfrm>
              <a:off x="3983038" y="4711701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29" name="Freeform 2392"/>
            <p:cNvSpPr/>
            <p:nvPr/>
          </p:nvSpPr>
          <p:spPr bwMode="auto">
            <a:xfrm>
              <a:off x="3983038" y="47831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0" name="Freeform 2393"/>
            <p:cNvSpPr/>
            <p:nvPr/>
          </p:nvSpPr>
          <p:spPr bwMode="auto">
            <a:xfrm>
              <a:off x="3773488" y="4852988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4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1" name="Freeform 2394"/>
            <p:cNvSpPr/>
            <p:nvPr/>
          </p:nvSpPr>
          <p:spPr bwMode="auto">
            <a:xfrm>
              <a:off x="3773488" y="49228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0 h 153"/>
                <a:gd name="T10" fmla="*/ 120 w 154"/>
                <a:gd name="T11" fmla="*/ 141 h 153"/>
                <a:gd name="T12" fmla="*/ 106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2" name="Freeform 2395"/>
            <p:cNvSpPr/>
            <p:nvPr/>
          </p:nvSpPr>
          <p:spPr bwMode="auto">
            <a:xfrm>
              <a:off x="3773488" y="499427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9 h 154"/>
                <a:gd name="T62" fmla="*/ 144 w 154"/>
                <a:gd name="T63" fmla="*/ 40 h 154"/>
                <a:gd name="T64" fmla="*/ 150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3" name="Freeform 2396"/>
            <p:cNvSpPr/>
            <p:nvPr/>
          </p:nvSpPr>
          <p:spPr bwMode="auto">
            <a:xfrm>
              <a:off x="3424238" y="4154488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4" name="Freeform 2397"/>
            <p:cNvSpPr/>
            <p:nvPr/>
          </p:nvSpPr>
          <p:spPr bwMode="auto">
            <a:xfrm>
              <a:off x="3424238" y="42243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5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5" name="Freeform 2398"/>
            <p:cNvSpPr/>
            <p:nvPr/>
          </p:nvSpPr>
          <p:spPr bwMode="auto">
            <a:xfrm>
              <a:off x="3492501" y="415448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6" name="Freeform 2399"/>
            <p:cNvSpPr/>
            <p:nvPr/>
          </p:nvSpPr>
          <p:spPr bwMode="auto">
            <a:xfrm>
              <a:off x="3492501" y="42243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5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7" name="Freeform 2400"/>
            <p:cNvSpPr/>
            <p:nvPr/>
          </p:nvSpPr>
          <p:spPr bwMode="auto">
            <a:xfrm>
              <a:off x="3562351" y="415448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8" name="Freeform 2401"/>
            <p:cNvSpPr/>
            <p:nvPr/>
          </p:nvSpPr>
          <p:spPr bwMode="auto">
            <a:xfrm>
              <a:off x="3562351" y="42243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5 h 155"/>
                <a:gd name="T56" fmla="*/ 115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39" name="Freeform 2402"/>
            <p:cNvSpPr/>
            <p:nvPr/>
          </p:nvSpPr>
          <p:spPr bwMode="auto">
            <a:xfrm>
              <a:off x="3633788" y="415448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0" name="Freeform 2403"/>
            <p:cNvSpPr/>
            <p:nvPr/>
          </p:nvSpPr>
          <p:spPr bwMode="auto">
            <a:xfrm>
              <a:off x="3633788" y="42243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5 h 155"/>
                <a:gd name="T56" fmla="*/ 113 w 153"/>
                <a:gd name="T57" fmla="*/ 11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5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6" y="7"/>
                  </a:lnTo>
                  <a:lnTo>
                    <a:pt x="53" y="5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1" name="Freeform 2404"/>
            <p:cNvSpPr/>
            <p:nvPr/>
          </p:nvSpPr>
          <p:spPr bwMode="auto">
            <a:xfrm>
              <a:off x="3703638" y="4154488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2" name="Freeform 2405"/>
            <p:cNvSpPr/>
            <p:nvPr/>
          </p:nvSpPr>
          <p:spPr bwMode="auto">
            <a:xfrm>
              <a:off x="3703638" y="42243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2 h 155"/>
                <a:gd name="T12" fmla="*/ 107 w 153"/>
                <a:gd name="T13" fmla="*/ 149 h 155"/>
                <a:gd name="T14" fmla="*/ 93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3" name="Freeform 2406"/>
            <p:cNvSpPr/>
            <p:nvPr/>
          </p:nvSpPr>
          <p:spPr bwMode="auto">
            <a:xfrm>
              <a:off x="3074988" y="4154488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4" name="Freeform 2407"/>
            <p:cNvSpPr/>
            <p:nvPr/>
          </p:nvSpPr>
          <p:spPr bwMode="auto">
            <a:xfrm>
              <a:off x="3074988" y="42243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5" name="Freeform 2408"/>
            <p:cNvSpPr/>
            <p:nvPr/>
          </p:nvSpPr>
          <p:spPr bwMode="auto">
            <a:xfrm>
              <a:off x="3143251" y="415448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6" name="Freeform 2409"/>
            <p:cNvSpPr/>
            <p:nvPr/>
          </p:nvSpPr>
          <p:spPr bwMode="auto">
            <a:xfrm>
              <a:off x="3143251" y="42243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7" name="Freeform 2410"/>
            <p:cNvSpPr/>
            <p:nvPr/>
          </p:nvSpPr>
          <p:spPr bwMode="auto">
            <a:xfrm>
              <a:off x="3214688" y="4154488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8" name="Freeform 2411"/>
            <p:cNvSpPr/>
            <p:nvPr/>
          </p:nvSpPr>
          <p:spPr bwMode="auto">
            <a:xfrm>
              <a:off x="3214688" y="42243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49" name="Freeform 2412"/>
            <p:cNvSpPr/>
            <p:nvPr/>
          </p:nvSpPr>
          <p:spPr bwMode="auto">
            <a:xfrm>
              <a:off x="3284538" y="415448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0" name="Freeform 2413"/>
            <p:cNvSpPr/>
            <p:nvPr/>
          </p:nvSpPr>
          <p:spPr bwMode="auto">
            <a:xfrm>
              <a:off x="3284538" y="42243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1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1" name="Freeform 2414"/>
            <p:cNvSpPr/>
            <p:nvPr/>
          </p:nvSpPr>
          <p:spPr bwMode="auto">
            <a:xfrm>
              <a:off x="3354388" y="415448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2" name="Freeform 2415"/>
            <p:cNvSpPr/>
            <p:nvPr/>
          </p:nvSpPr>
          <p:spPr bwMode="auto">
            <a:xfrm>
              <a:off x="3354388" y="42243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5 h 155"/>
                <a:gd name="T56" fmla="*/ 114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3" name="Freeform 2417"/>
            <p:cNvSpPr/>
            <p:nvPr/>
          </p:nvSpPr>
          <p:spPr bwMode="auto">
            <a:xfrm>
              <a:off x="2862263" y="415448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19 w 153"/>
                <a:gd name="T11" fmla="*/ 141 h 155"/>
                <a:gd name="T12" fmla="*/ 107 w 153"/>
                <a:gd name="T13" fmla="*/ 148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4" name="Freeform 2418"/>
            <p:cNvSpPr/>
            <p:nvPr/>
          </p:nvSpPr>
          <p:spPr bwMode="auto">
            <a:xfrm>
              <a:off x="2862263" y="42243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19 w 153"/>
                <a:gd name="T11" fmla="*/ 142 h 155"/>
                <a:gd name="T12" fmla="*/ 107 w 153"/>
                <a:gd name="T13" fmla="*/ 149 h 155"/>
                <a:gd name="T14" fmla="*/ 92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5" name="Freeform 2419"/>
            <p:cNvSpPr/>
            <p:nvPr/>
          </p:nvSpPr>
          <p:spPr bwMode="auto">
            <a:xfrm>
              <a:off x="2932113" y="4154488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6" name="Freeform 2420"/>
            <p:cNvSpPr/>
            <p:nvPr/>
          </p:nvSpPr>
          <p:spPr bwMode="auto">
            <a:xfrm>
              <a:off x="2932113" y="42243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7" name="Freeform 2421"/>
            <p:cNvSpPr/>
            <p:nvPr/>
          </p:nvSpPr>
          <p:spPr bwMode="auto">
            <a:xfrm>
              <a:off x="3001963" y="415448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4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8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2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8" name="Freeform 2422"/>
            <p:cNvSpPr/>
            <p:nvPr/>
          </p:nvSpPr>
          <p:spPr bwMode="auto">
            <a:xfrm>
              <a:off x="3001963" y="42243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5 h 155"/>
                <a:gd name="T56" fmla="*/ 115 w 155"/>
                <a:gd name="T57" fmla="*/ 11 h 155"/>
                <a:gd name="T58" fmla="*/ 127 w 155"/>
                <a:gd name="T59" fmla="*/ 19 h 155"/>
                <a:gd name="T60" fmla="*/ 138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1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1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2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1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2" y="11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1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59" name="Freeform 2423"/>
            <p:cNvSpPr/>
            <p:nvPr/>
          </p:nvSpPr>
          <p:spPr bwMode="auto">
            <a:xfrm>
              <a:off x="2724151" y="4154488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9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0" name="Freeform 2424"/>
            <p:cNvSpPr/>
            <p:nvPr/>
          </p:nvSpPr>
          <p:spPr bwMode="auto">
            <a:xfrm>
              <a:off x="2724151" y="42243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9 w 154"/>
                <a:gd name="T19" fmla="*/ 155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1" name="Freeform 2425"/>
            <p:cNvSpPr/>
            <p:nvPr/>
          </p:nvSpPr>
          <p:spPr bwMode="auto">
            <a:xfrm>
              <a:off x="2792413" y="415448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2" name="Freeform 2426"/>
            <p:cNvSpPr/>
            <p:nvPr/>
          </p:nvSpPr>
          <p:spPr bwMode="auto">
            <a:xfrm>
              <a:off x="2792413" y="42243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5 h 155"/>
                <a:gd name="T56" fmla="*/ 115 w 155"/>
                <a:gd name="T57" fmla="*/ 11 h 155"/>
                <a:gd name="T58" fmla="*/ 126 w 155"/>
                <a:gd name="T59" fmla="*/ 19 h 155"/>
                <a:gd name="T60" fmla="*/ 138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3" name="Freeform 2427"/>
            <p:cNvSpPr/>
            <p:nvPr/>
          </p:nvSpPr>
          <p:spPr bwMode="auto">
            <a:xfrm>
              <a:off x="3773488" y="4154488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4" name="Freeform 2428"/>
            <p:cNvSpPr/>
            <p:nvPr/>
          </p:nvSpPr>
          <p:spPr bwMode="auto">
            <a:xfrm>
              <a:off x="3773488" y="42243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99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5" name="Freeform 2429"/>
            <p:cNvSpPr/>
            <p:nvPr/>
          </p:nvSpPr>
          <p:spPr bwMode="auto">
            <a:xfrm>
              <a:off x="3841751" y="415448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7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6" name="Freeform 2430"/>
            <p:cNvSpPr/>
            <p:nvPr/>
          </p:nvSpPr>
          <p:spPr bwMode="auto">
            <a:xfrm>
              <a:off x="3841751" y="42243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7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5 h 155"/>
                <a:gd name="T56" fmla="*/ 114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7" name="Freeform 2431"/>
            <p:cNvSpPr/>
            <p:nvPr/>
          </p:nvSpPr>
          <p:spPr bwMode="auto">
            <a:xfrm>
              <a:off x="3913188" y="4154488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8" name="Freeform 2432"/>
            <p:cNvSpPr/>
            <p:nvPr/>
          </p:nvSpPr>
          <p:spPr bwMode="auto">
            <a:xfrm>
              <a:off x="3913188" y="42243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69" name="Freeform 2433"/>
            <p:cNvSpPr/>
            <p:nvPr/>
          </p:nvSpPr>
          <p:spPr bwMode="auto">
            <a:xfrm>
              <a:off x="3983038" y="415448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0" name="Freeform 2434"/>
            <p:cNvSpPr/>
            <p:nvPr/>
          </p:nvSpPr>
          <p:spPr bwMode="auto">
            <a:xfrm>
              <a:off x="3983038" y="42243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1 w 155"/>
                <a:gd name="T55" fmla="*/ 5 h 155"/>
                <a:gd name="T56" fmla="*/ 115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1" name="Freeform 2435"/>
            <p:cNvSpPr/>
            <p:nvPr/>
          </p:nvSpPr>
          <p:spPr bwMode="auto">
            <a:xfrm>
              <a:off x="4046538" y="42910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1 h 155"/>
                <a:gd name="T64" fmla="*/ 152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2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2" name="Freeform 2436"/>
            <p:cNvSpPr/>
            <p:nvPr/>
          </p:nvSpPr>
          <p:spPr bwMode="auto">
            <a:xfrm>
              <a:off x="4046538" y="43624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2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3" name="Freeform 2437"/>
            <p:cNvSpPr/>
            <p:nvPr/>
          </p:nvSpPr>
          <p:spPr bwMode="auto">
            <a:xfrm>
              <a:off x="4046538" y="4432300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0 h 155"/>
                <a:gd name="T64" fmla="*/ 152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4" name="Freeform 2438"/>
            <p:cNvSpPr/>
            <p:nvPr/>
          </p:nvSpPr>
          <p:spPr bwMode="auto">
            <a:xfrm>
              <a:off x="4046538" y="4154488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0 h 155"/>
                <a:gd name="T64" fmla="*/ 152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2" y="100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2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5" name="Freeform 2439"/>
            <p:cNvSpPr/>
            <p:nvPr/>
          </p:nvSpPr>
          <p:spPr bwMode="auto">
            <a:xfrm>
              <a:off x="4046538" y="42243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5 h 155"/>
                <a:gd name="T56" fmla="*/ 115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2 h 155"/>
                <a:gd name="T64" fmla="*/ 152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2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8" y="48"/>
                  </a:lnTo>
                  <a:lnTo>
                    <a:pt x="152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6" name="Freeform 2440"/>
            <p:cNvSpPr/>
            <p:nvPr/>
          </p:nvSpPr>
          <p:spPr bwMode="auto">
            <a:xfrm>
              <a:off x="4122738" y="429101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7" name="Freeform 2441"/>
            <p:cNvSpPr/>
            <p:nvPr/>
          </p:nvSpPr>
          <p:spPr bwMode="auto">
            <a:xfrm>
              <a:off x="4122738" y="436245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3 w 153"/>
                <a:gd name="T43" fmla="*/ 23 h 154"/>
                <a:gd name="T44" fmla="*/ 34 w 153"/>
                <a:gd name="T45" fmla="*/ 13 h 154"/>
                <a:gd name="T46" fmla="*/ 47 w 153"/>
                <a:gd name="T47" fmla="*/ 6 h 154"/>
                <a:gd name="T48" fmla="*/ 61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8" name="Freeform 2442"/>
            <p:cNvSpPr/>
            <p:nvPr/>
          </p:nvSpPr>
          <p:spPr bwMode="auto">
            <a:xfrm>
              <a:off x="4122738" y="42243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3 w 153"/>
                <a:gd name="T43" fmla="*/ 23 h 155"/>
                <a:gd name="T44" fmla="*/ 34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1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79" name="Freeform 2443"/>
            <p:cNvSpPr/>
            <p:nvPr/>
          </p:nvSpPr>
          <p:spPr bwMode="auto">
            <a:xfrm>
              <a:off x="3424238" y="4010025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9 h 155"/>
                <a:gd name="T58" fmla="*/ 127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0" name="Freeform 2444"/>
            <p:cNvSpPr/>
            <p:nvPr/>
          </p:nvSpPr>
          <p:spPr bwMode="auto">
            <a:xfrm>
              <a:off x="3424238" y="407987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7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1" name="Freeform 2445"/>
            <p:cNvSpPr/>
            <p:nvPr/>
          </p:nvSpPr>
          <p:spPr bwMode="auto">
            <a:xfrm>
              <a:off x="3492501" y="40100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7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2" name="Freeform 2446"/>
            <p:cNvSpPr/>
            <p:nvPr/>
          </p:nvSpPr>
          <p:spPr bwMode="auto">
            <a:xfrm>
              <a:off x="3492501" y="40798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3" name="Freeform 2447"/>
            <p:cNvSpPr/>
            <p:nvPr/>
          </p:nvSpPr>
          <p:spPr bwMode="auto">
            <a:xfrm>
              <a:off x="3562351" y="40100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0 w 155"/>
                <a:gd name="T29" fmla="*/ 113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7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4" name="Freeform 2448"/>
            <p:cNvSpPr/>
            <p:nvPr/>
          </p:nvSpPr>
          <p:spPr bwMode="auto">
            <a:xfrm>
              <a:off x="3562351" y="40798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9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5" name="Freeform 2449"/>
            <p:cNvSpPr/>
            <p:nvPr/>
          </p:nvSpPr>
          <p:spPr bwMode="auto">
            <a:xfrm>
              <a:off x="3633788" y="40100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6" name="Freeform 2450"/>
            <p:cNvSpPr/>
            <p:nvPr/>
          </p:nvSpPr>
          <p:spPr bwMode="auto">
            <a:xfrm>
              <a:off x="3633788" y="40798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5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7" name="Freeform 2451"/>
            <p:cNvSpPr/>
            <p:nvPr/>
          </p:nvSpPr>
          <p:spPr bwMode="auto">
            <a:xfrm>
              <a:off x="3703638" y="401002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7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8" name="Freeform 2452"/>
            <p:cNvSpPr/>
            <p:nvPr/>
          </p:nvSpPr>
          <p:spPr bwMode="auto">
            <a:xfrm>
              <a:off x="3703638" y="4079875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2 h 155"/>
                <a:gd name="T12" fmla="*/ 107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89" name="Freeform 2453"/>
            <p:cNvSpPr/>
            <p:nvPr/>
          </p:nvSpPr>
          <p:spPr bwMode="auto">
            <a:xfrm>
              <a:off x="3074988" y="4010025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0" name="Freeform 2454"/>
            <p:cNvSpPr/>
            <p:nvPr/>
          </p:nvSpPr>
          <p:spPr bwMode="auto">
            <a:xfrm>
              <a:off x="3074988" y="407987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1" name="Freeform 2455"/>
            <p:cNvSpPr/>
            <p:nvPr/>
          </p:nvSpPr>
          <p:spPr bwMode="auto">
            <a:xfrm>
              <a:off x="3143251" y="40100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2" name="Freeform 2456"/>
            <p:cNvSpPr/>
            <p:nvPr/>
          </p:nvSpPr>
          <p:spPr bwMode="auto">
            <a:xfrm>
              <a:off x="3143251" y="40798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3" name="Freeform 2457"/>
            <p:cNvSpPr/>
            <p:nvPr/>
          </p:nvSpPr>
          <p:spPr bwMode="auto">
            <a:xfrm>
              <a:off x="3214688" y="401002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4" name="Freeform 2458"/>
            <p:cNvSpPr/>
            <p:nvPr/>
          </p:nvSpPr>
          <p:spPr bwMode="auto">
            <a:xfrm>
              <a:off x="3214688" y="4079875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5" name="Freeform 2459"/>
            <p:cNvSpPr/>
            <p:nvPr/>
          </p:nvSpPr>
          <p:spPr bwMode="auto">
            <a:xfrm>
              <a:off x="3284538" y="40100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6" name="Freeform 2460"/>
            <p:cNvSpPr/>
            <p:nvPr/>
          </p:nvSpPr>
          <p:spPr bwMode="auto">
            <a:xfrm>
              <a:off x="3284538" y="40798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3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7" name="Freeform 2461"/>
            <p:cNvSpPr/>
            <p:nvPr/>
          </p:nvSpPr>
          <p:spPr bwMode="auto">
            <a:xfrm>
              <a:off x="3354388" y="40100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0 w 155"/>
                <a:gd name="T33" fmla="*/ 85 h 155"/>
                <a:gd name="T34" fmla="*/ 0 w 155"/>
                <a:gd name="T35" fmla="*/ 77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7 w 155"/>
                <a:gd name="T51" fmla="*/ 0 h 155"/>
                <a:gd name="T52" fmla="*/ 85 w 155"/>
                <a:gd name="T53" fmla="*/ 0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7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8" name="Freeform 2462"/>
            <p:cNvSpPr/>
            <p:nvPr/>
          </p:nvSpPr>
          <p:spPr bwMode="auto">
            <a:xfrm>
              <a:off x="3354388" y="40798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9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99" name="Freeform 2463"/>
            <p:cNvSpPr/>
            <p:nvPr/>
          </p:nvSpPr>
          <p:spPr bwMode="auto">
            <a:xfrm>
              <a:off x="2862263" y="40100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1 h 155"/>
                <a:gd name="T12" fmla="*/ 107 w 153"/>
                <a:gd name="T13" fmla="*/ 148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4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1 h 155"/>
                <a:gd name="T50" fmla="*/ 77 w 153"/>
                <a:gd name="T51" fmla="*/ 0 h 155"/>
                <a:gd name="T52" fmla="*/ 85 w 153"/>
                <a:gd name="T53" fmla="*/ 0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0" name="Freeform 2464"/>
            <p:cNvSpPr/>
            <p:nvPr/>
          </p:nvSpPr>
          <p:spPr bwMode="auto">
            <a:xfrm>
              <a:off x="2862263" y="40798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2 h 155"/>
                <a:gd name="T12" fmla="*/ 107 w 153"/>
                <a:gd name="T13" fmla="*/ 149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1" name="Freeform 2465"/>
            <p:cNvSpPr/>
            <p:nvPr/>
          </p:nvSpPr>
          <p:spPr bwMode="auto">
            <a:xfrm>
              <a:off x="2932113" y="40100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2" name="Freeform 2466"/>
            <p:cNvSpPr/>
            <p:nvPr/>
          </p:nvSpPr>
          <p:spPr bwMode="auto">
            <a:xfrm>
              <a:off x="2932113" y="40798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3" name="Freeform 2467"/>
            <p:cNvSpPr/>
            <p:nvPr/>
          </p:nvSpPr>
          <p:spPr bwMode="auto">
            <a:xfrm>
              <a:off x="3001963" y="40100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11 w 155"/>
                <a:gd name="T29" fmla="*/ 113 h 155"/>
                <a:gd name="T30" fmla="*/ 4 w 155"/>
                <a:gd name="T31" fmla="*/ 100 h 155"/>
                <a:gd name="T32" fmla="*/ 2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7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4" name="Freeform 2468"/>
            <p:cNvSpPr/>
            <p:nvPr/>
          </p:nvSpPr>
          <p:spPr bwMode="auto">
            <a:xfrm>
              <a:off x="3001963" y="40798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5 h 155"/>
                <a:gd name="T24" fmla="*/ 29 w 155"/>
                <a:gd name="T25" fmla="*/ 137 h 155"/>
                <a:gd name="T26" fmla="*/ 19 w 155"/>
                <a:gd name="T27" fmla="*/ 127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8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2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5" name="Freeform 2469"/>
            <p:cNvSpPr/>
            <p:nvPr/>
          </p:nvSpPr>
          <p:spPr bwMode="auto">
            <a:xfrm>
              <a:off x="2724151" y="4010025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9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1 h 155"/>
                <a:gd name="T50" fmla="*/ 76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8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6" name="Freeform 2470"/>
            <p:cNvSpPr/>
            <p:nvPr/>
          </p:nvSpPr>
          <p:spPr bwMode="auto">
            <a:xfrm>
              <a:off x="2724151" y="407987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9 w 154"/>
                <a:gd name="T19" fmla="*/ 155 h 155"/>
                <a:gd name="T20" fmla="*/ 53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7" name="Freeform 2471"/>
            <p:cNvSpPr/>
            <p:nvPr/>
          </p:nvSpPr>
          <p:spPr bwMode="auto">
            <a:xfrm>
              <a:off x="2792413" y="40100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3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7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8" name="Freeform 2472"/>
            <p:cNvSpPr/>
            <p:nvPr/>
          </p:nvSpPr>
          <p:spPr bwMode="auto">
            <a:xfrm>
              <a:off x="2792413" y="40798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7 h 155"/>
                <a:gd name="T26" fmla="*/ 19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09" name="Freeform 2473"/>
            <p:cNvSpPr/>
            <p:nvPr/>
          </p:nvSpPr>
          <p:spPr bwMode="auto">
            <a:xfrm>
              <a:off x="3773488" y="40798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0" name="Freeform 2474"/>
            <p:cNvSpPr/>
            <p:nvPr/>
          </p:nvSpPr>
          <p:spPr bwMode="auto">
            <a:xfrm>
              <a:off x="2516188" y="28289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2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4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5 w 154"/>
                <a:gd name="T59" fmla="*/ 19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2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5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1" name="Freeform 2475"/>
            <p:cNvSpPr/>
            <p:nvPr/>
          </p:nvSpPr>
          <p:spPr bwMode="auto">
            <a:xfrm>
              <a:off x="2516188" y="28987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0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3 h 155"/>
                <a:gd name="T46" fmla="*/ 46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4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5 w 154"/>
                <a:gd name="T59" fmla="*/ 18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2" name="Freeform 2476"/>
            <p:cNvSpPr/>
            <p:nvPr/>
          </p:nvSpPr>
          <p:spPr bwMode="auto">
            <a:xfrm>
              <a:off x="2586038" y="282892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9 w 155"/>
                <a:gd name="T5" fmla="*/ 108 h 155"/>
                <a:gd name="T6" fmla="*/ 141 w 155"/>
                <a:gd name="T7" fmla="*/ 122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3" name="Freeform 2477"/>
            <p:cNvSpPr/>
            <p:nvPr/>
          </p:nvSpPr>
          <p:spPr bwMode="auto">
            <a:xfrm>
              <a:off x="2586038" y="289877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9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0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6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4" name="Freeform 2478"/>
            <p:cNvSpPr/>
            <p:nvPr/>
          </p:nvSpPr>
          <p:spPr bwMode="auto">
            <a:xfrm>
              <a:off x="2655888" y="28289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5" name="Freeform 2479"/>
            <p:cNvSpPr/>
            <p:nvPr/>
          </p:nvSpPr>
          <p:spPr bwMode="auto">
            <a:xfrm>
              <a:off x="2655888" y="28987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0 h 155"/>
                <a:gd name="T22" fmla="*/ 40 w 154"/>
                <a:gd name="T23" fmla="*/ 145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6" name="Freeform 2480"/>
            <p:cNvSpPr/>
            <p:nvPr/>
          </p:nvSpPr>
          <p:spPr bwMode="auto">
            <a:xfrm>
              <a:off x="2727326" y="282892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2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2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7" name="Freeform 2481"/>
            <p:cNvSpPr/>
            <p:nvPr/>
          </p:nvSpPr>
          <p:spPr bwMode="auto">
            <a:xfrm>
              <a:off x="2727326" y="2898775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7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0 h 155"/>
                <a:gd name="T22" fmla="*/ 41 w 154"/>
                <a:gd name="T23" fmla="*/ 145 h 155"/>
                <a:gd name="T24" fmla="*/ 29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8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8" name="Freeform 2482"/>
            <p:cNvSpPr/>
            <p:nvPr/>
          </p:nvSpPr>
          <p:spPr bwMode="auto">
            <a:xfrm>
              <a:off x="2797176" y="2828925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2 h 155"/>
                <a:gd name="T8" fmla="*/ 130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2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2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19" name="Freeform 2483"/>
            <p:cNvSpPr/>
            <p:nvPr/>
          </p:nvSpPr>
          <p:spPr bwMode="auto">
            <a:xfrm>
              <a:off x="2797176" y="289877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0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0" name="Freeform 2484"/>
            <p:cNvSpPr/>
            <p:nvPr/>
          </p:nvSpPr>
          <p:spPr bwMode="auto">
            <a:xfrm>
              <a:off x="2516188" y="29702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4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5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2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1" name="Freeform 2485"/>
            <p:cNvSpPr/>
            <p:nvPr/>
          </p:nvSpPr>
          <p:spPr bwMode="auto">
            <a:xfrm>
              <a:off x="2727326" y="29702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4 h 155"/>
                <a:gd name="T56" fmla="*/ 114 w 154"/>
                <a:gd name="T57" fmla="*/ 10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2" name="Freeform 2486"/>
            <p:cNvSpPr/>
            <p:nvPr/>
          </p:nvSpPr>
          <p:spPr bwMode="auto">
            <a:xfrm>
              <a:off x="2727326" y="3041650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49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5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6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8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3" name="Freeform 2487"/>
            <p:cNvSpPr/>
            <p:nvPr/>
          </p:nvSpPr>
          <p:spPr bwMode="auto">
            <a:xfrm>
              <a:off x="2794001" y="32448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2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8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4" name="Freeform 2488"/>
            <p:cNvSpPr/>
            <p:nvPr/>
          </p:nvSpPr>
          <p:spPr bwMode="auto">
            <a:xfrm>
              <a:off x="2862263" y="32448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2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5" name="Freeform 2489"/>
            <p:cNvSpPr/>
            <p:nvPr/>
          </p:nvSpPr>
          <p:spPr bwMode="auto">
            <a:xfrm>
              <a:off x="2998788" y="331628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3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6" name="Freeform 2490"/>
            <p:cNvSpPr/>
            <p:nvPr/>
          </p:nvSpPr>
          <p:spPr bwMode="auto">
            <a:xfrm>
              <a:off x="2166938" y="282892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2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2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7" name="Freeform 2491"/>
            <p:cNvSpPr/>
            <p:nvPr/>
          </p:nvSpPr>
          <p:spPr bwMode="auto">
            <a:xfrm>
              <a:off x="2166938" y="289877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0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8" name="Freeform 2492"/>
            <p:cNvSpPr/>
            <p:nvPr/>
          </p:nvSpPr>
          <p:spPr bwMode="auto">
            <a:xfrm>
              <a:off x="2236788" y="28289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29" name="Freeform 2493"/>
            <p:cNvSpPr/>
            <p:nvPr/>
          </p:nvSpPr>
          <p:spPr bwMode="auto">
            <a:xfrm>
              <a:off x="2236788" y="28987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0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8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0" name="Freeform 2494"/>
            <p:cNvSpPr/>
            <p:nvPr/>
          </p:nvSpPr>
          <p:spPr bwMode="auto">
            <a:xfrm>
              <a:off x="2306638" y="28289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2 h 155"/>
                <a:gd name="T8" fmla="*/ 131 w 154"/>
                <a:gd name="T9" fmla="*/ 132 h 155"/>
                <a:gd name="T10" fmla="*/ 119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1" name="Freeform 2495"/>
            <p:cNvSpPr/>
            <p:nvPr/>
          </p:nvSpPr>
          <p:spPr bwMode="auto">
            <a:xfrm>
              <a:off x="2306638" y="28987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0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3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2" name="Freeform 2496"/>
            <p:cNvSpPr/>
            <p:nvPr/>
          </p:nvSpPr>
          <p:spPr bwMode="auto">
            <a:xfrm>
              <a:off x="2378076" y="282892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3" name="Freeform 2497"/>
            <p:cNvSpPr/>
            <p:nvPr/>
          </p:nvSpPr>
          <p:spPr bwMode="auto">
            <a:xfrm>
              <a:off x="2378076" y="2898775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0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4" name="Freeform 2498"/>
            <p:cNvSpPr/>
            <p:nvPr/>
          </p:nvSpPr>
          <p:spPr bwMode="auto">
            <a:xfrm>
              <a:off x="2446338" y="28289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2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5" name="Freeform 2499"/>
            <p:cNvSpPr/>
            <p:nvPr/>
          </p:nvSpPr>
          <p:spPr bwMode="auto">
            <a:xfrm>
              <a:off x="2446338" y="28987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0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6" name="Freeform 2500"/>
            <p:cNvSpPr/>
            <p:nvPr/>
          </p:nvSpPr>
          <p:spPr bwMode="auto">
            <a:xfrm>
              <a:off x="1882776" y="297021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8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7" name="Freeform 2501"/>
            <p:cNvSpPr/>
            <p:nvPr/>
          </p:nvSpPr>
          <p:spPr bwMode="auto">
            <a:xfrm>
              <a:off x="1882776" y="3041650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6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8" name="Freeform 2502"/>
            <p:cNvSpPr/>
            <p:nvPr/>
          </p:nvSpPr>
          <p:spPr bwMode="auto">
            <a:xfrm>
              <a:off x="2236788" y="29702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39" name="Freeform 2503"/>
            <p:cNvSpPr/>
            <p:nvPr/>
          </p:nvSpPr>
          <p:spPr bwMode="auto">
            <a:xfrm>
              <a:off x="2236788" y="30416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0" name="Freeform 2504"/>
            <p:cNvSpPr/>
            <p:nvPr/>
          </p:nvSpPr>
          <p:spPr bwMode="auto">
            <a:xfrm>
              <a:off x="2306638" y="29702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1" name="Freeform 2505"/>
            <p:cNvSpPr/>
            <p:nvPr/>
          </p:nvSpPr>
          <p:spPr bwMode="auto">
            <a:xfrm>
              <a:off x="2378076" y="29702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2" name="Freeform 2506"/>
            <p:cNvSpPr/>
            <p:nvPr/>
          </p:nvSpPr>
          <p:spPr bwMode="auto">
            <a:xfrm>
              <a:off x="2446338" y="29702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3" name="Freeform 2507"/>
            <p:cNvSpPr/>
            <p:nvPr/>
          </p:nvSpPr>
          <p:spPr bwMode="auto">
            <a:xfrm>
              <a:off x="2166938" y="310832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1 h 155"/>
                <a:gd name="T22" fmla="*/ 40 w 153"/>
                <a:gd name="T23" fmla="*/ 144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3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1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3 h 155"/>
                <a:gd name="T56" fmla="*/ 113 w 153"/>
                <a:gd name="T57" fmla="*/ 9 h 155"/>
                <a:gd name="T58" fmla="*/ 126 w 153"/>
                <a:gd name="T59" fmla="*/ 17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8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4" name="Freeform 2508"/>
            <p:cNvSpPr/>
            <p:nvPr/>
          </p:nvSpPr>
          <p:spPr bwMode="auto">
            <a:xfrm>
              <a:off x="2166938" y="3178175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2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5" name="Freeform 2509"/>
            <p:cNvSpPr/>
            <p:nvPr/>
          </p:nvSpPr>
          <p:spPr bwMode="auto">
            <a:xfrm>
              <a:off x="1955801" y="28289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2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2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6" name="Freeform 2510"/>
            <p:cNvSpPr/>
            <p:nvPr/>
          </p:nvSpPr>
          <p:spPr bwMode="auto">
            <a:xfrm>
              <a:off x="1955801" y="28987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0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3 h 155"/>
                <a:gd name="T46" fmla="*/ 46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7" name="Freeform 2511"/>
            <p:cNvSpPr/>
            <p:nvPr/>
          </p:nvSpPr>
          <p:spPr bwMode="auto">
            <a:xfrm>
              <a:off x="2025651" y="282892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2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11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2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8" name="Freeform 2512"/>
            <p:cNvSpPr/>
            <p:nvPr/>
          </p:nvSpPr>
          <p:spPr bwMode="auto">
            <a:xfrm>
              <a:off x="2025651" y="289877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7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0 h 155"/>
                <a:gd name="T22" fmla="*/ 41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8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8 h 155"/>
                <a:gd name="T60" fmla="*/ 137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49" name="Freeform 2513"/>
            <p:cNvSpPr/>
            <p:nvPr/>
          </p:nvSpPr>
          <p:spPr bwMode="auto">
            <a:xfrm>
              <a:off x="2095501" y="282892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2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4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0" name="Freeform 2514"/>
            <p:cNvSpPr/>
            <p:nvPr/>
          </p:nvSpPr>
          <p:spPr bwMode="auto">
            <a:xfrm>
              <a:off x="2095501" y="289877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0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4 h 155"/>
                <a:gd name="T30" fmla="*/ 3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1" name="Freeform 2515"/>
            <p:cNvSpPr/>
            <p:nvPr/>
          </p:nvSpPr>
          <p:spPr bwMode="auto">
            <a:xfrm>
              <a:off x="1739901" y="29702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2" name="Freeform 2516"/>
            <p:cNvSpPr/>
            <p:nvPr/>
          </p:nvSpPr>
          <p:spPr bwMode="auto">
            <a:xfrm>
              <a:off x="1739901" y="304165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49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5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6 h 153"/>
                <a:gd name="T40" fmla="*/ 14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49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3" name="Freeform 2517"/>
            <p:cNvSpPr/>
            <p:nvPr/>
          </p:nvSpPr>
          <p:spPr bwMode="auto">
            <a:xfrm>
              <a:off x="1811338" y="29702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4" name="Freeform 2518"/>
            <p:cNvSpPr/>
            <p:nvPr/>
          </p:nvSpPr>
          <p:spPr bwMode="auto">
            <a:xfrm>
              <a:off x="1885951" y="31083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3 h 155"/>
                <a:gd name="T20" fmla="*/ 54 w 154"/>
                <a:gd name="T21" fmla="*/ 151 h 155"/>
                <a:gd name="T22" fmla="*/ 40 w 154"/>
                <a:gd name="T23" fmla="*/ 144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3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3 h 155"/>
                <a:gd name="T56" fmla="*/ 114 w 154"/>
                <a:gd name="T57" fmla="*/ 9 h 155"/>
                <a:gd name="T58" fmla="*/ 126 w 154"/>
                <a:gd name="T59" fmla="*/ 17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8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5" name="Freeform 2519"/>
            <p:cNvSpPr/>
            <p:nvPr/>
          </p:nvSpPr>
          <p:spPr bwMode="auto">
            <a:xfrm>
              <a:off x="2095501" y="310832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0 w 155"/>
                <a:gd name="T23" fmla="*/ 144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3 h 155"/>
                <a:gd name="T30" fmla="*/ 3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3 h 155"/>
                <a:gd name="T56" fmla="*/ 114 w 155"/>
                <a:gd name="T57" fmla="*/ 9 h 155"/>
                <a:gd name="T58" fmla="*/ 126 w 155"/>
                <a:gd name="T59" fmla="*/ 17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6" name="Freeform 2520"/>
            <p:cNvSpPr/>
            <p:nvPr/>
          </p:nvSpPr>
          <p:spPr bwMode="auto">
            <a:xfrm>
              <a:off x="1885951" y="28289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2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7" name="Freeform 2521"/>
            <p:cNvSpPr/>
            <p:nvPr/>
          </p:nvSpPr>
          <p:spPr bwMode="auto">
            <a:xfrm>
              <a:off x="1885951" y="28987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7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0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8" name="Freeform 2522"/>
            <p:cNvSpPr/>
            <p:nvPr/>
          </p:nvSpPr>
          <p:spPr bwMode="auto">
            <a:xfrm>
              <a:off x="1816101" y="28289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2 h 155"/>
                <a:gd name="T10" fmla="*/ 121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2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59" name="Freeform 2523"/>
            <p:cNvSpPr/>
            <p:nvPr/>
          </p:nvSpPr>
          <p:spPr bwMode="auto">
            <a:xfrm>
              <a:off x="1816101" y="28987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0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8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0" name="Freeform 2524"/>
            <p:cNvSpPr/>
            <p:nvPr/>
          </p:nvSpPr>
          <p:spPr bwMode="auto">
            <a:xfrm>
              <a:off x="1747838" y="2828925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2 h 155"/>
                <a:gd name="T8" fmla="*/ 130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2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2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1" name="Freeform 2525"/>
            <p:cNvSpPr/>
            <p:nvPr/>
          </p:nvSpPr>
          <p:spPr bwMode="auto">
            <a:xfrm>
              <a:off x="1674813" y="282892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2 w 154"/>
                <a:gd name="T7" fmla="*/ 122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4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2" y="122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3" y="122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2" name="Freeform 2526"/>
            <p:cNvSpPr/>
            <p:nvPr/>
          </p:nvSpPr>
          <p:spPr bwMode="auto">
            <a:xfrm>
              <a:off x="1747838" y="2898775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0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3" name="Freeform 2527"/>
            <p:cNvSpPr/>
            <p:nvPr/>
          </p:nvSpPr>
          <p:spPr bwMode="auto">
            <a:xfrm>
              <a:off x="2865438" y="28289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2 h 155"/>
                <a:gd name="T10" fmla="*/ 121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3" y="122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4" name="Freeform 2528"/>
            <p:cNvSpPr/>
            <p:nvPr/>
          </p:nvSpPr>
          <p:spPr bwMode="auto">
            <a:xfrm>
              <a:off x="2516188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6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4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5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5" name="Freeform 2529"/>
            <p:cNvSpPr/>
            <p:nvPr/>
          </p:nvSpPr>
          <p:spPr bwMode="auto">
            <a:xfrm>
              <a:off x="2516188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0 w 154"/>
                <a:gd name="T7" fmla="*/ 119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6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6" name="Freeform 2530"/>
            <p:cNvSpPr/>
            <p:nvPr/>
          </p:nvSpPr>
          <p:spPr bwMode="auto">
            <a:xfrm>
              <a:off x="2586038" y="26908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5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7" name="Freeform 2531"/>
            <p:cNvSpPr/>
            <p:nvPr/>
          </p:nvSpPr>
          <p:spPr bwMode="auto">
            <a:xfrm>
              <a:off x="2586038" y="276225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9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8" name="Freeform 2532"/>
            <p:cNvSpPr/>
            <p:nvPr/>
          </p:nvSpPr>
          <p:spPr bwMode="auto">
            <a:xfrm>
              <a:off x="2655888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69" name="Freeform 2533"/>
            <p:cNvSpPr/>
            <p:nvPr/>
          </p:nvSpPr>
          <p:spPr bwMode="auto">
            <a:xfrm>
              <a:off x="2655888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0" name="Freeform 2534"/>
            <p:cNvSpPr/>
            <p:nvPr/>
          </p:nvSpPr>
          <p:spPr bwMode="auto">
            <a:xfrm>
              <a:off x="2727326" y="26908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5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8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1" name="Freeform 2535"/>
            <p:cNvSpPr/>
            <p:nvPr/>
          </p:nvSpPr>
          <p:spPr bwMode="auto">
            <a:xfrm>
              <a:off x="2727326" y="2762250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9 w 154"/>
                <a:gd name="T5" fmla="*/ 106 h 153"/>
                <a:gd name="T6" fmla="*/ 142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8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2" name="Freeform 2536"/>
            <p:cNvSpPr/>
            <p:nvPr/>
          </p:nvSpPr>
          <p:spPr bwMode="auto">
            <a:xfrm>
              <a:off x="2797176" y="26908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3" name="Freeform 2537"/>
            <p:cNvSpPr/>
            <p:nvPr/>
          </p:nvSpPr>
          <p:spPr bwMode="auto">
            <a:xfrm>
              <a:off x="2797176" y="2762250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19 h 153"/>
                <a:gd name="T8" fmla="*/ 130 w 153"/>
                <a:gd name="T9" fmla="*/ 130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0" y="130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4" name="Freeform 2538"/>
            <p:cNvSpPr/>
            <p:nvPr/>
          </p:nvSpPr>
          <p:spPr bwMode="auto">
            <a:xfrm>
              <a:off x="2166938" y="26908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5" name="Freeform 2539"/>
            <p:cNvSpPr/>
            <p:nvPr/>
          </p:nvSpPr>
          <p:spPr bwMode="auto">
            <a:xfrm>
              <a:off x="2166938" y="2762250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19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6" name="Freeform 2540"/>
            <p:cNvSpPr/>
            <p:nvPr/>
          </p:nvSpPr>
          <p:spPr bwMode="auto">
            <a:xfrm>
              <a:off x="2236788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7" name="Freeform 2541"/>
            <p:cNvSpPr/>
            <p:nvPr/>
          </p:nvSpPr>
          <p:spPr bwMode="auto">
            <a:xfrm>
              <a:off x="2236788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8" name="Freeform 2542"/>
            <p:cNvSpPr/>
            <p:nvPr/>
          </p:nvSpPr>
          <p:spPr bwMode="auto">
            <a:xfrm>
              <a:off x="2306638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3 w 154"/>
                <a:gd name="T45" fmla="*/ 13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79" name="Freeform 2543"/>
            <p:cNvSpPr/>
            <p:nvPr/>
          </p:nvSpPr>
          <p:spPr bwMode="auto">
            <a:xfrm>
              <a:off x="2306638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19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0" name="Freeform 2544"/>
            <p:cNvSpPr/>
            <p:nvPr/>
          </p:nvSpPr>
          <p:spPr bwMode="auto">
            <a:xfrm>
              <a:off x="2378076" y="26908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1" name="Freeform 2545"/>
            <p:cNvSpPr/>
            <p:nvPr/>
          </p:nvSpPr>
          <p:spPr bwMode="auto">
            <a:xfrm>
              <a:off x="2378076" y="2762250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5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2" name="Freeform 2546"/>
            <p:cNvSpPr/>
            <p:nvPr/>
          </p:nvSpPr>
          <p:spPr bwMode="auto">
            <a:xfrm>
              <a:off x="2446338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3" name="Freeform 2547"/>
            <p:cNvSpPr/>
            <p:nvPr/>
          </p:nvSpPr>
          <p:spPr bwMode="auto">
            <a:xfrm>
              <a:off x="2446338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0 h 153"/>
                <a:gd name="T12" fmla="*/ 106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4" name="Freeform 2548"/>
            <p:cNvSpPr/>
            <p:nvPr/>
          </p:nvSpPr>
          <p:spPr bwMode="auto">
            <a:xfrm>
              <a:off x="1955801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6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6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5" name="Freeform 2549"/>
            <p:cNvSpPr/>
            <p:nvPr/>
          </p:nvSpPr>
          <p:spPr bwMode="auto">
            <a:xfrm>
              <a:off x="1955801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6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6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6" name="Freeform 2550"/>
            <p:cNvSpPr/>
            <p:nvPr/>
          </p:nvSpPr>
          <p:spPr bwMode="auto">
            <a:xfrm>
              <a:off x="2025651" y="26908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5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8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7" name="Freeform 2551"/>
            <p:cNvSpPr/>
            <p:nvPr/>
          </p:nvSpPr>
          <p:spPr bwMode="auto">
            <a:xfrm>
              <a:off x="2025651" y="276225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2 w 155"/>
                <a:gd name="T7" fmla="*/ 119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8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8" name="Freeform 2552"/>
            <p:cNvSpPr/>
            <p:nvPr/>
          </p:nvSpPr>
          <p:spPr bwMode="auto">
            <a:xfrm>
              <a:off x="1955801" y="3101975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2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1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8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6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89" name="Freeform 2553"/>
            <p:cNvSpPr/>
            <p:nvPr/>
          </p:nvSpPr>
          <p:spPr bwMode="auto">
            <a:xfrm>
              <a:off x="1955801" y="31734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2 h 153"/>
                <a:gd name="T46" fmla="*/ 46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6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0" name="Freeform 2554"/>
            <p:cNvSpPr/>
            <p:nvPr/>
          </p:nvSpPr>
          <p:spPr bwMode="auto">
            <a:xfrm>
              <a:off x="2025651" y="3101975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10 h 154"/>
                <a:gd name="T58" fmla="*/ 127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1" name="Freeform 2555"/>
            <p:cNvSpPr/>
            <p:nvPr/>
          </p:nvSpPr>
          <p:spPr bwMode="auto">
            <a:xfrm>
              <a:off x="2025651" y="317341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2" name="Freeform 2556"/>
            <p:cNvSpPr/>
            <p:nvPr/>
          </p:nvSpPr>
          <p:spPr bwMode="auto">
            <a:xfrm>
              <a:off x="1955801" y="29638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6 h 155"/>
                <a:gd name="T48" fmla="*/ 61 w 154"/>
                <a:gd name="T49" fmla="*/ 1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9 h 155"/>
                <a:gd name="T58" fmla="*/ 127 w 154"/>
                <a:gd name="T59" fmla="*/ 17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3" name="Freeform 2557"/>
            <p:cNvSpPr/>
            <p:nvPr/>
          </p:nvSpPr>
          <p:spPr bwMode="auto">
            <a:xfrm>
              <a:off x="1955801" y="30353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10 w 154"/>
                <a:gd name="T29" fmla="*/ 114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6" y="7"/>
                  </a:lnTo>
                  <a:lnTo>
                    <a:pt x="54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4" name="Freeform 2558"/>
            <p:cNvSpPr/>
            <p:nvPr/>
          </p:nvSpPr>
          <p:spPr bwMode="auto">
            <a:xfrm>
              <a:off x="2025651" y="29638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6 h 155"/>
                <a:gd name="T48" fmla="*/ 62 w 155"/>
                <a:gd name="T49" fmla="*/ 1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7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5" name="Freeform 2559"/>
            <p:cNvSpPr/>
            <p:nvPr/>
          </p:nvSpPr>
          <p:spPr bwMode="auto">
            <a:xfrm>
              <a:off x="2025651" y="30353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7 h 155"/>
                <a:gd name="T26" fmla="*/ 18 w 155"/>
                <a:gd name="T27" fmla="*/ 127 h 155"/>
                <a:gd name="T28" fmla="*/ 10 w 155"/>
                <a:gd name="T29" fmla="*/ 114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5 h 155"/>
                <a:gd name="T56" fmla="*/ 115 w 155"/>
                <a:gd name="T57" fmla="*/ 10 h 155"/>
                <a:gd name="T58" fmla="*/ 127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6" name="Freeform 2560"/>
            <p:cNvSpPr/>
            <p:nvPr/>
          </p:nvSpPr>
          <p:spPr bwMode="auto">
            <a:xfrm>
              <a:off x="2095501" y="26908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5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3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7" name="Freeform 2561"/>
            <p:cNvSpPr/>
            <p:nvPr/>
          </p:nvSpPr>
          <p:spPr bwMode="auto">
            <a:xfrm>
              <a:off x="2095501" y="276225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8" name="Freeform 2562"/>
            <p:cNvSpPr/>
            <p:nvPr/>
          </p:nvSpPr>
          <p:spPr bwMode="auto">
            <a:xfrm>
              <a:off x="1816101" y="26908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3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5 w 155"/>
                <a:gd name="T45" fmla="*/ 13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3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99" name="Freeform 2563"/>
            <p:cNvSpPr/>
            <p:nvPr/>
          </p:nvSpPr>
          <p:spPr bwMode="auto">
            <a:xfrm>
              <a:off x="1816101" y="276225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8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3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0" name="Freeform 2564"/>
            <p:cNvSpPr/>
            <p:nvPr/>
          </p:nvSpPr>
          <p:spPr bwMode="auto">
            <a:xfrm>
              <a:off x="1885951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1" name="Freeform 2565"/>
            <p:cNvSpPr/>
            <p:nvPr/>
          </p:nvSpPr>
          <p:spPr bwMode="auto">
            <a:xfrm>
              <a:off x="1885951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2" name="Freeform 2566"/>
            <p:cNvSpPr/>
            <p:nvPr/>
          </p:nvSpPr>
          <p:spPr bwMode="auto">
            <a:xfrm>
              <a:off x="2865438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3" name="Freeform 2567"/>
            <p:cNvSpPr/>
            <p:nvPr/>
          </p:nvSpPr>
          <p:spPr bwMode="auto">
            <a:xfrm>
              <a:off x="2865438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4" name="Freeform 2568"/>
            <p:cNvSpPr/>
            <p:nvPr/>
          </p:nvSpPr>
          <p:spPr bwMode="auto">
            <a:xfrm>
              <a:off x="2933701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3 w 154"/>
                <a:gd name="T45" fmla="*/ 13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5" name="Freeform 2569"/>
            <p:cNvSpPr/>
            <p:nvPr/>
          </p:nvSpPr>
          <p:spPr bwMode="auto">
            <a:xfrm>
              <a:off x="2933701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3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6" name="Freeform 2570"/>
            <p:cNvSpPr/>
            <p:nvPr/>
          </p:nvSpPr>
          <p:spPr bwMode="auto">
            <a:xfrm>
              <a:off x="2516188" y="25463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4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5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7" name="Freeform 2571"/>
            <p:cNvSpPr/>
            <p:nvPr/>
          </p:nvSpPr>
          <p:spPr bwMode="auto">
            <a:xfrm>
              <a:off x="2516188" y="26177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4 h 155"/>
                <a:gd name="T4" fmla="*/ 148 w 154"/>
                <a:gd name="T5" fmla="*/ 108 h 155"/>
                <a:gd name="T6" fmla="*/ 140 w 154"/>
                <a:gd name="T7" fmla="*/ 122 h 155"/>
                <a:gd name="T8" fmla="*/ 131 w 154"/>
                <a:gd name="T9" fmla="*/ 133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4 w 154"/>
                <a:gd name="T53" fmla="*/ 1 h 155"/>
                <a:gd name="T54" fmla="*/ 100 w 154"/>
                <a:gd name="T55" fmla="*/ 5 h 155"/>
                <a:gd name="T56" fmla="*/ 114 w 154"/>
                <a:gd name="T57" fmla="*/ 11 h 155"/>
                <a:gd name="T58" fmla="*/ 125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4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2"/>
                  </a:lnTo>
                  <a:lnTo>
                    <a:pt x="136" y="127"/>
                  </a:lnTo>
                  <a:lnTo>
                    <a:pt x="131" y="133"/>
                  </a:lnTo>
                  <a:lnTo>
                    <a:pt x="125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3"/>
                  </a:lnTo>
                  <a:lnTo>
                    <a:pt x="18" y="127"/>
                  </a:lnTo>
                  <a:lnTo>
                    <a:pt x="13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4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6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8" name="Freeform 2572"/>
            <p:cNvSpPr/>
            <p:nvPr/>
          </p:nvSpPr>
          <p:spPr bwMode="auto">
            <a:xfrm>
              <a:off x="2586038" y="25463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09" name="Freeform 2573"/>
            <p:cNvSpPr/>
            <p:nvPr/>
          </p:nvSpPr>
          <p:spPr bwMode="auto">
            <a:xfrm>
              <a:off x="2586038" y="26177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4 h 155"/>
                <a:gd name="T4" fmla="*/ 149 w 155"/>
                <a:gd name="T5" fmla="*/ 108 h 155"/>
                <a:gd name="T6" fmla="*/ 141 w 155"/>
                <a:gd name="T7" fmla="*/ 122 h 155"/>
                <a:gd name="T8" fmla="*/ 132 w 155"/>
                <a:gd name="T9" fmla="*/ 133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5 h 155"/>
                <a:gd name="T56" fmla="*/ 115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2" y="94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2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3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4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0" name="Freeform 2574"/>
            <p:cNvSpPr/>
            <p:nvPr/>
          </p:nvSpPr>
          <p:spPr bwMode="auto">
            <a:xfrm>
              <a:off x="2655888" y="25463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1" name="Freeform 2575"/>
            <p:cNvSpPr/>
            <p:nvPr/>
          </p:nvSpPr>
          <p:spPr bwMode="auto">
            <a:xfrm>
              <a:off x="2655888" y="26177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4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3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4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2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3"/>
                  </a:lnTo>
                  <a:lnTo>
                    <a:pt x="17" y="127"/>
                  </a:lnTo>
                  <a:lnTo>
                    <a:pt x="14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2" name="Freeform 2576"/>
            <p:cNvSpPr/>
            <p:nvPr/>
          </p:nvSpPr>
          <p:spPr bwMode="auto">
            <a:xfrm>
              <a:off x="2727326" y="254635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3" name="Freeform 2577"/>
            <p:cNvSpPr/>
            <p:nvPr/>
          </p:nvSpPr>
          <p:spPr bwMode="auto">
            <a:xfrm>
              <a:off x="2727326" y="261778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4 h 155"/>
                <a:gd name="T4" fmla="*/ 149 w 154"/>
                <a:gd name="T5" fmla="*/ 108 h 155"/>
                <a:gd name="T6" fmla="*/ 142 w 154"/>
                <a:gd name="T7" fmla="*/ 122 h 155"/>
                <a:gd name="T8" fmla="*/ 132 w 154"/>
                <a:gd name="T9" fmla="*/ 133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5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4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2"/>
                  </a:lnTo>
                  <a:lnTo>
                    <a:pt x="137" y="127"/>
                  </a:lnTo>
                  <a:lnTo>
                    <a:pt x="132" y="133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3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4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4" name="Freeform 2578"/>
            <p:cNvSpPr/>
            <p:nvPr/>
          </p:nvSpPr>
          <p:spPr bwMode="auto">
            <a:xfrm>
              <a:off x="2797176" y="254635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5" name="Freeform 2579"/>
            <p:cNvSpPr/>
            <p:nvPr/>
          </p:nvSpPr>
          <p:spPr bwMode="auto">
            <a:xfrm>
              <a:off x="2797176" y="261778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4 h 155"/>
                <a:gd name="T4" fmla="*/ 147 w 153"/>
                <a:gd name="T5" fmla="*/ 108 h 155"/>
                <a:gd name="T6" fmla="*/ 140 w 153"/>
                <a:gd name="T7" fmla="*/ 122 h 155"/>
                <a:gd name="T8" fmla="*/ 130 w 153"/>
                <a:gd name="T9" fmla="*/ 133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4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2"/>
                  </a:lnTo>
                  <a:lnTo>
                    <a:pt x="136" y="127"/>
                  </a:lnTo>
                  <a:lnTo>
                    <a:pt x="130" y="133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3"/>
                  </a:lnTo>
                  <a:lnTo>
                    <a:pt x="17" y="127"/>
                  </a:lnTo>
                  <a:lnTo>
                    <a:pt x="12" y="122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6" name="Freeform 2580"/>
            <p:cNvSpPr/>
            <p:nvPr/>
          </p:nvSpPr>
          <p:spPr bwMode="auto">
            <a:xfrm>
              <a:off x="2166938" y="254635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7" name="Freeform 2581"/>
            <p:cNvSpPr/>
            <p:nvPr/>
          </p:nvSpPr>
          <p:spPr bwMode="auto">
            <a:xfrm>
              <a:off x="2166938" y="261778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4 h 155"/>
                <a:gd name="T4" fmla="*/ 147 w 153"/>
                <a:gd name="T5" fmla="*/ 108 h 155"/>
                <a:gd name="T6" fmla="*/ 141 w 153"/>
                <a:gd name="T7" fmla="*/ 122 h 155"/>
                <a:gd name="T8" fmla="*/ 131 w 153"/>
                <a:gd name="T9" fmla="*/ 133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4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1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3"/>
                  </a:lnTo>
                  <a:lnTo>
                    <a:pt x="17" y="127"/>
                  </a:lnTo>
                  <a:lnTo>
                    <a:pt x="12" y="122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8" name="Freeform 2582"/>
            <p:cNvSpPr/>
            <p:nvPr/>
          </p:nvSpPr>
          <p:spPr bwMode="auto">
            <a:xfrm>
              <a:off x="2236788" y="25463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19" name="Freeform 2583"/>
            <p:cNvSpPr/>
            <p:nvPr/>
          </p:nvSpPr>
          <p:spPr bwMode="auto">
            <a:xfrm>
              <a:off x="2236788" y="26177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4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3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4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7" y="127"/>
                  </a:lnTo>
                  <a:lnTo>
                    <a:pt x="132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3"/>
                  </a:lnTo>
                  <a:lnTo>
                    <a:pt x="17" y="127"/>
                  </a:lnTo>
                  <a:lnTo>
                    <a:pt x="13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0" name="Freeform 2584"/>
            <p:cNvSpPr/>
            <p:nvPr/>
          </p:nvSpPr>
          <p:spPr bwMode="auto">
            <a:xfrm>
              <a:off x="2306638" y="25463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1" name="Freeform 2585"/>
            <p:cNvSpPr/>
            <p:nvPr/>
          </p:nvSpPr>
          <p:spPr bwMode="auto">
            <a:xfrm>
              <a:off x="2306638" y="26177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4 h 155"/>
                <a:gd name="T4" fmla="*/ 148 w 154"/>
                <a:gd name="T5" fmla="*/ 108 h 155"/>
                <a:gd name="T6" fmla="*/ 141 w 154"/>
                <a:gd name="T7" fmla="*/ 122 h 155"/>
                <a:gd name="T8" fmla="*/ 131 w 154"/>
                <a:gd name="T9" fmla="*/ 133 h 155"/>
                <a:gd name="T10" fmla="*/ 119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4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1" y="133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3"/>
                  </a:lnTo>
                  <a:lnTo>
                    <a:pt x="17" y="127"/>
                  </a:lnTo>
                  <a:lnTo>
                    <a:pt x="13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2" name="Freeform 2586"/>
            <p:cNvSpPr/>
            <p:nvPr/>
          </p:nvSpPr>
          <p:spPr bwMode="auto">
            <a:xfrm>
              <a:off x="2378076" y="254635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3" name="Freeform 2587"/>
            <p:cNvSpPr/>
            <p:nvPr/>
          </p:nvSpPr>
          <p:spPr bwMode="auto">
            <a:xfrm>
              <a:off x="2378076" y="261778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4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3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4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2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8" y="138"/>
                  </a:lnTo>
                  <a:lnTo>
                    <a:pt x="23" y="133"/>
                  </a:lnTo>
                  <a:lnTo>
                    <a:pt x="17" y="127"/>
                  </a:lnTo>
                  <a:lnTo>
                    <a:pt x="13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4" name="Freeform 2588"/>
            <p:cNvSpPr/>
            <p:nvPr/>
          </p:nvSpPr>
          <p:spPr bwMode="auto">
            <a:xfrm>
              <a:off x="2446338" y="25463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5" name="Freeform 2589"/>
            <p:cNvSpPr/>
            <p:nvPr/>
          </p:nvSpPr>
          <p:spPr bwMode="auto">
            <a:xfrm>
              <a:off x="2446338" y="26177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4 h 155"/>
                <a:gd name="T4" fmla="*/ 147 w 154"/>
                <a:gd name="T5" fmla="*/ 108 h 155"/>
                <a:gd name="T6" fmla="*/ 141 w 154"/>
                <a:gd name="T7" fmla="*/ 122 h 155"/>
                <a:gd name="T8" fmla="*/ 131 w 154"/>
                <a:gd name="T9" fmla="*/ 133 h 155"/>
                <a:gd name="T10" fmla="*/ 120 w 154"/>
                <a:gd name="T11" fmla="*/ 142 h 155"/>
                <a:gd name="T12" fmla="*/ 106 w 154"/>
                <a:gd name="T13" fmla="*/ 149 h 155"/>
                <a:gd name="T14" fmla="*/ 92 w 154"/>
                <a:gd name="T15" fmla="*/ 154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8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5 h 155"/>
                <a:gd name="T56" fmla="*/ 113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4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1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7" y="138"/>
                  </a:lnTo>
                  <a:lnTo>
                    <a:pt x="23" y="133"/>
                  </a:lnTo>
                  <a:lnTo>
                    <a:pt x="17" y="127"/>
                  </a:lnTo>
                  <a:lnTo>
                    <a:pt x="12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6" name="Freeform 2590"/>
            <p:cNvSpPr/>
            <p:nvPr/>
          </p:nvSpPr>
          <p:spPr bwMode="auto">
            <a:xfrm>
              <a:off x="1955801" y="25463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7" name="Freeform 2591"/>
            <p:cNvSpPr/>
            <p:nvPr/>
          </p:nvSpPr>
          <p:spPr bwMode="auto">
            <a:xfrm>
              <a:off x="1955801" y="26177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4 h 155"/>
                <a:gd name="T4" fmla="*/ 148 w 154"/>
                <a:gd name="T5" fmla="*/ 108 h 155"/>
                <a:gd name="T6" fmla="*/ 141 w 154"/>
                <a:gd name="T7" fmla="*/ 122 h 155"/>
                <a:gd name="T8" fmla="*/ 131 w 154"/>
                <a:gd name="T9" fmla="*/ 133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4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7" y="127"/>
                  </a:lnTo>
                  <a:lnTo>
                    <a:pt x="131" y="133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3"/>
                  </a:lnTo>
                  <a:lnTo>
                    <a:pt x="18" y="127"/>
                  </a:lnTo>
                  <a:lnTo>
                    <a:pt x="13" y="122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4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6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8" name="Freeform 2592"/>
            <p:cNvSpPr/>
            <p:nvPr/>
          </p:nvSpPr>
          <p:spPr bwMode="auto">
            <a:xfrm>
              <a:off x="2025651" y="25463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29" name="Freeform 2593"/>
            <p:cNvSpPr/>
            <p:nvPr/>
          </p:nvSpPr>
          <p:spPr bwMode="auto">
            <a:xfrm>
              <a:off x="2025651" y="26177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4 h 155"/>
                <a:gd name="T4" fmla="*/ 149 w 155"/>
                <a:gd name="T5" fmla="*/ 108 h 155"/>
                <a:gd name="T6" fmla="*/ 142 w 155"/>
                <a:gd name="T7" fmla="*/ 122 h 155"/>
                <a:gd name="T8" fmla="*/ 132 w 155"/>
                <a:gd name="T9" fmla="*/ 133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5 h 155"/>
                <a:gd name="T56" fmla="*/ 115 w 155"/>
                <a:gd name="T57" fmla="*/ 11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4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2"/>
                  </a:lnTo>
                  <a:lnTo>
                    <a:pt x="137" y="127"/>
                  </a:lnTo>
                  <a:lnTo>
                    <a:pt x="132" y="133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3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4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0" name="Freeform 2594"/>
            <p:cNvSpPr/>
            <p:nvPr/>
          </p:nvSpPr>
          <p:spPr bwMode="auto">
            <a:xfrm>
              <a:off x="2095501" y="25463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1" name="Freeform 2595"/>
            <p:cNvSpPr/>
            <p:nvPr/>
          </p:nvSpPr>
          <p:spPr bwMode="auto">
            <a:xfrm>
              <a:off x="2095501" y="26177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4 h 155"/>
                <a:gd name="T4" fmla="*/ 149 w 155"/>
                <a:gd name="T5" fmla="*/ 108 h 155"/>
                <a:gd name="T6" fmla="*/ 141 w 155"/>
                <a:gd name="T7" fmla="*/ 122 h 155"/>
                <a:gd name="T8" fmla="*/ 132 w 155"/>
                <a:gd name="T9" fmla="*/ 133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5 h 155"/>
                <a:gd name="T56" fmla="*/ 114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4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2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3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4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2" name="Freeform 2596"/>
            <p:cNvSpPr/>
            <p:nvPr/>
          </p:nvSpPr>
          <p:spPr bwMode="auto">
            <a:xfrm>
              <a:off x="1816101" y="254635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9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3" name="Freeform 2597"/>
            <p:cNvSpPr/>
            <p:nvPr/>
          </p:nvSpPr>
          <p:spPr bwMode="auto">
            <a:xfrm>
              <a:off x="1816101" y="26177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4 h 155"/>
                <a:gd name="T4" fmla="*/ 148 w 155"/>
                <a:gd name="T5" fmla="*/ 108 h 155"/>
                <a:gd name="T6" fmla="*/ 141 w 155"/>
                <a:gd name="T7" fmla="*/ 122 h 155"/>
                <a:gd name="T8" fmla="*/ 132 w 155"/>
                <a:gd name="T9" fmla="*/ 133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5 h 155"/>
                <a:gd name="T56" fmla="*/ 114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4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2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3"/>
                  </a:lnTo>
                  <a:lnTo>
                    <a:pt x="17" y="127"/>
                  </a:lnTo>
                  <a:lnTo>
                    <a:pt x="14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4" name="Freeform 2598"/>
            <p:cNvSpPr/>
            <p:nvPr/>
          </p:nvSpPr>
          <p:spPr bwMode="auto">
            <a:xfrm>
              <a:off x="1885951" y="25463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5" name="Freeform 2599"/>
            <p:cNvSpPr/>
            <p:nvPr/>
          </p:nvSpPr>
          <p:spPr bwMode="auto">
            <a:xfrm>
              <a:off x="1885951" y="26177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4 h 155"/>
                <a:gd name="T4" fmla="*/ 147 w 154"/>
                <a:gd name="T5" fmla="*/ 108 h 155"/>
                <a:gd name="T6" fmla="*/ 141 w 154"/>
                <a:gd name="T7" fmla="*/ 122 h 155"/>
                <a:gd name="T8" fmla="*/ 131 w 154"/>
                <a:gd name="T9" fmla="*/ 133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4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1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3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99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6" name="Freeform 2600"/>
            <p:cNvSpPr/>
            <p:nvPr/>
          </p:nvSpPr>
          <p:spPr bwMode="auto">
            <a:xfrm>
              <a:off x="2516188" y="24066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5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7" name="Freeform 2601"/>
            <p:cNvSpPr/>
            <p:nvPr/>
          </p:nvSpPr>
          <p:spPr bwMode="auto">
            <a:xfrm>
              <a:off x="2516188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6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8" name="Freeform 2602"/>
            <p:cNvSpPr/>
            <p:nvPr/>
          </p:nvSpPr>
          <p:spPr bwMode="auto">
            <a:xfrm>
              <a:off x="2586038" y="2406650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5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39" name="Freeform 2603"/>
            <p:cNvSpPr/>
            <p:nvPr/>
          </p:nvSpPr>
          <p:spPr bwMode="auto">
            <a:xfrm>
              <a:off x="2586038" y="24780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0" name="Freeform 2604"/>
            <p:cNvSpPr/>
            <p:nvPr/>
          </p:nvSpPr>
          <p:spPr bwMode="auto">
            <a:xfrm>
              <a:off x="2655888" y="24066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1" name="Freeform 2605"/>
            <p:cNvSpPr/>
            <p:nvPr/>
          </p:nvSpPr>
          <p:spPr bwMode="auto">
            <a:xfrm>
              <a:off x="2655888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2" name="Freeform 2606"/>
            <p:cNvSpPr/>
            <p:nvPr/>
          </p:nvSpPr>
          <p:spPr bwMode="auto">
            <a:xfrm>
              <a:off x="2727326" y="2406650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5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3" name="Freeform 2607"/>
            <p:cNvSpPr/>
            <p:nvPr/>
          </p:nvSpPr>
          <p:spPr bwMode="auto">
            <a:xfrm>
              <a:off x="2727326" y="2478088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4" name="Freeform 2608"/>
            <p:cNvSpPr/>
            <p:nvPr/>
          </p:nvSpPr>
          <p:spPr bwMode="auto">
            <a:xfrm>
              <a:off x="2797176" y="2406650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5" name="Freeform 2609"/>
            <p:cNvSpPr/>
            <p:nvPr/>
          </p:nvSpPr>
          <p:spPr bwMode="auto">
            <a:xfrm>
              <a:off x="2797176" y="2478088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6" name="Freeform 2610"/>
            <p:cNvSpPr/>
            <p:nvPr/>
          </p:nvSpPr>
          <p:spPr bwMode="auto">
            <a:xfrm>
              <a:off x="2166938" y="24066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7" name="Freeform 2611"/>
            <p:cNvSpPr/>
            <p:nvPr/>
          </p:nvSpPr>
          <p:spPr bwMode="auto">
            <a:xfrm>
              <a:off x="2166938" y="2478088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8" name="Freeform 2612"/>
            <p:cNvSpPr/>
            <p:nvPr/>
          </p:nvSpPr>
          <p:spPr bwMode="auto">
            <a:xfrm>
              <a:off x="2236788" y="24066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49" name="Freeform 2613"/>
            <p:cNvSpPr/>
            <p:nvPr/>
          </p:nvSpPr>
          <p:spPr bwMode="auto">
            <a:xfrm>
              <a:off x="2236788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0" name="Freeform 2614"/>
            <p:cNvSpPr/>
            <p:nvPr/>
          </p:nvSpPr>
          <p:spPr bwMode="auto">
            <a:xfrm>
              <a:off x="2306638" y="2406650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1" name="Freeform 2615"/>
            <p:cNvSpPr/>
            <p:nvPr/>
          </p:nvSpPr>
          <p:spPr bwMode="auto">
            <a:xfrm>
              <a:off x="2306638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19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2" name="Freeform 2616"/>
            <p:cNvSpPr/>
            <p:nvPr/>
          </p:nvSpPr>
          <p:spPr bwMode="auto">
            <a:xfrm>
              <a:off x="2378076" y="2406650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3" name="Freeform 2618"/>
            <p:cNvSpPr/>
            <p:nvPr/>
          </p:nvSpPr>
          <p:spPr bwMode="auto">
            <a:xfrm>
              <a:off x="2378076" y="2478088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4" name="Freeform 2619"/>
            <p:cNvSpPr/>
            <p:nvPr/>
          </p:nvSpPr>
          <p:spPr bwMode="auto">
            <a:xfrm>
              <a:off x="2446338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5" name="Freeform 2620"/>
            <p:cNvSpPr/>
            <p:nvPr/>
          </p:nvSpPr>
          <p:spPr bwMode="auto">
            <a:xfrm>
              <a:off x="2446338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6" name="Freeform 2621"/>
            <p:cNvSpPr/>
            <p:nvPr/>
          </p:nvSpPr>
          <p:spPr bwMode="auto">
            <a:xfrm>
              <a:off x="1955801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6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7" name="Freeform 2622"/>
            <p:cNvSpPr/>
            <p:nvPr/>
          </p:nvSpPr>
          <p:spPr bwMode="auto">
            <a:xfrm>
              <a:off x="1955801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6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6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8" name="Freeform 2623"/>
            <p:cNvSpPr/>
            <p:nvPr/>
          </p:nvSpPr>
          <p:spPr bwMode="auto">
            <a:xfrm>
              <a:off x="2025651" y="24066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8 w 155"/>
                <a:gd name="T47" fmla="*/ 5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5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59" name="Freeform 2624"/>
            <p:cNvSpPr/>
            <p:nvPr/>
          </p:nvSpPr>
          <p:spPr bwMode="auto">
            <a:xfrm>
              <a:off x="2025651" y="24780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0" name="Freeform 2625"/>
            <p:cNvSpPr/>
            <p:nvPr/>
          </p:nvSpPr>
          <p:spPr bwMode="auto">
            <a:xfrm>
              <a:off x="2095501" y="24066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5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5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1" name="Freeform 2626"/>
            <p:cNvSpPr/>
            <p:nvPr/>
          </p:nvSpPr>
          <p:spPr bwMode="auto">
            <a:xfrm>
              <a:off x="2095501" y="24780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2" name="Freeform 2627"/>
            <p:cNvSpPr/>
            <p:nvPr/>
          </p:nvSpPr>
          <p:spPr bwMode="auto">
            <a:xfrm>
              <a:off x="1885951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3" name="Freeform 2628"/>
            <p:cNvSpPr/>
            <p:nvPr/>
          </p:nvSpPr>
          <p:spPr bwMode="auto">
            <a:xfrm>
              <a:off x="1885951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4" name="Freeform 2629"/>
            <p:cNvSpPr/>
            <p:nvPr/>
          </p:nvSpPr>
          <p:spPr bwMode="auto">
            <a:xfrm>
              <a:off x="1816101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5" name="Freeform 2630"/>
            <p:cNvSpPr/>
            <p:nvPr/>
          </p:nvSpPr>
          <p:spPr bwMode="auto">
            <a:xfrm>
              <a:off x="1816101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1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6" name="Freeform 2631"/>
            <p:cNvSpPr/>
            <p:nvPr/>
          </p:nvSpPr>
          <p:spPr bwMode="auto">
            <a:xfrm>
              <a:off x="1746251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8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7" name="Freeform 2632"/>
            <p:cNvSpPr/>
            <p:nvPr/>
          </p:nvSpPr>
          <p:spPr bwMode="auto">
            <a:xfrm>
              <a:off x="1746251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8" name="Freeform 2633"/>
            <p:cNvSpPr/>
            <p:nvPr/>
          </p:nvSpPr>
          <p:spPr bwMode="auto">
            <a:xfrm>
              <a:off x="1677988" y="24780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4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4 h 153"/>
                <a:gd name="T66" fmla="*/ 153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69" name="Freeform 2634"/>
            <p:cNvSpPr/>
            <p:nvPr/>
          </p:nvSpPr>
          <p:spPr bwMode="auto">
            <a:xfrm>
              <a:off x="2516188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0" name="Freeform 2635"/>
            <p:cNvSpPr/>
            <p:nvPr/>
          </p:nvSpPr>
          <p:spPr bwMode="auto">
            <a:xfrm>
              <a:off x="2516188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6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5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1" name="Freeform 2636"/>
            <p:cNvSpPr/>
            <p:nvPr/>
          </p:nvSpPr>
          <p:spPr bwMode="auto">
            <a:xfrm>
              <a:off x="2586038" y="22685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2" name="Freeform 2637"/>
            <p:cNvSpPr/>
            <p:nvPr/>
          </p:nvSpPr>
          <p:spPr bwMode="auto">
            <a:xfrm>
              <a:off x="2586038" y="2339976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9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3" name="Freeform 2638"/>
            <p:cNvSpPr/>
            <p:nvPr/>
          </p:nvSpPr>
          <p:spPr bwMode="auto">
            <a:xfrm>
              <a:off x="2655888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4" name="Freeform 2639"/>
            <p:cNvSpPr/>
            <p:nvPr/>
          </p:nvSpPr>
          <p:spPr bwMode="auto">
            <a:xfrm>
              <a:off x="2655888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5" name="Freeform 2640"/>
            <p:cNvSpPr/>
            <p:nvPr/>
          </p:nvSpPr>
          <p:spPr bwMode="auto">
            <a:xfrm>
              <a:off x="2727326" y="22685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6" name="Freeform 2641"/>
            <p:cNvSpPr/>
            <p:nvPr/>
          </p:nvSpPr>
          <p:spPr bwMode="auto">
            <a:xfrm>
              <a:off x="2727326" y="2339976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8 h 154"/>
                <a:gd name="T6" fmla="*/ 142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7" name="Freeform 2642"/>
            <p:cNvSpPr/>
            <p:nvPr/>
          </p:nvSpPr>
          <p:spPr bwMode="auto">
            <a:xfrm>
              <a:off x="2797176" y="226853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8" name="Freeform 2643"/>
            <p:cNvSpPr/>
            <p:nvPr/>
          </p:nvSpPr>
          <p:spPr bwMode="auto">
            <a:xfrm>
              <a:off x="2797176" y="2339976"/>
              <a:ext cx="47625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9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79" name="Freeform 2644"/>
            <p:cNvSpPr/>
            <p:nvPr/>
          </p:nvSpPr>
          <p:spPr bwMode="auto">
            <a:xfrm>
              <a:off x="2166938" y="22685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0" name="Freeform 2645"/>
            <p:cNvSpPr/>
            <p:nvPr/>
          </p:nvSpPr>
          <p:spPr bwMode="auto">
            <a:xfrm>
              <a:off x="2166938" y="2339976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8 h 154"/>
                <a:gd name="T6" fmla="*/ 141 w 153"/>
                <a:gd name="T7" fmla="*/ 120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1" name="Freeform 2646"/>
            <p:cNvSpPr/>
            <p:nvPr/>
          </p:nvSpPr>
          <p:spPr bwMode="auto">
            <a:xfrm>
              <a:off x="2236788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2" name="Freeform 2647"/>
            <p:cNvSpPr/>
            <p:nvPr/>
          </p:nvSpPr>
          <p:spPr bwMode="auto">
            <a:xfrm>
              <a:off x="2236788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3" name="Freeform 2648"/>
            <p:cNvSpPr/>
            <p:nvPr/>
          </p:nvSpPr>
          <p:spPr bwMode="auto">
            <a:xfrm>
              <a:off x="2306638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19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4" name="Freeform 2649"/>
            <p:cNvSpPr/>
            <p:nvPr/>
          </p:nvSpPr>
          <p:spPr bwMode="auto">
            <a:xfrm>
              <a:off x="2306638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9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5" name="Freeform 2650"/>
            <p:cNvSpPr/>
            <p:nvPr/>
          </p:nvSpPr>
          <p:spPr bwMode="auto">
            <a:xfrm>
              <a:off x="2378076" y="22685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5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6" name="Freeform 2651"/>
            <p:cNvSpPr/>
            <p:nvPr/>
          </p:nvSpPr>
          <p:spPr bwMode="auto">
            <a:xfrm>
              <a:off x="2378076" y="2339976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7" name="Freeform 2652"/>
            <p:cNvSpPr/>
            <p:nvPr/>
          </p:nvSpPr>
          <p:spPr bwMode="auto">
            <a:xfrm>
              <a:off x="2446338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8" name="Freeform 2653"/>
            <p:cNvSpPr/>
            <p:nvPr/>
          </p:nvSpPr>
          <p:spPr bwMode="auto">
            <a:xfrm>
              <a:off x="2446338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9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89" name="Freeform 2654"/>
            <p:cNvSpPr/>
            <p:nvPr/>
          </p:nvSpPr>
          <p:spPr bwMode="auto">
            <a:xfrm>
              <a:off x="1955801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6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0" name="Freeform 2655"/>
            <p:cNvSpPr/>
            <p:nvPr/>
          </p:nvSpPr>
          <p:spPr bwMode="auto">
            <a:xfrm>
              <a:off x="1955801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6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6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1" name="Freeform 2656"/>
            <p:cNvSpPr/>
            <p:nvPr/>
          </p:nvSpPr>
          <p:spPr bwMode="auto">
            <a:xfrm>
              <a:off x="2025651" y="22685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2" name="Freeform 2657"/>
            <p:cNvSpPr/>
            <p:nvPr/>
          </p:nvSpPr>
          <p:spPr bwMode="auto">
            <a:xfrm>
              <a:off x="2025651" y="2339976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9 w 155"/>
                <a:gd name="T5" fmla="*/ 108 h 154"/>
                <a:gd name="T6" fmla="*/ 142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7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3" name="Freeform 2658"/>
            <p:cNvSpPr/>
            <p:nvPr/>
          </p:nvSpPr>
          <p:spPr bwMode="auto">
            <a:xfrm>
              <a:off x="2095501" y="22685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4" name="Freeform 2659"/>
            <p:cNvSpPr/>
            <p:nvPr/>
          </p:nvSpPr>
          <p:spPr bwMode="auto">
            <a:xfrm>
              <a:off x="2095501" y="2339976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9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5" name="Freeform 2660"/>
            <p:cNvSpPr/>
            <p:nvPr/>
          </p:nvSpPr>
          <p:spPr bwMode="auto">
            <a:xfrm>
              <a:off x="1816101" y="22685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6" name="Freeform 2661"/>
            <p:cNvSpPr/>
            <p:nvPr/>
          </p:nvSpPr>
          <p:spPr bwMode="auto">
            <a:xfrm>
              <a:off x="1816101" y="2339976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3 h 154"/>
                <a:gd name="T4" fmla="*/ 148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9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7" name="Freeform 2662"/>
            <p:cNvSpPr/>
            <p:nvPr/>
          </p:nvSpPr>
          <p:spPr bwMode="auto">
            <a:xfrm>
              <a:off x="1885951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8" name="Freeform 2663"/>
            <p:cNvSpPr/>
            <p:nvPr/>
          </p:nvSpPr>
          <p:spPr bwMode="auto">
            <a:xfrm>
              <a:off x="1885951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99" name="Freeform 2664"/>
            <p:cNvSpPr/>
            <p:nvPr/>
          </p:nvSpPr>
          <p:spPr bwMode="auto">
            <a:xfrm>
              <a:off x="2516188" y="21240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6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4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5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0" name="Freeform 2665"/>
            <p:cNvSpPr/>
            <p:nvPr/>
          </p:nvSpPr>
          <p:spPr bwMode="auto">
            <a:xfrm>
              <a:off x="2516188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5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1" name="Freeform 2666"/>
            <p:cNvSpPr/>
            <p:nvPr/>
          </p:nvSpPr>
          <p:spPr bwMode="auto">
            <a:xfrm>
              <a:off x="2586038" y="2124076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9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2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6 w 155"/>
                <a:gd name="T61" fmla="*/ 27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2" name="Freeform 2667"/>
            <p:cNvSpPr/>
            <p:nvPr/>
          </p:nvSpPr>
          <p:spPr bwMode="auto">
            <a:xfrm>
              <a:off x="2586038" y="21955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3" name="Freeform 2668"/>
            <p:cNvSpPr/>
            <p:nvPr/>
          </p:nvSpPr>
          <p:spPr bwMode="auto">
            <a:xfrm>
              <a:off x="2655888" y="21240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4" name="Freeform 2669"/>
            <p:cNvSpPr/>
            <p:nvPr/>
          </p:nvSpPr>
          <p:spPr bwMode="auto">
            <a:xfrm>
              <a:off x="2655888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5" name="Freeform 2670"/>
            <p:cNvSpPr/>
            <p:nvPr/>
          </p:nvSpPr>
          <p:spPr bwMode="auto">
            <a:xfrm>
              <a:off x="2727326" y="2124076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0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8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6" name="Freeform 2671"/>
            <p:cNvSpPr/>
            <p:nvPr/>
          </p:nvSpPr>
          <p:spPr bwMode="auto">
            <a:xfrm>
              <a:off x="2727326" y="219551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7" name="Freeform 2672"/>
            <p:cNvSpPr/>
            <p:nvPr/>
          </p:nvSpPr>
          <p:spPr bwMode="auto">
            <a:xfrm>
              <a:off x="2797176" y="2124076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8" name="Freeform 2673"/>
            <p:cNvSpPr/>
            <p:nvPr/>
          </p:nvSpPr>
          <p:spPr bwMode="auto">
            <a:xfrm>
              <a:off x="2797176" y="2195513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8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09" name="Freeform 2674"/>
            <p:cNvSpPr/>
            <p:nvPr/>
          </p:nvSpPr>
          <p:spPr bwMode="auto">
            <a:xfrm>
              <a:off x="2166938" y="2124076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0" name="Freeform 2675"/>
            <p:cNvSpPr/>
            <p:nvPr/>
          </p:nvSpPr>
          <p:spPr bwMode="auto">
            <a:xfrm>
              <a:off x="2166938" y="219551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1" name="Freeform 2676"/>
            <p:cNvSpPr/>
            <p:nvPr/>
          </p:nvSpPr>
          <p:spPr bwMode="auto">
            <a:xfrm>
              <a:off x="2236788" y="21240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2" name="Freeform 2677"/>
            <p:cNvSpPr/>
            <p:nvPr/>
          </p:nvSpPr>
          <p:spPr bwMode="auto">
            <a:xfrm>
              <a:off x="2236788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3" name="Freeform 2678"/>
            <p:cNvSpPr/>
            <p:nvPr/>
          </p:nvSpPr>
          <p:spPr bwMode="auto">
            <a:xfrm>
              <a:off x="2306638" y="21240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4" name="Freeform 2679"/>
            <p:cNvSpPr/>
            <p:nvPr/>
          </p:nvSpPr>
          <p:spPr bwMode="auto">
            <a:xfrm>
              <a:off x="2306638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19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5" name="Freeform 2680"/>
            <p:cNvSpPr/>
            <p:nvPr/>
          </p:nvSpPr>
          <p:spPr bwMode="auto">
            <a:xfrm>
              <a:off x="2378076" y="2124076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6" name="Freeform 2681"/>
            <p:cNvSpPr/>
            <p:nvPr/>
          </p:nvSpPr>
          <p:spPr bwMode="auto">
            <a:xfrm>
              <a:off x="2378076" y="219551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7" name="Freeform 2682"/>
            <p:cNvSpPr/>
            <p:nvPr/>
          </p:nvSpPr>
          <p:spPr bwMode="auto">
            <a:xfrm>
              <a:off x="2446338" y="21240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8" name="Freeform 2683"/>
            <p:cNvSpPr/>
            <p:nvPr/>
          </p:nvSpPr>
          <p:spPr bwMode="auto">
            <a:xfrm>
              <a:off x="2446338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19" name="Freeform 2684"/>
            <p:cNvSpPr/>
            <p:nvPr/>
          </p:nvSpPr>
          <p:spPr bwMode="auto">
            <a:xfrm>
              <a:off x="1955801" y="21240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6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6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0" name="Freeform 2685"/>
            <p:cNvSpPr/>
            <p:nvPr/>
          </p:nvSpPr>
          <p:spPr bwMode="auto">
            <a:xfrm>
              <a:off x="1955801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6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1" name="Freeform 2686"/>
            <p:cNvSpPr/>
            <p:nvPr/>
          </p:nvSpPr>
          <p:spPr bwMode="auto">
            <a:xfrm>
              <a:off x="2025651" y="2124076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9 w 155"/>
                <a:gd name="T5" fmla="*/ 106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0 h 154"/>
                <a:gd name="T22" fmla="*/ 41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2 h 154"/>
                <a:gd name="T46" fmla="*/ 48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7 w 155"/>
                <a:gd name="T61" fmla="*/ 27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2" name="Freeform 2687"/>
            <p:cNvSpPr/>
            <p:nvPr/>
          </p:nvSpPr>
          <p:spPr bwMode="auto">
            <a:xfrm>
              <a:off x="2025651" y="21955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7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3" name="Freeform 2688"/>
            <p:cNvSpPr/>
            <p:nvPr/>
          </p:nvSpPr>
          <p:spPr bwMode="auto">
            <a:xfrm>
              <a:off x="2095501" y="2124076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3 w 155"/>
                <a:gd name="T3" fmla="*/ 92 h 154"/>
                <a:gd name="T4" fmla="*/ 149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9 w 155"/>
                <a:gd name="T29" fmla="*/ 113 h 154"/>
                <a:gd name="T30" fmla="*/ 3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2 h 154"/>
                <a:gd name="T46" fmla="*/ 47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7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4" name="Freeform 2689"/>
            <p:cNvSpPr/>
            <p:nvPr/>
          </p:nvSpPr>
          <p:spPr bwMode="auto">
            <a:xfrm>
              <a:off x="2095501" y="21955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5" name="Freeform 2690"/>
            <p:cNvSpPr/>
            <p:nvPr/>
          </p:nvSpPr>
          <p:spPr bwMode="auto">
            <a:xfrm>
              <a:off x="1816101" y="2124076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0 h 154"/>
                <a:gd name="T22" fmla="*/ 40 w 155"/>
                <a:gd name="T23" fmla="*/ 144 h 154"/>
                <a:gd name="T24" fmla="*/ 29 w 155"/>
                <a:gd name="T25" fmla="*/ 136 h 154"/>
                <a:gd name="T26" fmla="*/ 17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5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6" name="Freeform 2691"/>
            <p:cNvSpPr/>
            <p:nvPr/>
          </p:nvSpPr>
          <p:spPr bwMode="auto">
            <a:xfrm>
              <a:off x="1816101" y="21955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7" name="Freeform 2692"/>
            <p:cNvSpPr/>
            <p:nvPr/>
          </p:nvSpPr>
          <p:spPr bwMode="auto">
            <a:xfrm>
              <a:off x="1885951" y="21240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8" name="Freeform 2693"/>
            <p:cNvSpPr/>
            <p:nvPr/>
          </p:nvSpPr>
          <p:spPr bwMode="auto">
            <a:xfrm>
              <a:off x="1885951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70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29" name="Freeform 2694"/>
            <p:cNvSpPr/>
            <p:nvPr/>
          </p:nvSpPr>
          <p:spPr bwMode="auto">
            <a:xfrm>
              <a:off x="2516188" y="19891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4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5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0" name="Freeform 2695"/>
            <p:cNvSpPr/>
            <p:nvPr/>
          </p:nvSpPr>
          <p:spPr bwMode="auto">
            <a:xfrm>
              <a:off x="2516188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9 w 154"/>
                <a:gd name="T29" fmla="*/ 114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4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5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4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1" name="Freeform 2696"/>
            <p:cNvSpPr/>
            <p:nvPr/>
          </p:nvSpPr>
          <p:spPr bwMode="auto">
            <a:xfrm>
              <a:off x="2586038" y="19891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2" name="Freeform 2697"/>
            <p:cNvSpPr/>
            <p:nvPr/>
          </p:nvSpPr>
          <p:spPr bwMode="auto">
            <a:xfrm>
              <a:off x="2586038" y="2060576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7 h 155"/>
                <a:gd name="T28" fmla="*/ 9 w 155"/>
                <a:gd name="T29" fmla="*/ 114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5 h 155"/>
                <a:gd name="T56" fmla="*/ 115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3" name="Freeform 2698"/>
            <p:cNvSpPr/>
            <p:nvPr/>
          </p:nvSpPr>
          <p:spPr bwMode="auto">
            <a:xfrm>
              <a:off x="2655888" y="19891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4" name="Freeform 2699"/>
            <p:cNvSpPr/>
            <p:nvPr/>
          </p:nvSpPr>
          <p:spPr bwMode="auto">
            <a:xfrm>
              <a:off x="2655888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7 h 155"/>
                <a:gd name="T26" fmla="*/ 17 w 154"/>
                <a:gd name="T27" fmla="*/ 127 h 155"/>
                <a:gd name="T28" fmla="*/ 9 w 154"/>
                <a:gd name="T29" fmla="*/ 114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5" name="Freeform 2700"/>
            <p:cNvSpPr/>
            <p:nvPr/>
          </p:nvSpPr>
          <p:spPr bwMode="auto">
            <a:xfrm>
              <a:off x="2727326" y="19891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6" name="Freeform 2701"/>
            <p:cNvSpPr/>
            <p:nvPr/>
          </p:nvSpPr>
          <p:spPr bwMode="auto">
            <a:xfrm>
              <a:off x="2727326" y="2060576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7 h 155"/>
                <a:gd name="T26" fmla="*/ 18 w 154"/>
                <a:gd name="T27" fmla="*/ 127 h 155"/>
                <a:gd name="T28" fmla="*/ 10 w 154"/>
                <a:gd name="T29" fmla="*/ 114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8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5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7" name="Freeform 2702"/>
            <p:cNvSpPr/>
            <p:nvPr/>
          </p:nvSpPr>
          <p:spPr bwMode="auto">
            <a:xfrm>
              <a:off x="2797176" y="198913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8" name="Freeform 2703"/>
            <p:cNvSpPr/>
            <p:nvPr/>
          </p:nvSpPr>
          <p:spPr bwMode="auto">
            <a:xfrm>
              <a:off x="2797176" y="2060576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4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5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39" name="Freeform 2704"/>
            <p:cNvSpPr/>
            <p:nvPr/>
          </p:nvSpPr>
          <p:spPr bwMode="auto">
            <a:xfrm>
              <a:off x="2166938" y="19891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0" name="Freeform 2705"/>
            <p:cNvSpPr/>
            <p:nvPr/>
          </p:nvSpPr>
          <p:spPr bwMode="auto">
            <a:xfrm>
              <a:off x="2166938" y="2060576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4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1" name="Freeform 2706"/>
            <p:cNvSpPr/>
            <p:nvPr/>
          </p:nvSpPr>
          <p:spPr bwMode="auto">
            <a:xfrm>
              <a:off x="2236788" y="19891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2" name="Freeform 2707"/>
            <p:cNvSpPr/>
            <p:nvPr/>
          </p:nvSpPr>
          <p:spPr bwMode="auto">
            <a:xfrm>
              <a:off x="2236788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4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3" name="Freeform 2708"/>
            <p:cNvSpPr/>
            <p:nvPr/>
          </p:nvSpPr>
          <p:spPr bwMode="auto">
            <a:xfrm>
              <a:off x="2306638" y="19891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4" name="Freeform 2709"/>
            <p:cNvSpPr/>
            <p:nvPr/>
          </p:nvSpPr>
          <p:spPr bwMode="auto">
            <a:xfrm>
              <a:off x="2306638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19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4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5" name="Freeform 2710"/>
            <p:cNvSpPr/>
            <p:nvPr/>
          </p:nvSpPr>
          <p:spPr bwMode="auto">
            <a:xfrm>
              <a:off x="2378076" y="1989138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6" name="Freeform 2711"/>
            <p:cNvSpPr/>
            <p:nvPr/>
          </p:nvSpPr>
          <p:spPr bwMode="auto">
            <a:xfrm>
              <a:off x="2378076" y="2060576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4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7" name="Freeform 2712"/>
            <p:cNvSpPr/>
            <p:nvPr/>
          </p:nvSpPr>
          <p:spPr bwMode="auto">
            <a:xfrm>
              <a:off x="2446338" y="19891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8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8" name="Freeform 2713"/>
            <p:cNvSpPr/>
            <p:nvPr/>
          </p:nvSpPr>
          <p:spPr bwMode="auto">
            <a:xfrm>
              <a:off x="2446338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7 h 155"/>
                <a:gd name="T28" fmla="*/ 9 w 154"/>
                <a:gd name="T29" fmla="*/ 114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5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49" name="Freeform 2714"/>
            <p:cNvSpPr/>
            <p:nvPr/>
          </p:nvSpPr>
          <p:spPr bwMode="auto">
            <a:xfrm>
              <a:off x="1955801" y="19891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0" name="Freeform 2715"/>
            <p:cNvSpPr/>
            <p:nvPr/>
          </p:nvSpPr>
          <p:spPr bwMode="auto">
            <a:xfrm>
              <a:off x="1955801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10 w 154"/>
                <a:gd name="T29" fmla="*/ 114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6" y="7"/>
                  </a:lnTo>
                  <a:lnTo>
                    <a:pt x="54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1" name="Freeform 2716"/>
            <p:cNvSpPr/>
            <p:nvPr/>
          </p:nvSpPr>
          <p:spPr bwMode="auto">
            <a:xfrm>
              <a:off x="2025651" y="19891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2" name="Freeform 2717"/>
            <p:cNvSpPr/>
            <p:nvPr/>
          </p:nvSpPr>
          <p:spPr bwMode="auto">
            <a:xfrm>
              <a:off x="2025651" y="2060576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7 h 155"/>
                <a:gd name="T26" fmla="*/ 18 w 155"/>
                <a:gd name="T27" fmla="*/ 127 h 155"/>
                <a:gd name="T28" fmla="*/ 10 w 155"/>
                <a:gd name="T29" fmla="*/ 114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5 h 155"/>
                <a:gd name="T56" fmla="*/ 115 w 155"/>
                <a:gd name="T57" fmla="*/ 10 h 155"/>
                <a:gd name="T58" fmla="*/ 127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3" name="Freeform 2718"/>
            <p:cNvSpPr/>
            <p:nvPr/>
          </p:nvSpPr>
          <p:spPr bwMode="auto">
            <a:xfrm>
              <a:off x="2095501" y="19891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4" name="Freeform 2719"/>
            <p:cNvSpPr/>
            <p:nvPr/>
          </p:nvSpPr>
          <p:spPr bwMode="auto">
            <a:xfrm>
              <a:off x="2095501" y="2060576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7 h 155"/>
                <a:gd name="T28" fmla="*/ 9 w 155"/>
                <a:gd name="T29" fmla="*/ 114 h 155"/>
                <a:gd name="T30" fmla="*/ 3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5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5" name="Freeform 2720"/>
            <p:cNvSpPr/>
            <p:nvPr/>
          </p:nvSpPr>
          <p:spPr bwMode="auto">
            <a:xfrm>
              <a:off x="1885951" y="19891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6" name="Freeform 2721"/>
            <p:cNvSpPr/>
            <p:nvPr/>
          </p:nvSpPr>
          <p:spPr bwMode="auto">
            <a:xfrm>
              <a:off x="1885951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9 w 154"/>
                <a:gd name="T29" fmla="*/ 114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5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7" name="Freeform 2722"/>
            <p:cNvSpPr/>
            <p:nvPr/>
          </p:nvSpPr>
          <p:spPr bwMode="auto">
            <a:xfrm>
              <a:off x="1816101" y="19891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8" name="Freeform 2723"/>
            <p:cNvSpPr/>
            <p:nvPr/>
          </p:nvSpPr>
          <p:spPr bwMode="auto">
            <a:xfrm>
              <a:off x="1816101" y="2060576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10 w 154"/>
                <a:gd name="T29" fmla="*/ 114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59" name="Freeform 2724"/>
            <p:cNvSpPr/>
            <p:nvPr/>
          </p:nvSpPr>
          <p:spPr bwMode="auto">
            <a:xfrm>
              <a:off x="2516188" y="18510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4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5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0" name="Freeform 2725"/>
            <p:cNvSpPr/>
            <p:nvPr/>
          </p:nvSpPr>
          <p:spPr bwMode="auto">
            <a:xfrm>
              <a:off x="2516188" y="19224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4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5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1" name="Freeform 2726"/>
            <p:cNvSpPr/>
            <p:nvPr/>
          </p:nvSpPr>
          <p:spPr bwMode="auto">
            <a:xfrm>
              <a:off x="2586038" y="18510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2" name="Freeform 2727"/>
            <p:cNvSpPr/>
            <p:nvPr/>
          </p:nvSpPr>
          <p:spPr bwMode="auto">
            <a:xfrm>
              <a:off x="2586038" y="19224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3" name="Freeform 2728"/>
            <p:cNvSpPr/>
            <p:nvPr/>
          </p:nvSpPr>
          <p:spPr bwMode="auto">
            <a:xfrm>
              <a:off x="2655888" y="18510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4" name="Freeform 2729"/>
            <p:cNvSpPr/>
            <p:nvPr/>
          </p:nvSpPr>
          <p:spPr bwMode="auto">
            <a:xfrm>
              <a:off x="2655888" y="19224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5" name="Freeform 2730"/>
            <p:cNvSpPr/>
            <p:nvPr/>
          </p:nvSpPr>
          <p:spPr bwMode="auto">
            <a:xfrm>
              <a:off x="2727326" y="185102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6" name="Freeform 2731"/>
            <p:cNvSpPr/>
            <p:nvPr/>
          </p:nvSpPr>
          <p:spPr bwMode="auto">
            <a:xfrm>
              <a:off x="2727326" y="19224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1 w 154"/>
                <a:gd name="T55" fmla="*/ 4 h 155"/>
                <a:gd name="T56" fmla="*/ 114 w 154"/>
                <a:gd name="T57" fmla="*/ 10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7" name="Freeform 2732"/>
            <p:cNvSpPr/>
            <p:nvPr/>
          </p:nvSpPr>
          <p:spPr bwMode="auto">
            <a:xfrm>
              <a:off x="2797176" y="1851026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8" name="Freeform 2733"/>
            <p:cNvSpPr/>
            <p:nvPr/>
          </p:nvSpPr>
          <p:spPr bwMode="auto">
            <a:xfrm>
              <a:off x="2797176" y="19224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69" name="Freeform 2734"/>
            <p:cNvSpPr/>
            <p:nvPr/>
          </p:nvSpPr>
          <p:spPr bwMode="auto">
            <a:xfrm>
              <a:off x="2166938" y="1851026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0" name="Freeform 2735"/>
            <p:cNvSpPr/>
            <p:nvPr/>
          </p:nvSpPr>
          <p:spPr bwMode="auto">
            <a:xfrm>
              <a:off x="2166938" y="19224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1" name="Freeform 2736"/>
            <p:cNvSpPr/>
            <p:nvPr/>
          </p:nvSpPr>
          <p:spPr bwMode="auto">
            <a:xfrm>
              <a:off x="2236788" y="18510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2" name="Freeform 2737"/>
            <p:cNvSpPr/>
            <p:nvPr/>
          </p:nvSpPr>
          <p:spPr bwMode="auto">
            <a:xfrm>
              <a:off x="2236788" y="19224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3" name="Freeform 2738"/>
            <p:cNvSpPr/>
            <p:nvPr/>
          </p:nvSpPr>
          <p:spPr bwMode="auto">
            <a:xfrm>
              <a:off x="2306638" y="18510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4" name="Freeform 2739"/>
            <p:cNvSpPr/>
            <p:nvPr/>
          </p:nvSpPr>
          <p:spPr bwMode="auto">
            <a:xfrm>
              <a:off x="2306638" y="19224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5" name="Freeform 2740"/>
            <p:cNvSpPr/>
            <p:nvPr/>
          </p:nvSpPr>
          <p:spPr bwMode="auto">
            <a:xfrm>
              <a:off x="2378076" y="1851026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6" name="Freeform 2741"/>
            <p:cNvSpPr/>
            <p:nvPr/>
          </p:nvSpPr>
          <p:spPr bwMode="auto">
            <a:xfrm>
              <a:off x="2378076" y="19224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7" name="Freeform 2742"/>
            <p:cNvSpPr/>
            <p:nvPr/>
          </p:nvSpPr>
          <p:spPr bwMode="auto">
            <a:xfrm>
              <a:off x="2446338" y="18510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8" name="Freeform 2743"/>
            <p:cNvSpPr/>
            <p:nvPr/>
          </p:nvSpPr>
          <p:spPr bwMode="auto">
            <a:xfrm>
              <a:off x="2446338" y="19224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7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6 w 154"/>
                <a:gd name="T51" fmla="*/ 0 h 155"/>
                <a:gd name="T52" fmla="*/ 84 w 154"/>
                <a:gd name="T53" fmla="*/ 2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79" name="Freeform 2744"/>
            <p:cNvSpPr/>
            <p:nvPr/>
          </p:nvSpPr>
          <p:spPr bwMode="auto">
            <a:xfrm>
              <a:off x="1955801" y="18510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0" name="Freeform 2745"/>
            <p:cNvSpPr/>
            <p:nvPr/>
          </p:nvSpPr>
          <p:spPr bwMode="auto">
            <a:xfrm>
              <a:off x="1955801" y="19224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1" name="Freeform 2746"/>
            <p:cNvSpPr/>
            <p:nvPr/>
          </p:nvSpPr>
          <p:spPr bwMode="auto">
            <a:xfrm>
              <a:off x="2025651" y="18510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2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4 w 155"/>
                <a:gd name="T45" fmla="*/ 13 h 154"/>
                <a:gd name="T46" fmla="*/ 48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7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2" name="Freeform 2747"/>
            <p:cNvSpPr/>
            <p:nvPr/>
          </p:nvSpPr>
          <p:spPr bwMode="auto">
            <a:xfrm>
              <a:off x="2025651" y="19224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3" name="Freeform 2748"/>
            <p:cNvSpPr/>
            <p:nvPr/>
          </p:nvSpPr>
          <p:spPr bwMode="auto">
            <a:xfrm>
              <a:off x="2095501" y="18510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4" name="Freeform 2749"/>
            <p:cNvSpPr/>
            <p:nvPr/>
          </p:nvSpPr>
          <p:spPr bwMode="auto">
            <a:xfrm>
              <a:off x="2095501" y="19224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4 w 155"/>
                <a:gd name="T57" fmla="*/ 10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5" name="Freeform 2750"/>
            <p:cNvSpPr/>
            <p:nvPr/>
          </p:nvSpPr>
          <p:spPr bwMode="auto">
            <a:xfrm>
              <a:off x="1816101" y="1851026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6" name="Freeform 2751"/>
            <p:cNvSpPr/>
            <p:nvPr/>
          </p:nvSpPr>
          <p:spPr bwMode="auto">
            <a:xfrm>
              <a:off x="1816101" y="19224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9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7" name="Freeform 2752"/>
            <p:cNvSpPr/>
            <p:nvPr/>
          </p:nvSpPr>
          <p:spPr bwMode="auto">
            <a:xfrm>
              <a:off x="1885951" y="1851026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99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8" name="Freeform 2753"/>
            <p:cNvSpPr/>
            <p:nvPr/>
          </p:nvSpPr>
          <p:spPr bwMode="auto">
            <a:xfrm>
              <a:off x="1885951" y="19224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99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89" name="Freeform 2754"/>
            <p:cNvSpPr/>
            <p:nvPr/>
          </p:nvSpPr>
          <p:spPr bwMode="auto">
            <a:xfrm>
              <a:off x="2516188" y="17081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4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0" name="Freeform 2755"/>
            <p:cNvSpPr/>
            <p:nvPr/>
          </p:nvSpPr>
          <p:spPr bwMode="auto">
            <a:xfrm>
              <a:off x="2516188" y="17780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4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5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1" name="Freeform 2756"/>
            <p:cNvSpPr/>
            <p:nvPr/>
          </p:nvSpPr>
          <p:spPr bwMode="auto">
            <a:xfrm>
              <a:off x="2586038" y="1708151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9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2" name="Freeform 2757"/>
            <p:cNvSpPr/>
            <p:nvPr/>
          </p:nvSpPr>
          <p:spPr bwMode="auto">
            <a:xfrm>
              <a:off x="2586038" y="1778001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3" name="Freeform 2758"/>
            <p:cNvSpPr/>
            <p:nvPr/>
          </p:nvSpPr>
          <p:spPr bwMode="auto">
            <a:xfrm>
              <a:off x="2655888" y="17081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4" name="Freeform 2759"/>
            <p:cNvSpPr/>
            <p:nvPr/>
          </p:nvSpPr>
          <p:spPr bwMode="auto">
            <a:xfrm>
              <a:off x="2655888" y="17780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5" name="Freeform 2760"/>
            <p:cNvSpPr/>
            <p:nvPr/>
          </p:nvSpPr>
          <p:spPr bwMode="auto">
            <a:xfrm>
              <a:off x="2727326" y="1708151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7 h 153"/>
                <a:gd name="T6" fmla="*/ 142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4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6" name="Freeform 2761"/>
            <p:cNvSpPr/>
            <p:nvPr/>
          </p:nvSpPr>
          <p:spPr bwMode="auto">
            <a:xfrm>
              <a:off x="2727326" y="1778001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3 h 155"/>
                <a:gd name="T20" fmla="*/ 55 w 154"/>
                <a:gd name="T21" fmla="*/ 151 h 155"/>
                <a:gd name="T22" fmla="*/ 41 w 154"/>
                <a:gd name="T23" fmla="*/ 145 h 155"/>
                <a:gd name="T24" fmla="*/ 29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2 h 155"/>
                <a:gd name="T50" fmla="*/ 78 w 154"/>
                <a:gd name="T51" fmla="*/ 0 h 155"/>
                <a:gd name="T52" fmla="*/ 86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7" name="Freeform 2762"/>
            <p:cNvSpPr/>
            <p:nvPr/>
          </p:nvSpPr>
          <p:spPr bwMode="auto">
            <a:xfrm>
              <a:off x="2797176" y="1708151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7 h 153"/>
                <a:gd name="T6" fmla="*/ 140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8" name="Freeform 2763"/>
            <p:cNvSpPr/>
            <p:nvPr/>
          </p:nvSpPr>
          <p:spPr bwMode="auto">
            <a:xfrm>
              <a:off x="2797176" y="1778001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1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99" name="Freeform 2764"/>
            <p:cNvSpPr/>
            <p:nvPr/>
          </p:nvSpPr>
          <p:spPr bwMode="auto">
            <a:xfrm>
              <a:off x="2166938" y="1708151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7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0" name="Freeform 2765"/>
            <p:cNvSpPr/>
            <p:nvPr/>
          </p:nvSpPr>
          <p:spPr bwMode="auto">
            <a:xfrm>
              <a:off x="2166938" y="1778001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1" name="Freeform 2766"/>
            <p:cNvSpPr/>
            <p:nvPr/>
          </p:nvSpPr>
          <p:spPr bwMode="auto">
            <a:xfrm>
              <a:off x="2236788" y="17081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2" name="Freeform 2767"/>
            <p:cNvSpPr/>
            <p:nvPr/>
          </p:nvSpPr>
          <p:spPr bwMode="auto">
            <a:xfrm>
              <a:off x="2236788" y="17780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3" name="Freeform 2768"/>
            <p:cNvSpPr/>
            <p:nvPr/>
          </p:nvSpPr>
          <p:spPr bwMode="auto">
            <a:xfrm>
              <a:off x="2306638" y="17081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19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3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4" name="Freeform 2769"/>
            <p:cNvSpPr/>
            <p:nvPr/>
          </p:nvSpPr>
          <p:spPr bwMode="auto">
            <a:xfrm>
              <a:off x="2306638" y="17780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19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5" name="Freeform 2770"/>
            <p:cNvSpPr/>
            <p:nvPr/>
          </p:nvSpPr>
          <p:spPr bwMode="auto">
            <a:xfrm>
              <a:off x="2378076" y="1708151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5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6" name="Freeform 2771"/>
            <p:cNvSpPr/>
            <p:nvPr/>
          </p:nvSpPr>
          <p:spPr bwMode="auto">
            <a:xfrm>
              <a:off x="2378076" y="1778001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7" name="Freeform 2772"/>
            <p:cNvSpPr/>
            <p:nvPr/>
          </p:nvSpPr>
          <p:spPr bwMode="auto">
            <a:xfrm>
              <a:off x="2446338" y="1708151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8" name="Freeform 2773"/>
            <p:cNvSpPr/>
            <p:nvPr/>
          </p:nvSpPr>
          <p:spPr bwMode="auto">
            <a:xfrm>
              <a:off x="2516188" y="16398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0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4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5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09" name="Freeform 2774"/>
            <p:cNvSpPr/>
            <p:nvPr/>
          </p:nvSpPr>
          <p:spPr bwMode="auto">
            <a:xfrm>
              <a:off x="2236788" y="16398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0" name="Freeform 2775"/>
            <p:cNvSpPr/>
            <p:nvPr/>
          </p:nvSpPr>
          <p:spPr bwMode="auto">
            <a:xfrm>
              <a:off x="2306638" y="16398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19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2 w 154"/>
                <a:gd name="T43" fmla="*/ 23 h 154"/>
                <a:gd name="T44" fmla="*/ 33 w 154"/>
                <a:gd name="T45" fmla="*/ 13 h 154"/>
                <a:gd name="T46" fmla="*/ 47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1" name="Freeform 2776"/>
            <p:cNvSpPr/>
            <p:nvPr/>
          </p:nvSpPr>
          <p:spPr bwMode="auto">
            <a:xfrm>
              <a:off x="2378076" y="16398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5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2" name="Freeform 2777"/>
            <p:cNvSpPr/>
            <p:nvPr/>
          </p:nvSpPr>
          <p:spPr bwMode="auto">
            <a:xfrm>
              <a:off x="2446338" y="16398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7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6 w 154"/>
                <a:gd name="T13" fmla="*/ 148 h 154"/>
                <a:gd name="T14" fmla="*/ 92 w 154"/>
                <a:gd name="T15" fmla="*/ 153 h 154"/>
                <a:gd name="T16" fmla="*/ 76 w 154"/>
                <a:gd name="T17" fmla="*/ 154 h 154"/>
                <a:gd name="T18" fmla="*/ 68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3" name="Freeform 2778"/>
            <p:cNvSpPr/>
            <p:nvPr/>
          </p:nvSpPr>
          <p:spPr bwMode="auto">
            <a:xfrm>
              <a:off x="2446338" y="177800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6 w 154"/>
                <a:gd name="T13" fmla="*/ 149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4" name="Freeform 2779"/>
            <p:cNvSpPr/>
            <p:nvPr/>
          </p:nvSpPr>
          <p:spPr bwMode="auto">
            <a:xfrm>
              <a:off x="3071813" y="2546351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2 w 155"/>
                <a:gd name="T23" fmla="*/ 146 h 155"/>
                <a:gd name="T24" fmla="*/ 29 w 155"/>
                <a:gd name="T25" fmla="*/ 137 h 155"/>
                <a:gd name="T26" fmla="*/ 19 w 155"/>
                <a:gd name="T27" fmla="*/ 126 h 155"/>
                <a:gd name="T28" fmla="*/ 11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9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6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2" y="146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5" name="Freeform 2780"/>
            <p:cNvSpPr/>
            <p:nvPr/>
          </p:nvSpPr>
          <p:spPr bwMode="auto">
            <a:xfrm>
              <a:off x="3141663" y="2546351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6" name="Freeform 2781"/>
            <p:cNvSpPr/>
            <p:nvPr/>
          </p:nvSpPr>
          <p:spPr bwMode="auto">
            <a:xfrm>
              <a:off x="2862263" y="2546351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7" name="Freeform 2782"/>
            <p:cNvSpPr/>
            <p:nvPr/>
          </p:nvSpPr>
          <p:spPr bwMode="auto">
            <a:xfrm>
              <a:off x="2933701" y="2546351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8" name="Freeform 2783"/>
            <p:cNvSpPr/>
            <p:nvPr/>
          </p:nvSpPr>
          <p:spPr bwMode="auto">
            <a:xfrm>
              <a:off x="3001963" y="2546351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6 w 154"/>
                <a:gd name="T17" fmla="*/ 155 h 155"/>
                <a:gd name="T18" fmla="*/ 69 w 154"/>
                <a:gd name="T19" fmla="*/ 154 h 155"/>
                <a:gd name="T20" fmla="*/ 53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4 w 154"/>
                <a:gd name="T57" fmla="*/ 9 h 155"/>
                <a:gd name="T58" fmla="*/ 125 w 154"/>
                <a:gd name="T59" fmla="*/ 19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19" name="Freeform 2784"/>
            <p:cNvSpPr/>
            <p:nvPr/>
          </p:nvSpPr>
          <p:spPr bwMode="auto">
            <a:xfrm>
              <a:off x="3071813" y="2617788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2 h 154"/>
                <a:gd name="T4" fmla="*/ 149 w 155"/>
                <a:gd name="T5" fmla="*/ 106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5 h 154"/>
                <a:gd name="T28" fmla="*/ 11 w 155"/>
                <a:gd name="T29" fmla="*/ 113 h 154"/>
                <a:gd name="T30" fmla="*/ 4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8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8 w 155"/>
                <a:gd name="T61" fmla="*/ 27 h 154"/>
                <a:gd name="T62" fmla="*/ 146 w 155"/>
                <a:gd name="T63" fmla="*/ 40 h 154"/>
                <a:gd name="T64" fmla="*/ 151 w 155"/>
                <a:gd name="T65" fmla="*/ 53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5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3" y="61"/>
                  </a:lnTo>
                  <a:lnTo>
                    <a:pt x="4" y="53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4" y="61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0" name="Freeform 2785"/>
            <p:cNvSpPr/>
            <p:nvPr/>
          </p:nvSpPr>
          <p:spPr bwMode="auto">
            <a:xfrm>
              <a:off x="2933701" y="2617788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1" name="Freeform 2786"/>
            <p:cNvSpPr/>
            <p:nvPr/>
          </p:nvSpPr>
          <p:spPr bwMode="auto">
            <a:xfrm>
              <a:off x="3001963" y="261778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9 w 154"/>
                <a:gd name="T19" fmla="*/ 153 h 154"/>
                <a:gd name="T20" fmla="*/ 53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6 w 154"/>
                <a:gd name="T47" fmla="*/ 5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4 w 154"/>
                <a:gd name="T57" fmla="*/ 9 h 154"/>
                <a:gd name="T58" fmla="*/ 125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3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2" name="Freeform 2787"/>
            <p:cNvSpPr/>
            <p:nvPr/>
          </p:nvSpPr>
          <p:spPr bwMode="auto">
            <a:xfrm>
              <a:off x="3071813" y="2406651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3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8 w 155"/>
                <a:gd name="T47" fmla="*/ 5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5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2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1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3" name="Freeform 2788"/>
            <p:cNvSpPr/>
            <p:nvPr/>
          </p:nvSpPr>
          <p:spPr bwMode="auto">
            <a:xfrm>
              <a:off x="3071813" y="2478088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2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3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3" y="60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8" y="27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4" name="Freeform 2789"/>
            <p:cNvSpPr/>
            <p:nvPr/>
          </p:nvSpPr>
          <p:spPr bwMode="auto">
            <a:xfrm>
              <a:off x="3141663" y="240665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5" name="Freeform 2790"/>
            <p:cNvSpPr/>
            <p:nvPr/>
          </p:nvSpPr>
          <p:spPr bwMode="auto">
            <a:xfrm>
              <a:off x="3141663" y="2478088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0 w 153"/>
                <a:gd name="T9" fmla="*/ 131 h 153"/>
                <a:gd name="T10" fmla="*/ 119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6" name="Freeform 2791"/>
            <p:cNvSpPr/>
            <p:nvPr/>
          </p:nvSpPr>
          <p:spPr bwMode="auto">
            <a:xfrm>
              <a:off x="3211513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8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7" name="Freeform 2792"/>
            <p:cNvSpPr/>
            <p:nvPr/>
          </p:nvSpPr>
          <p:spPr bwMode="auto">
            <a:xfrm>
              <a:off x="3211513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8" name="Freeform 2793"/>
            <p:cNvSpPr/>
            <p:nvPr/>
          </p:nvSpPr>
          <p:spPr bwMode="auto">
            <a:xfrm>
              <a:off x="3282951" y="2406651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29" name="Freeform 2794"/>
            <p:cNvSpPr/>
            <p:nvPr/>
          </p:nvSpPr>
          <p:spPr bwMode="auto">
            <a:xfrm>
              <a:off x="3351213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5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0" name="Freeform 2795"/>
            <p:cNvSpPr/>
            <p:nvPr/>
          </p:nvSpPr>
          <p:spPr bwMode="auto">
            <a:xfrm>
              <a:off x="2862263" y="2406651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1" name="Freeform 2796"/>
            <p:cNvSpPr/>
            <p:nvPr/>
          </p:nvSpPr>
          <p:spPr bwMode="auto">
            <a:xfrm>
              <a:off x="2862263" y="2478088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2" name="Freeform 2797"/>
            <p:cNvSpPr/>
            <p:nvPr/>
          </p:nvSpPr>
          <p:spPr bwMode="auto">
            <a:xfrm>
              <a:off x="2933701" y="2406651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3" name="Freeform 2798"/>
            <p:cNvSpPr/>
            <p:nvPr/>
          </p:nvSpPr>
          <p:spPr bwMode="auto">
            <a:xfrm>
              <a:off x="2933701" y="2478088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4" name="Freeform 2799"/>
            <p:cNvSpPr/>
            <p:nvPr/>
          </p:nvSpPr>
          <p:spPr bwMode="auto">
            <a:xfrm>
              <a:off x="3001963" y="2406651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9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5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5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5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5" name="Freeform 2800"/>
            <p:cNvSpPr/>
            <p:nvPr/>
          </p:nvSpPr>
          <p:spPr bwMode="auto">
            <a:xfrm>
              <a:off x="3001963" y="247808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9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5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6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6" name="Freeform 2801"/>
            <p:cNvSpPr/>
            <p:nvPr/>
          </p:nvSpPr>
          <p:spPr bwMode="auto">
            <a:xfrm>
              <a:off x="3071813" y="22685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7" name="Freeform 2802"/>
            <p:cNvSpPr/>
            <p:nvPr/>
          </p:nvSpPr>
          <p:spPr bwMode="auto">
            <a:xfrm>
              <a:off x="3071813" y="2339976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8 h 154"/>
                <a:gd name="T6" fmla="*/ 142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8 w 155"/>
                <a:gd name="T61" fmla="*/ 29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8" name="Freeform 2803"/>
            <p:cNvSpPr/>
            <p:nvPr/>
          </p:nvSpPr>
          <p:spPr bwMode="auto">
            <a:xfrm>
              <a:off x="3141663" y="22685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39" name="Freeform 2804"/>
            <p:cNvSpPr/>
            <p:nvPr/>
          </p:nvSpPr>
          <p:spPr bwMode="auto">
            <a:xfrm>
              <a:off x="3141663" y="2339976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9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0" name="Freeform 2805"/>
            <p:cNvSpPr/>
            <p:nvPr/>
          </p:nvSpPr>
          <p:spPr bwMode="auto">
            <a:xfrm>
              <a:off x="3211513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1" name="Freeform 2806"/>
            <p:cNvSpPr/>
            <p:nvPr/>
          </p:nvSpPr>
          <p:spPr bwMode="auto">
            <a:xfrm>
              <a:off x="3211513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9 w 154"/>
                <a:gd name="T5" fmla="*/ 108 h 154"/>
                <a:gd name="T6" fmla="*/ 141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2" name="Freeform 2807"/>
            <p:cNvSpPr/>
            <p:nvPr/>
          </p:nvSpPr>
          <p:spPr bwMode="auto">
            <a:xfrm>
              <a:off x="3282951" y="226853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1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2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3" name="Freeform 2808"/>
            <p:cNvSpPr/>
            <p:nvPr/>
          </p:nvSpPr>
          <p:spPr bwMode="auto">
            <a:xfrm>
              <a:off x="3282951" y="2339976"/>
              <a:ext cx="47625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4" name="Freeform 2809"/>
            <p:cNvSpPr/>
            <p:nvPr/>
          </p:nvSpPr>
          <p:spPr bwMode="auto">
            <a:xfrm>
              <a:off x="3351213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5" name="Freeform 2810"/>
            <p:cNvSpPr/>
            <p:nvPr/>
          </p:nvSpPr>
          <p:spPr bwMode="auto">
            <a:xfrm>
              <a:off x="3351213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6" name="Freeform 2811"/>
            <p:cNvSpPr/>
            <p:nvPr/>
          </p:nvSpPr>
          <p:spPr bwMode="auto">
            <a:xfrm>
              <a:off x="2862263" y="22685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7" name="Freeform 2812"/>
            <p:cNvSpPr/>
            <p:nvPr/>
          </p:nvSpPr>
          <p:spPr bwMode="auto">
            <a:xfrm>
              <a:off x="2862263" y="2339976"/>
              <a:ext cx="49213" cy="47625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8 h 154"/>
                <a:gd name="T6" fmla="*/ 141 w 153"/>
                <a:gd name="T7" fmla="*/ 120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9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8" name="Freeform 2813"/>
            <p:cNvSpPr/>
            <p:nvPr/>
          </p:nvSpPr>
          <p:spPr bwMode="auto">
            <a:xfrm>
              <a:off x="2933701" y="22685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49" name="Freeform 2814"/>
            <p:cNvSpPr/>
            <p:nvPr/>
          </p:nvSpPr>
          <p:spPr bwMode="auto">
            <a:xfrm>
              <a:off x="2933701" y="2339976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1 w 154"/>
                <a:gd name="T7" fmla="*/ 120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9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0" name="Freeform 2815"/>
            <p:cNvSpPr/>
            <p:nvPr/>
          </p:nvSpPr>
          <p:spPr bwMode="auto">
            <a:xfrm>
              <a:off x="3001963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9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5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1" name="Freeform 2816"/>
            <p:cNvSpPr/>
            <p:nvPr/>
          </p:nvSpPr>
          <p:spPr bwMode="auto">
            <a:xfrm>
              <a:off x="3001963" y="2339976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8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2 h 154"/>
                <a:gd name="T16" fmla="*/ 76 w 154"/>
                <a:gd name="T17" fmla="*/ 154 h 154"/>
                <a:gd name="T18" fmla="*/ 69 w 154"/>
                <a:gd name="T19" fmla="*/ 154 h 154"/>
                <a:gd name="T20" fmla="*/ 53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6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5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2" name="Freeform 2817"/>
            <p:cNvSpPr/>
            <p:nvPr/>
          </p:nvSpPr>
          <p:spPr bwMode="auto">
            <a:xfrm>
              <a:off x="3211513" y="2124076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9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4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3" name="Freeform 2819"/>
            <p:cNvSpPr/>
            <p:nvPr/>
          </p:nvSpPr>
          <p:spPr bwMode="auto">
            <a:xfrm>
              <a:off x="3211513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4" name="Freeform 2820"/>
            <p:cNvSpPr/>
            <p:nvPr/>
          </p:nvSpPr>
          <p:spPr bwMode="auto">
            <a:xfrm>
              <a:off x="3282950" y="2124075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6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5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5" name="Freeform 2821"/>
            <p:cNvSpPr/>
            <p:nvPr/>
          </p:nvSpPr>
          <p:spPr bwMode="auto">
            <a:xfrm>
              <a:off x="3282950" y="2195513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6" name="Freeform 2822"/>
            <p:cNvSpPr/>
            <p:nvPr/>
          </p:nvSpPr>
          <p:spPr bwMode="auto">
            <a:xfrm>
              <a:off x="3351213" y="2124075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7" name="Freeform 2823"/>
            <p:cNvSpPr/>
            <p:nvPr/>
          </p:nvSpPr>
          <p:spPr bwMode="auto">
            <a:xfrm>
              <a:off x="3351213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8" name="Freeform 2824"/>
            <p:cNvSpPr/>
            <p:nvPr/>
          </p:nvSpPr>
          <p:spPr bwMode="auto">
            <a:xfrm>
              <a:off x="3421063" y="2406650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5 h 154"/>
                <a:gd name="T48" fmla="*/ 61 w 154"/>
                <a:gd name="T49" fmla="*/ 2 h 154"/>
                <a:gd name="T50" fmla="*/ 77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5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59" name="Freeform 2825"/>
            <p:cNvSpPr/>
            <p:nvPr/>
          </p:nvSpPr>
          <p:spPr bwMode="auto">
            <a:xfrm>
              <a:off x="3490913" y="2406650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0" name="Freeform 2826"/>
            <p:cNvSpPr/>
            <p:nvPr/>
          </p:nvSpPr>
          <p:spPr bwMode="auto">
            <a:xfrm>
              <a:off x="3421063" y="22685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1" name="Freeform 2827"/>
            <p:cNvSpPr/>
            <p:nvPr/>
          </p:nvSpPr>
          <p:spPr bwMode="auto">
            <a:xfrm>
              <a:off x="3421063" y="2339975"/>
              <a:ext cx="47625" cy="47625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8 w 154"/>
                <a:gd name="T5" fmla="*/ 108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4 h 154"/>
                <a:gd name="T20" fmla="*/ 55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2" name="Freeform 2828"/>
            <p:cNvSpPr/>
            <p:nvPr/>
          </p:nvSpPr>
          <p:spPr bwMode="auto">
            <a:xfrm>
              <a:off x="3421063" y="2124075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5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4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3" name="Freeform 2829"/>
            <p:cNvSpPr/>
            <p:nvPr/>
          </p:nvSpPr>
          <p:spPr bwMode="auto">
            <a:xfrm>
              <a:off x="3421063" y="219551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5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4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4" name="Freeform 2830"/>
            <p:cNvSpPr/>
            <p:nvPr/>
          </p:nvSpPr>
          <p:spPr bwMode="auto">
            <a:xfrm>
              <a:off x="3490913" y="2124075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5" name="Freeform 2831"/>
            <p:cNvSpPr/>
            <p:nvPr/>
          </p:nvSpPr>
          <p:spPr bwMode="auto">
            <a:xfrm>
              <a:off x="3490913" y="219551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6" name="Freeform 2832"/>
            <p:cNvSpPr/>
            <p:nvPr/>
          </p:nvSpPr>
          <p:spPr bwMode="auto">
            <a:xfrm>
              <a:off x="3560763" y="2124075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7" name="Freeform 2833"/>
            <p:cNvSpPr/>
            <p:nvPr/>
          </p:nvSpPr>
          <p:spPr bwMode="auto">
            <a:xfrm>
              <a:off x="3560763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8" name="Freeform 2834"/>
            <p:cNvSpPr/>
            <p:nvPr/>
          </p:nvSpPr>
          <p:spPr bwMode="auto">
            <a:xfrm>
              <a:off x="3702050" y="22685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2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69" name="Freeform 2835"/>
            <p:cNvSpPr/>
            <p:nvPr/>
          </p:nvSpPr>
          <p:spPr bwMode="auto">
            <a:xfrm>
              <a:off x="3702050" y="2339975"/>
              <a:ext cx="49213" cy="47625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8 h 154"/>
                <a:gd name="T6" fmla="*/ 142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0" name="Freeform 2836"/>
            <p:cNvSpPr/>
            <p:nvPr/>
          </p:nvSpPr>
          <p:spPr bwMode="auto">
            <a:xfrm>
              <a:off x="3771900" y="2339975"/>
              <a:ext cx="49213" cy="47625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8 h 154"/>
                <a:gd name="T6" fmla="*/ 142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9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1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8 w 155"/>
                <a:gd name="T61" fmla="*/ 29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1" name="Freeform 2837"/>
            <p:cNvSpPr/>
            <p:nvPr/>
          </p:nvSpPr>
          <p:spPr bwMode="auto">
            <a:xfrm>
              <a:off x="3632200" y="2124075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6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7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6 w 154"/>
                <a:gd name="T51" fmla="*/ 0 h 154"/>
                <a:gd name="T52" fmla="*/ 85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2" name="Freeform 2838"/>
            <p:cNvSpPr/>
            <p:nvPr/>
          </p:nvSpPr>
          <p:spPr bwMode="auto">
            <a:xfrm>
              <a:off x="3632200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6 w 154"/>
                <a:gd name="T13" fmla="*/ 148 h 154"/>
                <a:gd name="T14" fmla="*/ 93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6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3" name="Freeform 2839"/>
            <p:cNvSpPr/>
            <p:nvPr/>
          </p:nvSpPr>
          <p:spPr bwMode="auto">
            <a:xfrm>
              <a:off x="3702050" y="2124075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2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0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4" name="Freeform 2840"/>
            <p:cNvSpPr/>
            <p:nvPr/>
          </p:nvSpPr>
          <p:spPr bwMode="auto">
            <a:xfrm>
              <a:off x="3702050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5" name="Freeform 2841"/>
            <p:cNvSpPr/>
            <p:nvPr/>
          </p:nvSpPr>
          <p:spPr bwMode="auto">
            <a:xfrm>
              <a:off x="3771900" y="2124075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2 h 154"/>
                <a:gd name="T4" fmla="*/ 149 w 155"/>
                <a:gd name="T5" fmla="*/ 106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0 h 154"/>
                <a:gd name="T22" fmla="*/ 42 w 155"/>
                <a:gd name="T23" fmla="*/ 144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8 w 155"/>
                <a:gd name="T47" fmla="*/ 5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8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6" name="Freeform 2842"/>
            <p:cNvSpPr/>
            <p:nvPr/>
          </p:nvSpPr>
          <p:spPr bwMode="auto">
            <a:xfrm>
              <a:off x="3421063" y="2057400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7" name="Freeform 2843"/>
            <p:cNvSpPr/>
            <p:nvPr/>
          </p:nvSpPr>
          <p:spPr bwMode="auto">
            <a:xfrm>
              <a:off x="3490913" y="2057400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2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8" name="Freeform 2844"/>
            <p:cNvSpPr/>
            <p:nvPr/>
          </p:nvSpPr>
          <p:spPr bwMode="auto">
            <a:xfrm>
              <a:off x="3560763" y="205740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79" name="Freeform 2845"/>
            <p:cNvSpPr/>
            <p:nvPr/>
          </p:nvSpPr>
          <p:spPr bwMode="auto">
            <a:xfrm>
              <a:off x="3632200" y="205740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0" name="Freeform 2846"/>
            <p:cNvSpPr/>
            <p:nvPr/>
          </p:nvSpPr>
          <p:spPr bwMode="auto">
            <a:xfrm>
              <a:off x="3421063" y="1987550"/>
              <a:ext cx="47625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6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1" name="Freeform 2847"/>
            <p:cNvSpPr/>
            <p:nvPr/>
          </p:nvSpPr>
          <p:spPr bwMode="auto">
            <a:xfrm>
              <a:off x="3490913" y="198755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49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6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2" name="Freeform 2848"/>
            <p:cNvSpPr/>
            <p:nvPr/>
          </p:nvSpPr>
          <p:spPr bwMode="auto">
            <a:xfrm>
              <a:off x="3560763" y="19875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0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3" name="Freeform 2849"/>
            <p:cNvSpPr/>
            <p:nvPr/>
          </p:nvSpPr>
          <p:spPr bwMode="auto">
            <a:xfrm>
              <a:off x="3632200" y="1987550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0 h 153"/>
                <a:gd name="T10" fmla="*/ 120 w 154"/>
                <a:gd name="T11" fmla="*/ 140 h 153"/>
                <a:gd name="T12" fmla="*/ 106 w 154"/>
                <a:gd name="T13" fmla="*/ 147 h 153"/>
                <a:gd name="T14" fmla="*/ 93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49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6 h 153"/>
                <a:gd name="T40" fmla="*/ 12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6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49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49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0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4" name="Freeform 2850"/>
            <p:cNvSpPr/>
            <p:nvPr/>
          </p:nvSpPr>
          <p:spPr bwMode="auto">
            <a:xfrm>
              <a:off x="3421063" y="1920875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4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5" name="Freeform 2851"/>
            <p:cNvSpPr/>
            <p:nvPr/>
          </p:nvSpPr>
          <p:spPr bwMode="auto">
            <a:xfrm>
              <a:off x="3490913" y="1920875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7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2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6" name="Freeform 2852"/>
            <p:cNvSpPr/>
            <p:nvPr/>
          </p:nvSpPr>
          <p:spPr bwMode="auto">
            <a:xfrm>
              <a:off x="3771900" y="219551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8 w 155"/>
                <a:gd name="T13" fmla="*/ 148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1 w 155"/>
                <a:gd name="T29" fmla="*/ 114 h 154"/>
                <a:gd name="T30" fmla="*/ 4 w 155"/>
                <a:gd name="T31" fmla="*/ 100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1" y="140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2" y="145"/>
                  </a:lnTo>
                  <a:lnTo>
                    <a:pt x="35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2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7" name="Freeform 2853"/>
            <p:cNvSpPr/>
            <p:nvPr/>
          </p:nvSpPr>
          <p:spPr bwMode="auto">
            <a:xfrm>
              <a:off x="2862263" y="2124075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6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0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5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8" name="Freeform 2854"/>
            <p:cNvSpPr/>
            <p:nvPr/>
          </p:nvSpPr>
          <p:spPr bwMode="auto">
            <a:xfrm>
              <a:off x="2862263" y="219551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89" name="Freeform 2855"/>
            <p:cNvSpPr/>
            <p:nvPr/>
          </p:nvSpPr>
          <p:spPr bwMode="auto">
            <a:xfrm>
              <a:off x="2933700" y="2124075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0 h 154"/>
                <a:gd name="T22" fmla="*/ 40 w 154"/>
                <a:gd name="T23" fmla="*/ 144 h 154"/>
                <a:gd name="T24" fmla="*/ 29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7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0" name="Freeform 2856"/>
            <p:cNvSpPr/>
            <p:nvPr/>
          </p:nvSpPr>
          <p:spPr bwMode="auto">
            <a:xfrm>
              <a:off x="2933700" y="219551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8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1" name="Freeform 2857"/>
            <p:cNvSpPr/>
            <p:nvPr/>
          </p:nvSpPr>
          <p:spPr bwMode="auto">
            <a:xfrm>
              <a:off x="3001963" y="2124075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9 w 154"/>
                <a:gd name="T19" fmla="*/ 153 h 154"/>
                <a:gd name="T20" fmla="*/ 53 w 154"/>
                <a:gd name="T21" fmla="*/ 150 h 154"/>
                <a:gd name="T22" fmla="*/ 40 w 154"/>
                <a:gd name="T23" fmla="*/ 144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6 w 154"/>
                <a:gd name="T47" fmla="*/ 5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4 w 154"/>
                <a:gd name="T57" fmla="*/ 9 h 154"/>
                <a:gd name="T58" fmla="*/ 125 w 154"/>
                <a:gd name="T59" fmla="*/ 17 h 154"/>
                <a:gd name="T60" fmla="*/ 136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2" name="Freeform 2858"/>
            <p:cNvSpPr/>
            <p:nvPr/>
          </p:nvSpPr>
          <p:spPr bwMode="auto">
            <a:xfrm>
              <a:off x="3001963" y="219551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2 w 154"/>
                <a:gd name="T15" fmla="*/ 152 h 154"/>
                <a:gd name="T16" fmla="*/ 76 w 154"/>
                <a:gd name="T17" fmla="*/ 154 h 154"/>
                <a:gd name="T18" fmla="*/ 69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6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5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3" name="Freeform 2859"/>
            <p:cNvSpPr/>
            <p:nvPr/>
          </p:nvSpPr>
          <p:spPr bwMode="auto">
            <a:xfrm>
              <a:off x="3351213" y="19891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4" name="Freeform 2860"/>
            <p:cNvSpPr/>
            <p:nvPr/>
          </p:nvSpPr>
          <p:spPr bwMode="auto">
            <a:xfrm>
              <a:off x="3351213" y="206057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7 h 155"/>
                <a:gd name="T28" fmla="*/ 10 w 154"/>
                <a:gd name="T29" fmla="*/ 114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5" name="Freeform 2861"/>
            <p:cNvSpPr/>
            <p:nvPr/>
          </p:nvSpPr>
          <p:spPr bwMode="auto">
            <a:xfrm>
              <a:off x="3560763" y="1785938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6" name="Freeform 2862"/>
            <p:cNvSpPr/>
            <p:nvPr/>
          </p:nvSpPr>
          <p:spPr bwMode="auto">
            <a:xfrm>
              <a:off x="3632200" y="1785938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9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5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7" name="Freeform 2863"/>
            <p:cNvSpPr/>
            <p:nvPr/>
          </p:nvSpPr>
          <p:spPr bwMode="auto">
            <a:xfrm>
              <a:off x="3632200" y="1852613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1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9 w 154"/>
                <a:gd name="T19" fmla="*/ 153 h 153"/>
                <a:gd name="T20" fmla="*/ 53 w 154"/>
                <a:gd name="T21" fmla="*/ 149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5 w 154"/>
                <a:gd name="T39" fmla="*/ 46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6 w 154"/>
                <a:gd name="T47" fmla="*/ 5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49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49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8" name="Freeform 2864"/>
            <p:cNvSpPr/>
            <p:nvPr/>
          </p:nvSpPr>
          <p:spPr bwMode="auto">
            <a:xfrm>
              <a:off x="3700463" y="1785938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99" name="Freeform 2865"/>
            <p:cNvSpPr/>
            <p:nvPr/>
          </p:nvSpPr>
          <p:spPr bwMode="auto">
            <a:xfrm>
              <a:off x="3700463" y="1714500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2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7 h 154"/>
                <a:gd name="T28" fmla="*/ 9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8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0" name="Freeform 2866"/>
            <p:cNvSpPr/>
            <p:nvPr/>
          </p:nvSpPr>
          <p:spPr bwMode="auto">
            <a:xfrm>
              <a:off x="3773488" y="1714500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19 w 153"/>
                <a:gd name="T11" fmla="*/ 142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7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8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1" name="Freeform 2867"/>
            <p:cNvSpPr/>
            <p:nvPr/>
          </p:nvSpPr>
          <p:spPr bwMode="auto">
            <a:xfrm>
              <a:off x="3700463" y="1646238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7 w 155"/>
                <a:gd name="T61" fmla="*/ 29 h 154"/>
                <a:gd name="T62" fmla="*/ 145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2" name="Freeform 2868"/>
            <p:cNvSpPr/>
            <p:nvPr/>
          </p:nvSpPr>
          <p:spPr bwMode="auto">
            <a:xfrm>
              <a:off x="3773488" y="1646238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9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9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3" name="Freeform 2869"/>
            <p:cNvSpPr/>
            <p:nvPr/>
          </p:nvSpPr>
          <p:spPr bwMode="auto">
            <a:xfrm>
              <a:off x="3632200" y="1646238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3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6 w 154"/>
                <a:gd name="T17" fmla="*/ 154 h 154"/>
                <a:gd name="T18" fmla="*/ 69 w 154"/>
                <a:gd name="T19" fmla="*/ 154 h 154"/>
                <a:gd name="T20" fmla="*/ 53 w 154"/>
                <a:gd name="T21" fmla="*/ 151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6 w 154"/>
                <a:gd name="T47" fmla="*/ 7 h 154"/>
                <a:gd name="T48" fmla="*/ 61 w 154"/>
                <a:gd name="T49" fmla="*/ 2 h 154"/>
                <a:gd name="T50" fmla="*/ 76 w 154"/>
                <a:gd name="T51" fmla="*/ 0 h 154"/>
                <a:gd name="T52" fmla="*/ 84 w 154"/>
                <a:gd name="T53" fmla="*/ 1 h 154"/>
                <a:gd name="T54" fmla="*/ 99 w 154"/>
                <a:gd name="T55" fmla="*/ 3 h 154"/>
                <a:gd name="T56" fmla="*/ 114 w 154"/>
                <a:gd name="T57" fmla="*/ 9 h 154"/>
                <a:gd name="T58" fmla="*/ 125 w 154"/>
                <a:gd name="T59" fmla="*/ 18 h 154"/>
                <a:gd name="T60" fmla="*/ 136 w 154"/>
                <a:gd name="T61" fmla="*/ 29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4" name="Freeform 2870"/>
            <p:cNvSpPr/>
            <p:nvPr/>
          </p:nvSpPr>
          <p:spPr bwMode="auto">
            <a:xfrm>
              <a:off x="3635375" y="157321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0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2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5" name="Freeform 2871"/>
            <p:cNvSpPr/>
            <p:nvPr/>
          </p:nvSpPr>
          <p:spPr bwMode="auto">
            <a:xfrm>
              <a:off x="3494088" y="15732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7 w 155"/>
                <a:gd name="T27" fmla="*/ 127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3 w 155"/>
                <a:gd name="T57" fmla="*/ 10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3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6" name="Freeform 2872"/>
            <p:cNvSpPr/>
            <p:nvPr/>
          </p:nvSpPr>
          <p:spPr bwMode="auto">
            <a:xfrm>
              <a:off x="3565525" y="15732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19 w 154"/>
                <a:gd name="T11" fmla="*/ 142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2 w 154"/>
                <a:gd name="T43" fmla="*/ 23 h 155"/>
                <a:gd name="T44" fmla="*/ 33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7" name="Freeform 2873"/>
            <p:cNvSpPr/>
            <p:nvPr/>
          </p:nvSpPr>
          <p:spPr bwMode="auto">
            <a:xfrm>
              <a:off x="2862263" y="19891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6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8" name="Freeform 2874"/>
            <p:cNvSpPr/>
            <p:nvPr/>
          </p:nvSpPr>
          <p:spPr bwMode="auto">
            <a:xfrm>
              <a:off x="2862263" y="2060575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4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5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09" name="Freeform 2875"/>
            <p:cNvSpPr/>
            <p:nvPr/>
          </p:nvSpPr>
          <p:spPr bwMode="auto">
            <a:xfrm>
              <a:off x="2933700" y="2060575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8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7 h 155"/>
                <a:gd name="T26" fmla="*/ 17 w 154"/>
                <a:gd name="T27" fmla="*/ 127 h 155"/>
                <a:gd name="T28" fmla="*/ 9 w 154"/>
                <a:gd name="T29" fmla="*/ 114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0" name="Freeform 2876"/>
            <p:cNvSpPr/>
            <p:nvPr/>
          </p:nvSpPr>
          <p:spPr bwMode="auto">
            <a:xfrm>
              <a:off x="2862263" y="18510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5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1" name="Freeform 2877"/>
            <p:cNvSpPr/>
            <p:nvPr/>
          </p:nvSpPr>
          <p:spPr bwMode="auto">
            <a:xfrm>
              <a:off x="2862263" y="1922463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1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3 h 155"/>
                <a:gd name="T16" fmla="*/ 77 w 153"/>
                <a:gd name="T17" fmla="*/ 155 h 155"/>
                <a:gd name="T18" fmla="*/ 69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2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2" name="Freeform 2878"/>
            <p:cNvSpPr/>
            <p:nvPr/>
          </p:nvSpPr>
          <p:spPr bwMode="auto">
            <a:xfrm>
              <a:off x="2933700" y="1851025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3" name="Freeform 2879"/>
            <p:cNvSpPr/>
            <p:nvPr/>
          </p:nvSpPr>
          <p:spPr bwMode="auto">
            <a:xfrm>
              <a:off x="3071813" y="1708150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7 h 153"/>
                <a:gd name="T6" fmla="*/ 142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4" name="Freeform 2880"/>
            <p:cNvSpPr/>
            <p:nvPr/>
          </p:nvSpPr>
          <p:spPr bwMode="auto">
            <a:xfrm>
              <a:off x="3071813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2 w 155"/>
                <a:gd name="T23" fmla="*/ 145 h 155"/>
                <a:gd name="T24" fmla="*/ 29 w 155"/>
                <a:gd name="T25" fmla="*/ 136 h 155"/>
                <a:gd name="T26" fmla="*/ 19 w 155"/>
                <a:gd name="T27" fmla="*/ 126 h 155"/>
                <a:gd name="T28" fmla="*/ 11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8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5" name="Freeform 2881"/>
            <p:cNvSpPr/>
            <p:nvPr/>
          </p:nvSpPr>
          <p:spPr bwMode="auto">
            <a:xfrm>
              <a:off x="3141663" y="1708150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7 h 153"/>
                <a:gd name="T6" fmla="*/ 141 w 153"/>
                <a:gd name="T7" fmla="*/ 120 h 153"/>
                <a:gd name="T8" fmla="*/ 130 w 153"/>
                <a:gd name="T9" fmla="*/ 132 h 153"/>
                <a:gd name="T10" fmla="*/ 119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6" name="Freeform 2882"/>
            <p:cNvSpPr/>
            <p:nvPr/>
          </p:nvSpPr>
          <p:spPr bwMode="auto">
            <a:xfrm>
              <a:off x="3141663" y="177800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0 w 153"/>
                <a:gd name="T9" fmla="*/ 132 h 155"/>
                <a:gd name="T10" fmla="*/ 119 w 153"/>
                <a:gd name="T11" fmla="*/ 141 h 155"/>
                <a:gd name="T12" fmla="*/ 106 w 153"/>
                <a:gd name="T13" fmla="*/ 149 h 155"/>
                <a:gd name="T14" fmla="*/ 92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7" name="Freeform 2883"/>
            <p:cNvSpPr/>
            <p:nvPr/>
          </p:nvSpPr>
          <p:spPr bwMode="auto">
            <a:xfrm>
              <a:off x="3211513" y="1708150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9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4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8" name="Freeform 2884"/>
            <p:cNvSpPr/>
            <p:nvPr/>
          </p:nvSpPr>
          <p:spPr bwMode="auto">
            <a:xfrm>
              <a:off x="3351213" y="1708150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19" name="Freeform 2885"/>
            <p:cNvSpPr/>
            <p:nvPr/>
          </p:nvSpPr>
          <p:spPr bwMode="auto">
            <a:xfrm>
              <a:off x="2862263" y="1708150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7 h 153"/>
                <a:gd name="T6" fmla="*/ 141 w 153"/>
                <a:gd name="T7" fmla="*/ 120 h 153"/>
                <a:gd name="T8" fmla="*/ 132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0" name="Freeform 2886"/>
            <p:cNvSpPr/>
            <p:nvPr/>
          </p:nvSpPr>
          <p:spPr bwMode="auto">
            <a:xfrm>
              <a:off x="2862263" y="177800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2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1" name="Freeform 2887"/>
            <p:cNvSpPr/>
            <p:nvPr/>
          </p:nvSpPr>
          <p:spPr bwMode="auto">
            <a:xfrm>
              <a:off x="2933700" y="1708150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8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2" name="Freeform 2888"/>
            <p:cNvSpPr/>
            <p:nvPr/>
          </p:nvSpPr>
          <p:spPr bwMode="auto">
            <a:xfrm>
              <a:off x="2933700" y="17780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8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3" name="Freeform 2889"/>
            <p:cNvSpPr/>
            <p:nvPr/>
          </p:nvSpPr>
          <p:spPr bwMode="auto">
            <a:xfrm>
              <a:off x="3001963" y="1708150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7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9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5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4" name="Freeform 2890"/>
            <p:cNvSpPr/>
            <p:nvPr/>
          </p:nvSpPr>
          <p:spPr bwMode="auto">
            <a:xfrm>
              <a:off x="2727325" y="16398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7 h 154"/>
                <a:gd name="T6" fmla="*/ 142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5" name="Freeform 2891"/>
            <p:cNvSpPr/>
            <p:nvPr/>
          </p:nvSpPr>
          <p:spPr bwMode="auto">
            <a:xfrm>
              <a:off x="2797175" y="1639888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0 w 153"/>
                <a:gd name="T9" fmla="*/ 132 h 154"/>
                <a:gd name="T10" fmla="*/ 119 w 153"/>
                <a:gd name="T11" fmla="*/ 141 h 154"/>
                <a:gd name="T12" fmla="*/ 106 w 153"/>
                <a:gd name="T13" fmla="*/ 148 h 154"/>
                <a:gd name="T14" fmla="*/ 91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1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6" name="Freeform 2892"/>
            <p:cNvSpPr/>
            <p:nvPr/>
          </p:nvSpPr>
          <p:spPr bwMode="auto">
            <a:xfrm>
              <a:off x="3211513" y="163988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9 w 154"/>
                <a:gd name="T5" fmla="*/ 107 h 154"/>
                <a:gd name="T6" fmla="*/ 141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0 h 154"/>
                <a:gd name="T22" fmla="*/ 40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4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7" name="Freeform 2893"/>
            <p:cNvSpPr/>
            <p:nvPr/>
          </p:nvSpPr>
          <p:spPr bwMode="auto">
            <a:xfrm>
              <a:off x="2933700" y="163988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1 h 154"/>
                <a:gd name="T12" fmla="*/ 108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6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1 w 154"/>
                <a:gd name="T37" fmla="*/ 62 h 154"/>
                <a:gd name="T38" fmla="*/ 6 w 154"/>
                <a:gd name="T39" fmla="*/ 47 h 154"/>
                <a:gd name="T40" fmla="*/ 14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3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4 w 154"/>
                <a:gd name="T63" fmla="*/ 41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8" name="Freeform 2894"/>
            <p:cNvSpPr/>
            <p:nvPr/>
          </p:nvSpPr>
          <p:spPr bwMode="auto">
            <a:xfrm>
              <a:off x="2797175" y="1568450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19 w 153"/>
                <a:gd name="T11" fmla="*/ 140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29" name="Freeform 2895"/>
            <p:cNvSpPr/>
            <p:nvPr/>
          </p:nvSpPr>
          <p:spPr bwMode="auto">
            <a:xfrm>
              <a:off x="2862263" y="1568450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2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5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0" name="Freeform 2896"/>
            <p:cNvSpPr/>
            <p:nvPr/>
          </p:nvSpPr>
          <p:spPr bwMode="auto">
            <a:xfrm>
              <a:off x="3001963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6 w 154"/>
                <a:gd name="T17" fmla="*/ 155 h 155"/>
                <a:gd name="T18" fmla="*/ 69 w 154"/>
                <a:gd name="T19" fmla="*/ 153 h 155"/>
                <a:gd name="T20" fmla="*/ 53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4 w 154"/>
                <a:gd name="T57" fmla="*/ 9 h 155"/>
                <a:gd name="T58" fmla="*/ 125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1" name="Freeform 2897"/>
            <p:cNvSpPr/>
            <p:nvPr/>
          </p:nvSpPr>
          <p:spPr bwMode="auto">
            <a:xfrm>
              <a:off x="1955800" y="1708150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2" name="Freeform 2898"/>
            <p:cNvSpPr/>
            <p:nvPr/>
          </p:nvSpPr>
          <p:spPr bwMode="auto">
            <a:xfrm>
              <a:off x="1955800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3" name="Freeform 2899"/>
            <p:cNvSpPr/>
            <p:nvPr/>
          </p:nvSpPr>
          <p:spPr bwMode="auto">
            <a:xfrm>
              <a:off x="2025650" y="1708150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7 h 153"/>
                <a:gd name="T6" fmla="*/ 142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4" name="Freeform 2900"/>
            <p:cNvSpPr/>
            <p:nvPr/>
          </p:nvSpPr>
          <p:spPr bwMode="auto">
            <a:xfrm>
              <a:off x="2025650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5" name="Freeform 2901"/>
            <p:cNvSpPr/>
            <p:nvPr/>
          </p:nvSpPr>
          <p:spPr bwMode="auto">
            <a:xfrm>
              <a:off x="2095500" y="1708150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6" name="Freeform 2902"/>
            <p:cNvSpPr/>
            <p:nvPr/>
          </p:nvSpPr>
          <p:spPr bwMode="auto">
            <a:xfrm>
              <a:off x="2095500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7" name="Freeform 2903"/>
            <p:cNvSpPr/>
            <p:nvPr/>
          </p:nvSpPr>
          <p:spPr bwMode="auto">
            <a:xfrm>
              <a:off x="1816100" y="1708150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8" name="Freeform 2904"/>
            <p:cNvSpPr/>
            <p:nvPr/>
          </p:nvSpPr>
          <p:spPr bwMode="auto">
            <a:xfrm>
              <a:off x="1816100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39" name="Freeform 2905"/>
            <p:cNvSpPr/>
            <p:nvPr/>
          </p:nvSpPr>
          <p:spPr bwMode="auto">
            <a:xfrm>
              <a:off x="1885950" y="1708150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0" name="Freeform 2906"/>
            <p:cNvSpPr/>
            <p:nvPr/>
          </p:nvSpPr>
          <p:spPr bwMode="auto">
            <a:xfrm>
              <a:off x="1885950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3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1" name="Freeform 2907"/>
            <p:cNvSpPr/>
            <p:nvPr/>
          </p:nvSpPr>
          <p:spPr bwMode="auto">
            <a:xfrm>
              <a:off x="1744663" y="1851025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6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2" name="Freeform 2908"/>
            <p:cNvSpPr/>
            <p:nvPr/>
          </p:nvSpPr>
          <p:spPr bwMode="auto">
            <a:xfrm>
              <a:off x="1744663" y="19224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3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5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3" name="Freeform 2909"/>
            <p:cNvSpPr/>
            <p:nvPr/>
          </p:nvSpPr>
          <p:spPr bwMode="auto">
            <a:xfrm>
              <a:off x="1604963" y="1851025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9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8 w 155"/>
                <a:gd name="T13" fmla="*/ 148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0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4 h 154"/>
                <a:gd name="T56" fmla="*/ 115 w 155"/>
                <a:gd name="T57" fmla="*/ 10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4" name="Freeform 2910"/>
            <p:cNvSpPr/>
            <p:nvPr/>
          </p:nvSpPr>
          <p:spPr bwMode="auto">
            <a:xfrm>
              <a:off x="1674813" y="1851025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2 w 154"/>
                <a:gd name="T7" fmla="*/ 121 h 154"/>
                <a:gd name="T8" fmla="*/ 131 w 154"/>
                <a:gd name="T9" fmla="*/ 132 h 154"/>
                <a:gd name="T10" fmla="*/ 120 w 154"/>
                <a:gd name="T11" fmla="*/ 141 h 154"/>
                <a:gd name="T12" fmla="*/ 107 w 154"/>
                <a:gd name="T13" fmla="*/ 148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5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8 w 154"/>
                <a:gd name="T47" fmla="*/ 6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7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5" name="Freeform 2911"/>
            <p:cNvSpPr/>
            <p:nvPr/>
          </p:nvSpPr>
          <p:spPr bwMode="auto">
            <a:xfrm>
              <a:off x="1674813" y="1922463"/>
              <a:ext cx="47625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8 h 155"/>
                <a:gd name="T6" fmla="*/ 142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6" name="Freeform 2912"/>
            <p:cNvSpPr/>
            <p:nvPr/>
          </p:nvSpPr>
          <p:spPr bwMode="auto">
            <a:xfrm>
              <a:off x="1744663" y="1708150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7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3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7" name="Freeform 2913"/>
            <p:cNvSpPr/>
            <p:nvPr/>
          </p:nvSpPr>
          <p:spPr bwMode="auto">
            <a:xfrm>
              <a:off x="1744663" y="177800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3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8" name="Freeform 2914"/>
            <p:cNvSpPr/>
            <p:nvPr/>
          </p:nvSpPr>
          <p:spPr bwMode="auto">
            <a:xfrm>
              <a:off x="1604963" y="1708150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8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49" name="Freeform 2915"/>
            <p:cNvSpPr/>
            <p:nvPr/>
          </p:nvSpPr>
          <p:spPr bwMode="auto">
            <a:xfrm>
              <a:off x="1604963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3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0" name="Freeform 2916"/>
            <p:cNvSpPr/>
            <p:nvPr/>
          </p:nvSpPr>
          <p:spPr bwMode="auto">
            <a:xfrm>
              <a:off x="1674813" y="1708150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7 h 153"/>
                <a:gd name="T6" fmla="*/ 142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7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1" name="Freeform 2917"/>
            <p:cNvSpPr/>
            <p:nvPr/>
          </p:nvSpPr>
          <p:spPr bwMode="auto">
            <a:xfrm>
              <a:off x="1674813" y="1778000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2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2" name="Freeform 2918"/>
            <p:cNvSpPr/>
            <p:nvPr/>
          </p:nvSpPr>
          <p:spPr bwMode="auto">
            <a:xfrm>
              <a:off x="1531938" y="1851025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3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3" name="Freeform 2919"/>
            <p:cNvSpPr/>
            <p:nvPr/>
          </p:nvSpPr>
          <p:spPr bwMode="auto">
            <a:xfrm>
              <a:off x="1392238" y="18510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5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4" name="Freeform 2920"/>
            <p:cNvSpPr/>
            <p:nvPr/>
          </p:nvSpPr>
          <p:spPr bwMode="auto">
            <a:xfrm>
              <a:off x="1462088" y="185102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1 w 154"/>
                <a:gd name="T11" fmla="*/ 141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0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5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5" name="Freeform 2921"/>
            <p:cNvSpPr/>
            <p:nvPr/>
          </p:nvSpPr>
          <p:spPr bwMode="auto">
            <a:xfrm>
              <a:off x="1531938" y="1708150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7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4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6" name="Freeform 2922"/>
            <p:cNvSpPr/>
            <p:nvPr/>
          </p:nvSpPr>
          <p:spPr bwMode="auto">
            <a:xfrm>
              <a:off x="1531938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7" name="Freeform 2923"/>
            <p:cNvSpPr/>
            <p:nvPr/>
          </p:nvSpPr>
          <p:spPr bwMode="auto">
            <a:xfrm>
              <a:off x="1392238" y="1778000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2 h 155"/>
                <a:gd name="T16" fmla="*/ 77 w 153"/>
                <a:gd name="T17" fmla="*/ 155 h 155"/>
                <a:gd name="T18" fmla="*/ 69 w 153"/>
                <a:gd name="T19" fmla="*/ 153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8" name="Freeform 2924"/>
            <p:cNvSpPr/>
            <p:nvPr/>
          </p:nvSpPr>
          <p:spPr bwMode="auto">
            <a:xfrm>
              <a:off x="1462088" y="1708150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8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59" name="Freeform 2925"/>
            <p:cNvSpPr/>
            <p:nvPr/>
          </p:nvSpPr>
          <p:spPr bwMode="auto">
            <a:xfrm>
              <a:off x="1955800" y="16367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0" name="Freeform 2926"/>
            <p:cNvSpPr/>
            <p:nvPr/>
          </p:nvSpPr>
          <p:spPr bwMode="auto">
            <a:xfrm>
              <a:off x="2025650" y="16367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7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1" name="Freeform 2927"/>
            <p:cNvSpPr/>
            <p:nvPr/>
          </p:nvSpPr>
          <p:spPr bwMode="auto">
            <a:xfrm>
              <a:off x="2095500" y="16367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2" name="Freeform 2928"/>
            <p:cNvSpPr/>
            <p:nvPr/>
          </p:nvSpPr>
          <p:spPr bwMode="auto">
            <a:xfrm>
              <a:off x="1816100" y="16367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3" name="Freeform 2929"/>
            <p:cNvSpPr/>
            <p:nvPr/>
          </p:nvSpPr>
          <p:spPr bwMode="auto">
            <a:xfrm>
              <a:off x="1885950" y="16367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99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4" name="Freeform 2930"/>
            <p:cNvSpPr/>
            <p:nvPr/>
          </p:nvSpPr>
          <p:spPr bwMode="auto">
            <a:xfrm>
              <a:off x="1744663" y="163671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2 w 153"/>
                <a:gd name="T15" fmla="*/ 152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6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6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5 w 153"/>
                <a:gd name="T59" fmla="*/ 18 h 155"/>
                <a:gd name="T60" fmla="*/ 136 w 153"/>
                <a:gd name="T61" fmla="*/ 29 h 155"/>
                <a:gd name="T62" fmla="*/ 144 w 153"/>
                <a:gd name="T63" fmla="*/ 40 h 155"/>
                <a:gd name="T64" fmla="*/ 149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5" name="Freeform 2931"/>
            <p:cNvSpPr/>
            <p:nvPr/>
          </p:nvSpPr>
          <p:spPr bwMode="auto">
            <a:xfrm>
              <a:off x="1604963" y="16367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6 h 155"/>
                <a:gd name="T26" fmla="*/ 18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9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6" name="Freeform 2932"/>
            <p:cNvSpPr/>
            <p:nvPr/>
          </p:nvSpPr>
          <p:spPr bwMode="auto">
            <a:xfrm>
              <a:off x="1674813" y="16367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2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7 w 154"/>
                <a:gd name="T17" fmla="*/ 155 h 155"/>
                <a:gd name="T18" fmla="*/ 69 w 154"/>
                <a:gd name="T19" fmla="*/ 155 h 155"/>
                <a:gd name="T20" fmla="*/ 55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7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2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7" name="Freeform 2933"/>
            <p:cNvSpPr/>
            <p:nvPr/>
          </p:nvSpPr>
          <p:spPr bwMode="auto">
            <a:xfrm>
              <a:off x="1531938" y="16367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3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4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8" name="Freeform 2934"/>
            <p:cNvSpPr/>
            <p:nvPr/>
          </p:nvSpPr>
          <p:spPr bwMode="auto">
            <a:xfrm>
              <a:off x="1462088" y="177800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7 w 154"/>
                <a:gd name="T17" fmla="*/ 155 h 155"/>
                <a:gd name="T18" fmla="*/ 69 w 154"/>
                <a:gd name="T19" fmla="*/ 153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6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69" name="Freeform 2935"/>
            <p:cNvSpPr/>
            <p:nvPr/>
          </p:nvSpPr>
          <p:spPr bwMode="auto">
            <a:xfrm>
              <a:off x="1323975" y="1851025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1 h 154"/>
                <a:gd name="T8" fmla="*/ 132 w 155"/>
                <a:gd name="T9" fmla="*/ 132 h 154"/>
                <a:gd name="T10" fmla="*/ 120 w 155"/>
                <a:gd name="T11" fmla="*/ 141 h 154"/>
                <a:gd name="T12" fmla="*/ 107 w 155"/>
                <a:gd name="T13" fmla="*/ 148 h 154"/>
                <a:gd name="T14" fmla="*/ 93 w 155"/>
                <a:gd name="T15" fmla="*/ 153 h 154"/>
                <a:gd name="T16" fmla="*/ 77 w 155"/>
                <a:gd name="T17" fmla="*/ 154 h 154"/>
                <a:gd name="T18" fmla="*/ 69 w 155"/>
                <a:gd name="T19" fmla="*/ 154 h 154"/>
                <a:gd name="T20" fmla="*/ 54 w 155"/>
                <a:gd name="T21" fmla="*/ 150 h 154"/>
                <a:gd name="T22" fmla="*/ 40 w 155"/>
                <a:gd name="T23" fmla="*/ 145 h 154"/>
                <a:gd name="T24" fmla="*/ 29 w 155"/>
                <a:gd name="T25" fmla="*/ 137 h 154"/>
                <a:gd name="T26" fmla="*/ 17 w 155"/>
                <a:gd name="T27" fmla="*/ 126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5 h 154"/>
                <a:gd name="T34" fmla="*/ 0 w 155"/>
                <a:gd name="T35" fmla="*/ 77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5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4 h 154"/>
                <a:gd name="T56" fmla="*/ 114 w 155"/>
                <a:gd name="T57" fmla="*/ 10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0" name="Freeform 2936"/>
            <p:cNvSpPr/>
            <p:nvPr/>
          </p:nvSpPr>
          <p:spPr bwMode="auto">
            <a:xfrm>
              <a:off x="1184275" y="185102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1 h 154"/>
                <a:gd name="T8" fmla="*/ 132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5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4 h 154"/>
                <a:gd name="T56" fmla="*/ 113 w 153"/>
                <a:gd name="T57" fmla="*/ 10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1" name="Freeform 2937"/>
            <p:cNvSpPr/>
            <p:nvPr/>
          </p:nvSpPr>
          <p:spPr bwMode="auto">
            <a:xfrm>
              <a:off x="1254125" y="1851025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1 h 154"/>
                <a:gd name="T8" fmla="*/ 131 w 153"/>
                <a:gd name="T9" fmla="*/ 132 h 154"/>
                <a:gd name="T10" fmla="*/ 120 w 153"/>
                <a:gd name="T11" fmla="*/ 141 h 154"/>
                <a:gd name="T12" fmla="*/ 106 w 153"/>
                <a:gd name="T13" fmla="*/ 148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3 w 153"/>
                <a:gd name="T21" fmla="*/ 150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5 h 154"/>
                <a:gd name="T42" fmla="*/ 21 w 153"/>
                <a:gd name="T43" fmla="*/ 23 h 154"/>
                <a:gd name="T44" fmla="*/ 33 w 153"/>
                <a:gd name="T45" fmla="*/ 13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4 h 154"/>
                <a:gd name="T56" fmla="*/ 113 w 153"/>
                <a:gd name="T57" fmla="*/ 10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49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2" name="Freeform 2938"/>
            <p:cNvSpPr/>
            <p:nvPr/>
          </p:nvSpPr>
          <p:spPr bwMode="auto">
            <a:xfrm>
              <a:off x="1323975" y="1778000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7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69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7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4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3" name="Freeform 2939"/>
            <p:cNvSpPr/>
            <p:nvPr/>
          </p:nvSpPr>
          <p:spPr bwMode="auto">
            <a:xfrm>
              <a:off x="1392238" y="1920875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4" name="Freeform 2940"/>
            <p:cNvSpPr/>
            <p:nvPr/>
          </p:nvSpPr>
          <p:spPr bwMode="auto">
            <a:xfrm>
              <a:off x="1462088" y="1920875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5" name="Freeform 2941"/>
            <p:cNvSpPr/>
            <p:nvPr/>
          </p:nvSpPr>
          <p:spPr bwMode="auto">
            <a:xfrm>
              <a:off x="1184275" y="1993900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2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3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6" name="Freeform 2942"/>
            <p:cNvSpPr/>
            <p:nvPr/>
          </p:nvSpPr>
          <p:spPr bwMode="auto">
            <a:xfrm>
              <a:off x="1254125" y="1993900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3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5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3"/>
                  </a:lnTo>
                  <a:lnTo>
                    <a:pt x="149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7" name="Freeform 2943"/>
            <p:cNvSpPr/>
            <p:nvPr/>
          </p:nvSpPr>
          <p:spPr bwMode="auto">
            <a:xfrm>
              <a:off x="1323975" y="1920875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8" name="Freeform 2944"/>
            <p:cNvSpPr/>
            <p:nvPr/>
          </p:nvSpPr>
          <p:spPr bwMode="auto">
            <a:xfrm>
              <a:off x="1254125" y="1920875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79" name="Freeform 2945"/>
            <p:cNvSpPr/>
            <p:nvPr/>
          </p:nvSpPr>
          <p:spPr bwMode="auto">
            <a:xfrm>
              <a:off x="1184275" y="1920875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4 w 155"/>
                <a:gd name="T63" fmla="*/ 40 h 153"/>
                <a:gd name="T64" fmla="*/ 151 w 155"/>
                <a:gd name="T65" fmla="*/ 53 h 153"/>
                <a:gd name="T66" fmla="*/ 153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0" name="Freeform 2946"/>
            <p:cNvSpPr/>
            <p:nvPr/>
          </p:nvSpPr>
          <p:spPr bwMode="auto">
            <a:xfrm>
              <a:off x="1674813" y="26908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1" name="Freeform 2947"/>
            <p:cNvSpPr/>
            <p:nvPr/>
          </p:nvSpPr>
          <p:spPr bwMode="auto">
            <a:xfrm>
              <a:off x="1674813" y="2762250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19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2" name="Freeform 2948"/>
            <p:cNvSpPr/>
            <p:nvPr/>
          </p:nvSpPr>
          <p:spPr bwMode="auto">
            <a:xfrm>
              <a:off x="1743075" y="26908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2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3" name="Freeform 2949"/>
            <p:cNvSpPr/>
            <p:nvPr/>
          </p:nvSpPr>
          <p:spPr bwMode="auto">
            <a:xfrm>
              <a:off x="1743075" y="276225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1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4" name="Freeform 2950"/>
            <p:cNvSpPr/>
            <p:nvPr/>
          </p:nvSpPr>
          <p:spPr bwMode="auto">
            <a:xfrm>
              <a:off x="1674813" y="2546350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9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5" name="Freeform 2951"/>
            <p:cNvSpPr/>
            <p:nvPr/>
          </p:nvSpPr>
          <p:spPr bwMode="auto">
            <a:xfrm>
              <a:off x="1674813" y="2617788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4 h 155"/>
                <a:gd name="T4" fmla="*/ 147 w 153"/>
                <a:gd name="T5" fmla="*/ 108 h 155"/>
                <a:gd name="T6" fmla="*/ 141 w 153"/>
                <a:gd name="T7" fmla="*/ 122 h 155"/>
                <a:gd name="T8" fmla="*/ 131 w 153"/>
                <a:gd name="T9" fmla="*/ 133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4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2"/>
                  </a:lnTo>
                  <a:lnTo>
                    <a:pt x="136" y="127"/>
                  </a:lnTo>
                  <a:lnTo>
                    <a:pt x="131" y="133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2" y="133"/>
                  </a:lnTo>
                  <a:lnTo>
                    <a:pt x="17" y="127"/>
                  </a:lnTo>
                  <a:lnTo>
                    <a:pt x="12" y="122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6" name="Freeform 2952"/>
            <p:cNvSpPr/>
            <p:nvPr/>
          </p:nvSpPr>
          <p:spPr bwMode="auto">
            <a:xfrm>
              <a:off x="1608138" y="26177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4 h 155"/>
                <a:gd name="T4" fmla="*/ 148 w 155"/>
                <a:gd name="T5" fmla="*/ 108 h 155"/>
                <a:gd name="T6" fmla="*/ 141 w 155"/>
                <a:gd name="T7" fmla="*/ 122 h 155"/>
                <a:gd name="T8" fmla="*/ 132 w 155"/>
                <a:gd name="T9" fmla="*/ 133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5 h 155"/>
                <a:gd name="T56" fmla="*/ 114 w 155"/>
                <a:gd name="T57" fmla="*/ 11 h 155"/>
                <a:gd name="T58" fmla="*/ 126 w 155"/>
                <a:gd name="T59" fmla="*/ 19 h 155"/>
                <a:gd name="T60" fmla="*/ 137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4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7" y="127"/>
                  </a:lnTo>
                  <a:lnTo>
                    <a:pt x="132" y="133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2"/>
                  </a:lnTo>
                  <a:lnTo>
                    <a:pt x="29" y="138"/>
                  </a:lnTo>
                  <a:lnTo>
                    <a:pt x="23" y="133"/>
                  </a:lnTo>
                  <a:lnTo>
                    <a:pt x="18" y="127"/>
                  </a:lnTo>
                  <a:lnTo>
                    <a:pt x="14" y="122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7" name="Freeform 2953"/>
            <p:cNvSpPr/>
            <p:nvPr/>
          </p:nvSpPr>
          <p:spPr bwMode="auto">
            <a:xfrm>
              <a:off x="1743075" y="25463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0 h 155"/>
                <a:gd name="T64" fmla="*/ 150 w 154"/>
                <a:gd name="T65" fmla="*/ 54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8" name="Freeform 2954"/>
            <p:cNvSpPr/>
            <p:nvPr/>
          </p:nvSpPr>
          <p:spPr bwMode="auto">
            <a:xfrm>
              <a:off x="1743075" y="26177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4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3 h 155"/>
                <a:gd name="T10" fmla="*/ 121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4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7" y="127"/>
                  </a:lnTo>
                  <a:lnTo>
                    <a:pt x="132" y="133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3"/>
                  </a:lnTo>
                  <a:lnTo>
                    <a:pt x="18" y="127"/>
                  </a:lnTo>
                  <a:lnTo>
                    <a:pt x="13" y="122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89" name="Freeform 2955"/>
            <p:cNvSpPr/>
            <p:nvPr/>
          </p:nvSpPr>
          <p:spPr bwMode="auto">
            <a:xfrm>
              <a:off x="2166938" y="3390900"/>
              <a:ext cx="49213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19 h 153"/>
                <a:gd name="T8" fmla="*/ 131 w 153"/>
                <a:gd name="T9" fmla="*/ 130 h 153"/>
                <a:gd name="T10" fmla="*/ 120 w 153"/>
                <a:gd name="T11" fmla="*/ 140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0" name="Freeform 2956"/>
            <p:cNvSpPr/>
            <p:nvPr/>
          </p:nvSpPr>
          <p:spPr bwMode="auto">
            <a:xfrm>
              <a:off x="2095500" y="3390900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9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3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4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3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1" name="Freeform 2957"/>
            <p:cNvSpPr/>
            <p:nvPr/>
          </p:nvSpPr>
          <p:spPr bwMode="auto">
            <a:xfrm>
              <a:off x="2166938" y="32464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7" y="138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0" y="3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3"/>
                  </a:lnTo>
                  <a:lnTo>
                    <a:pt x="99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2" name="Freeform 2958"/>
            <p:cNvSpPr/>
            <p:nvPr/>
          </p:nvSpPr>
          <p:spPr bwMode="auto">
            <a:xfrm>
              <a:off x="2166938" y="3317875"/>
              <a:ext cx="49213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5 w 153"/>
                <a:gd name="T39" fmla="*/ 47 h 155"/>
                <a:gd name="T40" fmla="*/ 12 w 153"/>
                <a:gd name="T41" fmla="*/ 35 h 155"/>
                <a:gd name="T42" fmla="*/ 21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3" name="Freeform 2959"/>
            <p:cNvSpPr/>
            <p:nvPr/>
          </p:nvSpPr>
          <p:spPr bwMode="auto">
            <a:xfrm>
              <a:off x="1955800" y="32464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6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4" name="Freeform 2960"/>
            <p:cNvSpPr/>
            <p:nvPr/>
          </p:nvSpPr>
          <p:spPr bwMode="auto">
            <a:xfrm>
              <a:off x="1955800" y="331787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2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5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3 h 155"/>
                <a:gd name="T46" fmla="*/ 46 w 154"/>
                <a:gd name="T47" fmla="*/ 6 h 155"/>
                <a:gd name="T48" fmla="*/ 61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7 w 154"/>
                <a:gd name="T59" fmla="*/ 18 h 155"/>
                <a:gd name="T60" fmla="*/ 137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6" y="6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5" name="Freeform 2961"/>
            <p:cNvSpPr/>
            <p:nvPr/>
          </p:nvSpPr>
          <p:spPr bwMode="auto">
            <a:xfrm>
              <a:off x="2025650" y="32464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1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8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5 h 155"/>
                <a:gd name="T56" fmla="*/ 115 w 155"/>
                <a:gd name="T57" fmla="*/ 11 h 155"/>
                <a:gd name="T58" fmla="*/ 127 w 155"/>
                <a:gd name="T59" fmla="*/ 19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5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6" name="Freeform 2962"/>
            <p:cNvSpPr/>
            <p:nvPr/>
          </p:nvSpPr>
          <p:spPr bwMode="auto">
            <a:xfrm>
              <a:off x="2025650" y="331787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7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8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8 h 155"/>
                <a:gd name="T60" fmla="*/ 137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7" name="Freeform 2963"/>
            <p:cNvSpPr/>
            <p:nvPr/>
          </p:nvSpPr>
          <p:spPr bwMode="auto">
            <a:xfrm>
              <a:off x="2095500" y="32464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1 h 155"/>
                <a:gd name="T54" fmla="*/ 101 w 155"/>
                <a:gd name="T55" fmla="*/ 5 h 155"/>
                <a:gd name="T56" fmla="*/ 114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8" name="Freeform 2964"/>
            <p:cNvSpPr/>
            <p:nvPr/>
          </p:nvSpPr>
          <p:spPr bwMode="auto">
            <a:xfrm>
              <a:off x="1812925" y="31829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7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7 w 155"/>
                <a:gd name="T27" fmla="*/ 125 h 154"/>
                <a:gd name="T28" fmla="*/ 9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7 h 154"/>
                <a:gd name="T36" fmla="*/ 1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3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4 w 155"/>
                <a:gd name="T63" fmla="*/ 40 h 154"/>
                <a:gd name="T64" fmla="*/ 151 w 155"/>
                <a:gd name="T65" fmla="*/ 55 h 154"/>
                <a:gd name="T66" fmla="*/ 153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99" name="Freeform 2965"/>
            <p:cNvSpPr/>
            <p:nvPr/>
          </p:nvSpPr>
          <p:spPr bwMode="auto">
            <a:xfrm>
              <a:off x="2095500" y="3182938"/>
              <a:ext cx="49213" cy="47625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0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8 w 155"/>
                <a:gd name="T27" fmla="*/ 125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2 h 154"/>
                <a:gd name="T44" fmla="*/ 34 w 155"/>
                <a:gd name="T45" fmla="*/ 13 h 154"/>
                <a:gd name="T46" fmla="*/ 47 w 155"/>
                <a:gd name="T47" fmla="*/ 6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5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0" name="Freeform 2966"/>
            <p:cNvSpPr/>
            <p:nvPr/>
          </p:nvSpPr>
          <p:spPr bwMode="auto">
            <a:xfrm>
              <a:off x="2166938" y="2968625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2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8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1" name="Freeform 2967"/>
            <p:cNvSpPr/>
            <p:nvPr/>
          </p:nvSpPr>
          <p:spPr bwMode="auto">
            <a:xfrm>
              <a:off x="2166938" y="304006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2" name="Freeform 2968"/>
            <p:cNvSpPr/>
            <p:nvPr/>
          </p:nvSpPr>
          <p:spPr bwMode="auto">
            <a:xfrm>
              <a:off x="2095500" y="2968625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9 w 155"/>
                <a:gd name="T29" fmla="*/ 114 h 154"/>
                <a:gd name="T30" fmla="*/ 3 w 155"/>
                <a:gd name="T31" fmla="*/ 100 h 154"/>
                <a:gd name="T32" fmla="*/ 1 w 155"/>
                <a:gd name="T33" fmla="*/ 84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4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6 w 155"/>
                <a:gd name="T61" fmla="*/ 28 h 154"/>
                <a:gd name="T62" fmla="*/ 145 w 155"/>
                <a:gd name="T63" fmla="*/ 40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3" name="Freeform 2969"/>
            <p:cNvSpPr/>
            <p:nvPr/>
          </p:nvSpPr>
          <p:spPr bwMode="auto">
            <a:xfrm>
              <a:off x="2095500" y="304323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2 h 155"/>
                <a:gd name="T12" fmla="*/ 108 w 155"/>
                <a:gd name="T13" fmla="*/ 149 h 155"/>
                <a:gd name="T14" fmla="*/ 93 w 155"/>
                <a:gd name="T15" fmla="*/ 154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8 w 155"/>
                <a:gd name="T27" fmla="*/ 127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7 w 155"/>
                <a:gd name="T39" fmla="*/ 48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5 h 155"/>
                <a:gd name="T56" fmla="*/ 114 w 155"/>
                <a:gd name="T57" fmla="*/ 11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8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5" y="5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5"/>
                  </a:lnTo>
                  <a:lnTo>
                    <a:pt x="108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4" name="Freeform 2970"/>
            <p:cNvSpPr/>
            <p:nvPr/>
          </p:nvSpPr>
          <p:spPr bwMode="auto">
            <a:xfrm>
              <a:off x="2095500" y="3317875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4 h 155"/>
                <a:gd name="T30" fmla="*/ 3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6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5" name="Freeform 2971"/>
            <p:cNvSpPr/>
            <p:nvPr/>
          </p:nvSpPr>
          <p:spPr bwMode="auto">
            <a:xfrm>
              <a:off x="2444750" y="3317875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7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4 h 154"/>
                <a:gd name="T34" fmla="*/ 0 w 154"/>
                <a:gd name="T35" fmla="*/ 77 h 154"/>
                <a:gd name="T36" fmla="*/ 1 w 154"/>
                <a:gd name="T37" fmla="*/ 61 h 154"/>
                <a:gd name="T38" fmla="*/ 6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6" name="Freeform 2972"/>
            <p:cNvSpPr/>
            <p:nvPr/>
          </p:nvSpPr>
          <p:spPr bwMode="auto">
            <a:xfrm>
              <a:off x="2505075" y="3317875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19 w 153"/>
                <a:gd name="T11" fmla="*/ 140 h 154"/>
                <a:gd name="T12" fmla="*/ 106 w 153"/>
                <a:gd name="T13" fmla="*/ 148 h 154"/>
                <a:gd name="T14" fmla="*/ 92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6 h 154"/>
                <a:gd name="T40" fmla="*/ 13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6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19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7" name="Freeform 2973"/>
            <p:cNvSpPr/>
            <p:nvPr/>
          </p:nvSpPr>
          <p:spPr bwMode="auto">
            <a:xfrm>
              <a:off x="2505075" y="3246438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2 h 155"/>
                <a:gd name="T12" fmla="*/ 106 w 153"/>
                <a:gd name="T13" fmla="*/ 149 h 155"/>
                <a:gd name="T14" fmla="*/ 92 w 153"/>
                <a:gd name="T15" fmla="*/ 154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8 w 153"/>
                <a:gd name="T25" fmla="*/ 138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3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5 h 155"/>
                <a:gd name="T56" fmla="*/ 113 w 153"/>
                <a:gd name="T57" fmla="*/ 11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19" y="142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3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1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3"/>
                  </a:lnTo>
                  <a:lnTo>
                    <a:pt x="100" y="5"/>
                  </a:lnTo>
                  <a:lnTo>
                    <a:pt x="106" y="7"/>
                  </a:lnTo>
                  <a:lnTo>
                    <a:pt x="113" y="11"/>
                  </a:lnTo>
                  <a:lnTo>
                    <a:pt x="119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8" name="Freeform 2974"/>
            <p:cNvSpPr/>
            <p:nvPr/>
          </p:nvSpPr>
          <p:spPr bwMode="auto">
            <a:xfrm>
              <a:off x="2444750" y="3389313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09" name="Freeform 2975"/>
            <p:cNvSpPr/>
            <p:nvPr/>
          </p:nvSpPr>
          <p:spPr bwMode="auto">
            <a:xfrm>
              <a:off x="2444750" y="34591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70 w 154"/>
                <a:gd name="T19" fmla="*/ 154 h 155"/>
                <a:gd name="T20" fmla="*/ 54 w 154"/>
                <a:gd name="T21" fmla="*/ 151 h 155"/>
                <a:gd name="T22" fmla="*/ 40 w 154"/>
                <a:gd name="T23" fmla="*/ 145 h 155"/>
                <a:gd name="T24" fmla="*/ 29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5 w 154"/>
                <a:gd name="T63" fmla="*/ 40 h 155"/>
                <a:gd name="T64" fmla="*/ 151 w 154"/>
                <a:gd name="T65" fmla="*/ 54 h 155"/>
                <a:gd name="T66" fmla="*/ 153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0" name="Freeform 2976"/>
            <p:cNvSpPr/>
            <p:nvPr/>
          </p:nvSpPr>
          <p:spPr bwMode="auto">
            <a:xfrm>
              <a:off x="2444750" y="35290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70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9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1" name="Freeform 2977"/>
            <p:cNvSpPr/>
            <p:nvPr/>
          </p:nvSpPr>
          <p:spPr bwMode="auto">
            <a:xfrm>
              <a:off x="2374900" y="34591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4 w 155"/>
                <a:gd name="T3" fmla="*/ 93 h 155"/>
                <a:gd name="T4" fmla="*/ 149 w 155"/>
                <a:gd name="T5" fmla="*/ 107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7 w 155"/>
                <a:gd name="T17" fmla="*/ 155 h 155"/>
                <a:gd name="T18" fmla="*/ 70 w 155"/>
                <a:gd name="T19" fmla="*/ 154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9 w 155"/>
                <a:gd name="T27" fmla="*/ 126 h 155"/>
                <a:gd name="T28" fmla="*/ 9 w 155"/>
                <a:gd name="T29" fmla="*/ 114 h 155"/>
                <a:gd name="T30" fmla="*/ 4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3 h 155"/>
                <a:gd name="T46" fmla="*/ 47 w 155"/>
                <a:gd name="T47" fmla="*/ 6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0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8 h 155"/>
                <a:gd name="T60" fmla="*/ 137 w 155"/>
                <a:gd name="T61" fmla="*/ 28 h 155"/>
                <a:gd name="T62" fmla="*/ 146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5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2" name="Freeform 2978"/>
            <p:cNvSpPr/>
            <p:nvPr/>
          </p:nvSpPr>
          <p:spPr bwMode="auto">
            <a:xfrm>
              <a:off x="2303463" y="3459163"/>
              <a:ext cx="49213" cy="49213"/>
            </a:xfrm>
            <a:custGeom>
              <a:avLst/>
              <a:gdLst>
                <a:gd name="T0" fmla="*/ 155 w 155"/>
                <a:gd name="T1" fmla="*/ 77 h 155"/>
                <a:gd name="T2" fmla="*/ 153 w 155"/>
                <a:gd name="T3" fmla="*/ 93 h 155"/>
                <a:gd name="T4" fmla="*/ 149 w 155"/>
                <a:gd name="T5" fmla="*/ 107 h 155"/>
                <a:gd name="T6" fmla="*/ 142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8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1 w 155"/>
                <a:gd name="T23" fmla="*/ 145 h 155"/>
                <a:gd name="T24" fmla="*/ 29 w 155"/>
                <a:gd name="T25" fmla="*/ 137 h 155"/>
                <a:gd name="T26" fmla="*/ 18 w 155"/>
                <a:gd name="T27" fmla="*/ 126 h 155"/>
                <a:gd name="T28" fmla="*/ 10 w 155"/>
                <a:gd name="T29" fmla="*/ 114 h 155"/>
                <a:gd name="T30" fmla="*/ 3 w 155"/>
                <a:gd name="T31" fmla="*/ 100 h 155"/>
                <a:gd name="T32" fmla="*/ 1 w 155"/>
                <a:gd name="T33" fmla="*/ 85 h 155"/>
                <a:gd name="T34" fmla="*/ 0 w 155"/>
                <a:gd name="T35" fmla="*/ 77 h 155"/>
                <a:gd name="T36" fmla="*/ 2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3 h 155"/>
                <a:gd name="T46" fmla="*/ 48 w 155"/>
                <a:gd name="T47" fmla="*/ 6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0 h 155"/>
                <a:gd name="T54" fmla="*/ 101 w 155"/>
                <a:gd name="T55" fmla="*/ 4 h 155"/>
                <a:gd name="T56" fmla="*/ 114 w 155"/>
                <a:gd name="T57" fmla="*/ 10 h 155"/>
                <a:gd name="T58" fmla="*/ 127 w 155"/>
                <a:gd name="T59" fmla="*/ 18 h 155"/>
                <a:gd name="T60" fmla="*/ 137 w 155"/>
                <a:gd name="T61" fmla="*/ 28 h 155"/>
                <a:gd name="T62" fmla="*/ 145 w 155"/>
                <a:gd name="T63" fmla="*/ 40 h 155"/>
                <a:gd name="T64" fmla="*/ 151 w 155"/>
                <a:gd name="T65" fmla="*/ 54 h 155"/>
                <a:gd name="T66" fmla="*/ 155 w 155"/>
                <a:gd name="T67" fmla="*/ 69 h 155"/>
                <a:gd name="T68" fmla="*/ 155 w 155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2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8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3" name="Freeform 2979"/>
            <p:cNvSpPr/>
            <p:nvPr/>
          </p:nvSpPr>
          <p:spPr bwMode="auto">
            <a:xfrm>
              <a:off x="2374900" y="35290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1 w 155"/>
                <a:gd name="T11" fmla="*/ 141 h 155"/>
                <a:gd name="T12" fmla="*/ 108 w 155"/>
                <a:gd name="T13" fmla="*/ 149 h 155"/>
                <a:gd name="T14" fmla="*/ 93 w 155"/>
                <a:gd name="T15" fmla="*/ 154 h 155"/>
                <a:gd name="T16" fmla="*/ 77 w 155"/>
                <a:gd name="T17" fmla="*/ 155 h 155"/>
                <a:gd name="T18" fmla="*/ 70 w 155"/>
                <a:gd name="T19" fmla="*/ 155 h 155"/>
                <a:gd name="T20" fmla="*/ 54 w 155"/>
                <a:gd name="T21" fmla="*/ 151 h 155"/>
                <a:gd name="T22" fmla="*/ 40 w 155"/>
                <a:gd name="T23" fmla="*/ 146 h 155"/>
                <a:gd name="T24" fmla="*/ 29 w 155"/>
                <a:gd name="T25" fmla="*/ 138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7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5 w 155"/>
                <a:gd name="T57" fmla="*/ 10 h 155"/>
                <a:gd name="T58" fmla="*/ 126 w 155"/>
                <a:gd name="T59" fmla="*/ 19 h 155"/>
                <a:gd name="T60" fmla="*/ 137 w 155"/>
                <a:gd name="T61" fmla="*/ 29 h 155"/>
                <a:gd name="T62" fmla="*/ 146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1" y="141"/>
                  </a:lnTo>
                  <a:lnTo>
                    <a:pt x="115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6" y="42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4" name="Freeform 2980"/>
            <p:cNvSpPr/>
            <p:nvPr/>
          </p:nvSpPr>
          <p:spPr bwMode="auto">
            <a:xfrm>
              <a:off x="2586038" y="3459163"/>
              <a:ext cx="47625" cy="49213"/>
            </a:xfrm>
            <a:custGeom>
              <a:avLst/>
              <a:gdLst>
                <a:gd name="T0" fmla="*/ 153 w 153"/>
                <a:gd name="T1" fmla="*/ 77 h 155"/>
                <a:gd name="T2" fmla="*/ 152 w 153"/>
                <a:gd name="T3" fmla="*/ 93 h 155"/>
                <a:gd name="T4" fmla="*/ 147 w 153"/>
                <a:gd name="T5" fmla="*/ 107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8 h 155"/>
                <a:gd name="T14" fmla="*/ 93 w 153"/>
                <a:gd name="T15" fmla="*/ 153 h 155"/>
                <a:gd name="T16" fmla="*/ 76 w 153"/>
                <a:gd name="T17" fmla="*/ 155 h 155"/>
                <a:gd name="T18" fmla="*/ 68 w 153"/>
                <a:gd name="T19" fmla="*/ 154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6 h 155"/>
                <a:gd name="T28" fmla="*/ 9 w 153"/>
                <a:gd name="T29" fmla="*/ 114 h 155"/>
                <a:gd name="T30" fmla="*/ 3 w 153"/>
                <a:gd name="T31" fmla="*/ 100 h 155"/>
                <a:gd name="T32" fmla="*/ 0 w 153"/>
                <a:gd name="T33" fmla="*/ 85 h 155"/>
                <a:gd name="T34" fmla="*/ 0 w 153"/>
                <a:gd name="T35" fmla="*/ 77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3 h 155"/>
                <a:gd name="T46" fmla="*/ 47 w 153"/>
                <a:gd name="T47" fmla="*/ 6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0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8 h 155"/>
                <a:gd name="T62" fmla="*/ 144 w 153"/>
                <a:gd name="T63" fmla="*/ 40 h 155"/>
                <a:gd name="T64" fmla="*/ 150 w 153"/>
                <a:gd name="T65" fmla="*/ 54 h 155"/>
                <a:gd name="T66" fmla="*/ 153 w 153"/>
                <a:gd name="T67" fmla="*/ 69 h 155"/>
                <a:gd name="T68" fmla="*/ 153 w 153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5" name="Freeform 2981"/>
            <p:cNvSpPr/>
            <p:nvPr/>
          </p:nvSpPr>
          <p:spPr bwMode="auto">
            <a:xfrm>
              <a:off x="2586038" y="352901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1 h 155"/>
                <a:gd name="T8" fmla="*/ 131 w 153"/>
                <a:gd name="T9" fmla="*/ 132 h 155"/>
                <a:gd name="T10" fmla="*/ 120 w 153"/>
                <a:gd name="T11" fmla="*/ 141 h 155"/>
                <a:gd name="T12" fmla="*/ 106 w 153"/>
                <a:gd name="T13" fmla="*/ 149 h 155"/>
                <a:gd name="T14" fmla="*/ 93 w 153"/>
                <a:gd name="T15" fmla="*/ 154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6 h 155"/>
                <a:gd name="T24" fmla="*/ 27 w 153"/>
                <a:gd name="T25" fmla="*/ 138 h 155"/>
                <a:gd name="T26" fmla="*/ 17 w 153"/>
                <a:gd name="T27" fmla="*/ 126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5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7 h 155"/>
                <a:gd name="T40" fmla="*/ 12 w 153"/>
                <a:gd name="T41" fmla="*/ 35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3 h 155"/>
                <a:gd name="T50" fmla="*/ 76 w 153"/>
                <a:gd name="T51" fmla="*/ 0 h 155"/>
                <a:gd name="T52" fmla="*/ 84 w 153"/>
                <a:gd name="T53" fmla="*/ 2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9 h 155"/>
                <a:gd name="T60" fmla="*/ 136 w 153"/>
                <a:gd name="T61" fmla="*/ 29 h 155"/>
                <a:gd name="T62" fmla="*/ 144 w 153"/>
                <a:gd name="T63" fmla="*/ 42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3" y="146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4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3" y="141"/>
                  </a:lnTo>
                  <a:lnTo>
                    <a:pt x="27" y="138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2" y="35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3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2"/>
                  </a:lnTo>
                  <a:lnTo>
                    <a:pt x="93" y="3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6" name="Freeform 2982"/>
            <p:cNvSpPr/>
            <p:nvPr/>
          </p:nvSpPr>
          <p:spPr bwMode="auto">
            <a:xfrm>
              <a:off x="2516188" y="3459163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2 w 154"/>
                <a:gd name="T3" fmla="*/ 93 h 155"/>
                <a:gd name="T4" fmla="*/ 148 w 154"/>
                <a:gd name="T5" fmla="*/ 107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6 h 155"/>
                <a:gd name="T28" fmla="*/ 9 w 154"/>
                <a:gd name="T29" fmla="*/ 114 h 155"/>
                <a:gd name="T30" fmla="*/ 4 w 154"/>
                <a:gd name="T31" fmla="*/ 100 h 155"/>
                <a:gd name="T32" fmla="*/ 0 w 154"/>
                <a:gd name="T33" fmla="*/ 85 h 155"/>
                <a:gd name="T34" fmla="*/ 0 w 154"/>
                <a:gd name="T35" fmla="*/ 77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3 h 155"/>
                <a:gd name="T46" fmla="*/ 47 w 154"/>
                <a:gd name="T47" fmla="*/ 6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0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6 w 154"/>
                <a:gd name="T61" fmla="*/ 28 h 155"/>
                <a:gd name="T62" fmla="*/ 144 w 154"/>
                <a:gd name="T63" fmla="*/ 40 h 155"/>
                <a:gd name="T64" fmla="*/ 150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3"/>
                  </a:lnTo>
                  <a:lnTo>
                    <a:pt x="40" y="10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5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7" name="Freeform 2983"/>
            <p:cNvSpPr/>
            <p:nvPr/>
          </p:nvSpPr>
          <p:spPr bwMode="auto">
            <a:xfrm>
              <a:off x="2516188" y="352901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7 w 154"/>
                <a:gd name="T27" fmla="*/ 126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6 w 154"/>
                <a:gd name="T61" fmla="*/ 29 h 155"/>
                <a:gd name="T62" fmla="*/ 144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5" y="141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4" y="42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8" name="Freeform 2984"/>
            <p:cNvSpPr/>
            <p:nvPr/>
          </p:nvSpPr>
          <p:spPr bwMode="auto">
            <a:xfrm>
              <a:off x="2586038" y="3595688"/>
              <a:ext cx="47625" cy="49213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6 w 153"/>
                <a:gd name="T39" fmla="*/ 47 h 153"/>
                <a:gd name="T40" fmla="*/ 12 w 153"/>
                <a:gd name="T41" fmla="*/ 33 h 153"/>
                <a:gd name="T42" fmla="*/ 22 w 153"/>
                <a:gd name="T43" fmla="*/ 21 h 153"/>
                <a:gd name="T44" fmla="*/ 33 w 153"/>
                <a:gd name="T45" fmla="*/ 12 h 153"/>
                <a:gd name="T46" fmla="*/ 47 w 153"/>
                <a:gd name="T47" fmla="*/ 5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19" name="Freeform 2985"/>
            <p:cNvSpPr/>
            <p:nvPr/>
          </p:nvSpPr>
          <p:spPr bwMode="auto">
            <a:xfrm>
              <a:off x="2586038" y="3665538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3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0" name="Freeform 2986"/>
            <p:cNvSpPr/>
            <p:nvPr/>
          </p:nvSpPr>
          <p:spPr bwMode="auto">
            <a:xfrm>
              <a:off x="2516188" y="3595688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1 h 153"/>
                <a:gd name="T44" fmla="*/ 35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1" name="Freeform 2987"/>
            <p:cNvSpPr/>
            <p:nvPr/>
          </p:nvSpPr>
          <p:spPr bwMode="auto">
            <a:xfrm>
              <a:off x="2233613" y="3317875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8 h 154"/>
                <a:gd name="T14" fmla="*/ 93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100 h 154"/>
                <a:gd name="T32" fmla="*/ 0 w 153"/>
                <a:gd name="T33" fmla="*/ 84 h 154"/>
                <a:gd name="T34" fmla="*/ 0 w 153"/>
                <a:gd name="T35" fmla="*/ 77 h 154"/>
                <a:gd name="T36" fmla="*/ 1 w 153"/>
                <a:gd name="T37" fmla="*/ 61 h 154"/>
                <a:gd name="T38" fmla="*/ 6 w 153"/>
                <a:gd name="T39" fmla="*/ 46 h 154"/>
                <a:gd name="T40" fmla="*/ 12 w 153"/>
                <a:gd name="T41" fmla="*/ 34 h 154"/>
                <a:gd name="T42" fmla="*/ 23 w 153"/>
                <a:gd name="T43" fmla="*/ 22 h 154"/>
                <a:gd name="T44" fmla="*/ 34 w 153"/>
                <a:gd name="T45" fmla="*/ 13 h 154"/>
                <a:gd name="T46" fmla="*/ 47 w 153"/>
                <a:gd name="T47" fmla="*/ 6 h 154"/>
                <a:gd name="T48" fmla="*/ 62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7" y="137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2" name="Freeform 2988"/>
            <p:cNvSpPr/>
            <p:nvPr/>
          </p:nvSpPr>
          <p:spPr bwMode="auto">
            <a:xfrm>
              <a:off x="2233613" y="3389313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20 w 153"/>
                <a:gd name="T11" fmla="*/ 140 h 153"/>
                <a:gd name="T12" fmla="*/ 106 w 153"/>
                <a:gd name="T13" fmla="*/ 147 h 153"/>
                <a:gd name="T14" fmla="*/ 93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0 h 153"/>
                <a:gd name="T38" fmla="*/ 6 w 153"/>
                <a:gd name="T39" fmla="*/ 47 h 153"/>
                <a:gd name="T40" fmla="*/ 12 w 153"/>
                <a:gd name="T41" fmla="*/ 33 h 153"/>
                <a:gd name="T42" fmla="*/ 23 w 153"/>
                <a:gd name="T43" fmla="*/ 21 h 153"/>
                <a:gd name="T44" fmla="*/ 34 w 153"/>
                <a:gd name="T45" fmla="*/ 12 h 153"/>
                <a:gd name="T46" fmla="*/ 47 w 153"/>
                <a:gd name="T47" fmla="*/ 5 h 153"/>
                <a:gd name="T48" fmla="*/ 62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3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3" y="21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1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0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3" name="Freeform 2989"/>
            <p:cNvSpPr/>
            <p:nvPr/>
          </p:nvSpPr>
          <p:spPr bwMode="auto">
            <a:xfrm>
              <a:off x="2301875" y="3389313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1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2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4" name="Freeform 2990"/>
            <p:cNvSpPr/>
            <p:nvPr/>
          </p:nvSpPr>
          <p:spPr bwMode="auto">
            <a:xfrm>
              <a:off x="2373313" y="3389313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7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5" name="Freeform 2991"/>
            <p:cNvSpPr/>
            <p:nvPr/>
          </p:nvSpPr>
          <p:spPr bwMode="auto">
            <a:xfrm>
              <a:off x="2865438" y="26177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4 h 155"/>
                <a:gd name="T4" fmla="*/ 148 w 154"/>
                <a:gd name="T5" fmla="*/ 108 h 155"/>
                <a:gd name="T6" fmla="*/ 141 w 154"/>
                <a:gd name="T7" fmla="*/ 122 h 155"/>
                <a:gd name="T8" fmla="*/ 132 w 154"/>
                <a:gd name="T9" fmla="*/ 133 h 155"/>
                <a:gd name="T10" fmla="*/ 121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5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4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2"/>
                  </a:lnTo>
                  <a:lnTo>
                    <a:pt x="137" y="127"/>
                  </a:lnTo>
                  <a:lnTo>
                    <a:pt x="132" y="133"/>
                  </a:lnTo>
                  <a:lnTo>
                    <a:pt x="126" y="138"/>
                  </a:lnTo>
                  <a:lnTo>
                    <a:pt x="121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4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3"/>
                  </a:lnTo>
                  <a:lnTo>
                    <a:pt x="18" y="127"/>
                  </a:lnTo>
                  <a:lnTo>
                    <a:pt x="13" y="122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0" y="11"/>
                  </a:lnTo>
                  <a:lnTo>
                    <a:pt x="47" y="7"/>
                  </a:lnTo>
                  <a:lnTo>
                    <a:pt x="54" y="5"/>
                  </a:lnTo>
                  <a:lnTo>
                    <a:pt x="62" y="3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0" y="5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6" name="Freeform 2992"/>
            <p:cNvSpPr/>
            <p:nvPr/>
          </p:nvSpPr>
          <p:spPr bwMode="auto">
            <a:xfrm>
              <a:off x="3841750" y="4079875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1 w 155"/>
                <a:gd name="T11" fmla="*/ 142 h 155"/>
                <a:gd name="T12" fmla="*/ 107 w 155"/>
                <a:gd name="T13" fmla="*/ 149 h 155"/>
                <a:gd name="T14" fmla="*/ 93 w 155"/>
                <a:gd name="T15" fmla="*/ 153 h 155"/>
                <a:gd name="T16" fmla="*/ 77 w 155"/>
                <a:gd name="T17" fmla="*/ 155 h 155"/>
                <a:gd name="T18" fmla="*/ 69 w 155"/>
                <a:gd name="T19" fmla="*/ 155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7 h 155"/>
                <a:gd name="T26" fmla="*/ 18 w 155"/>
                <a:gd name="T27" fmla="*/ 127 h 155"/>
                <a:gd name="T28" fmla="*/ 10 w 155"/>
                <a:gd name="T29" fmla="*/ 115 h 155"/>
                <a:gd name="T30" fmla="*/ 4 w 155"/>
                <a:gd name="T31" fmla="*/ 101 h 155"/>
                <a:gd name="T32" fmla="*/ 0 w 155"/>
                <a:gd name="T33" fmla="*/ 86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10 h 155"/>
                <a:gd name="T58" fmla="*/ 126 w 155"/>
                <a:gd name="T59" fmla="*/ 18 h 155"/>
                <a:gd name="T60" fmla="*/ 137 w 155"/>
                <a:gd name="T61" fmla="*/ 29 h 155"/>
                <a:gd name="T62" fmla="*/ 145 w 155"/>
                <a:gd name="T63" fmla="*/ 41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0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7" name="Freeform 2993"/>
            <p:cNvSpPr/>
            <p:nvPr/>
          </p:nvSpPr>
          <p:spPr bwMode="auto">
            <a:xfrm>
              <a:off x="3424238" y="394335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2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8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8" name="Freeform 2994"/>
            <p:cNvSpPr/>
            <p:nvPr/>
          </p:nvSpPr>
          <p:spPr bwMode="auto">
            <a:xfrm>
              <a:off x="3492500" y="39433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8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7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8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29" name="Freeform 2995"/>
            <p:cNvSpPr/>
            <p:nvPr/>
          </p:nvSpPr>
          <p:spPr bwMode="auto">
            <a:xfrm>
              <a:off x="3562350" y="39433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5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0" name="Freeform 2996"/>
            <p:cNvSpPr/>
            <p:nvPr/>
          </p:nvSpPr>
          <p:spPr bwMode="auto">
            <a:xfrm>
              <a:off x="3633788" y="3943350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0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6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1" name="Freeform 2997"/>
            <p:cNvSpPr/>
            <p:nvPr/>
          </p:nvSpPr>
          <p:spPr bwMode="auto">
            <a:xfrm>
              <a:off x="3074988" y="394335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2" name="Freeform 2998"/>
            <p:cNvSpPr/>
            <p:nvPr/>
          </p:nvSpPr>
          <p:spPr bwMode="auto">
            <a:xfrm>
              <a:off x="3143250" y="39433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1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6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7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5 w 154"/>
                <a:gd name="T39" fmla="*/ 47 h 154"/>
                <a:gd name="T40" fmla="*/ 12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2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3" name="Freeform 2999"/>
            <p:cNvSpPr/>
            <p:nvPr/>
          </p:nvSpPr>
          <p:spPr bwMode="auto">
            <a:xfrm>
              <a:off x="3214688" y="3943350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4" name="Freeform 3000"/>
            <p:cNvSpPr/>
            <p:nvPr/>
          </p:nvSpPr>
          <p:spPr bwMode="auto">
            <a:xfrm>
              <a:off x="3284538" y="3943350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7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8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2 h 154"/>
                <a:gd name="T38" fmla="*/ 5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99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5" name="Freeform 3001"/>
            <p:cNvSpPr/>
            <p:nvPr/>
          </p:nvSpPr>
          <p:spPr bwMode="auto">
            <a:xfrm>
              <a:off x="3354388" y="39433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2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0 w 155"/>
                <a:gd name="T33" fmla="*/ 84 h 154"/>
                <a:gd name="T34" fmla="*/ 0 w 155"/>
                <a:gd name="T35" fmla="*/ 76 h 154"/>
                <a:gd name="T36" fmla="*/ 1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7 h 154"/>
                <a:gd name="T60" fmla="*/ 136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6" name="Freeform 3002"/>
            <p:cNvSpPr/>
            <p:nvPr/>
          </p:nvSpPr>
          <p:spPr bwMode="auto">
            <a:xfrm>
              <a:off x="2862263" y="3943350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19 w 153"/>
                <a:gd name="T11" fmla="*/ 141 h 154"/>
                <a:gd name="T12" fmla="*/ 107 w 153"/>
                <a:gd name="T13" fmla="*/ 147 h 154"/>
                <a:gd name="T14" fmla="*/ 92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5 h 154"/>
                <a:gd name="T24" fmla="*/ 28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4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6 w 153"/>
                <a:gd name="T39" fmla="*/ 47 h 154"/>
                <a:gd name="T40" fmla="*/ 13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100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7" name="Freeform 3003"/>
            <p:cNvSpPr/>
            <p:nvPr/>
          </p:nvSpPr>
          <p:spPr bwMode="auto">
            <a:xfrm>
              <a:off x="2932113" y="3943350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2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3 h 154"/>
                <a:gd name="T44" fmla="*/ 33 w 153"/>
                <a:gd name="T45" fmla="*/ 14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70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8" name="Freeform 3004"/>
            <p:cNvSpPr/>
            <p:nvPr/>
          </p:nvSpPr>
          <p:spPr bwMode="auto">
            <a:xfrm>
              <a:off x="3001963" y="39433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2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2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11 w 155"/>
                <a:gd name="T29" fmla="*/ 113 h 154"/>
                <a:gd name="T30" fmla="*/ 4 w 155"/>
                <a:gd name="T31" fmla="*/ 99 h 154"/>
                <a:gd name="T32" fmla="*/ 2 w 155"/>
                <a:gd name="T33" fmla="*/ 84 h 154"/>
                <a:gd name="T34" fmla="*/ 0 w 155"/>
                <a:gd name="T35" fmla="*/ 76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2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39" name="Freeform 3005"/>
            <p:cNvSpPr/>
            <p:nvPr/>
          </p:nvSpPr>
          <p:spPr bwMode="auto">
            <a:xfrm>
              <a:off x="2724150" y="394335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6 w 154"/>
                <a:gd name="T17" fmla="*/ 154 h 154"/>
                <a:gd name="T18" fmla="*/ 69 w 154"/>
                <a:gd name="T19" fmla="*/ 153 h 154"/>
                <a:gd name="T20" fmla="*/ 53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7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6 h 154"/>
                <a:gd name="T48" fmla="*/ 61 w 154"/>
                <a:gd name="T49" fmla="*/ 1 h 154"/>
                <a:gd name="T50" fmla="*/ 76 w 154"/>
                <a:gd name="T51" fmla="*/ 0 h 154"/>
                <a:gd name="T52" fmla="*/ 84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5 w 154"/>
                <a:gd name="T63" fmla="*/ 40 h 154"/>
                <a:gd name="T64" fmla="*/ 151 w 154"/>
                <a:gd name="T65" fmla="*/ 54 h 154"/>
                <a:gd name="T66" fmla="*/ 153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7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0" name="Freeform 3006"/>
            <p:cNvSpPr/>
            <p:nvPr/>
          </p:nvSpPr>
          <p:spPr bwMode="auto">
            <a:xfrm>
              <a:off x="2792413" y="3943350"/>
              <a:ext cx="49213" cy="49213"/>
            </a:xfrm>
            <a:custGeom>
              <a:avLst/>
              <a:gdLst>
                <a:gd name="T0" fmla="*/ 155 w 155"/>
                <a:gd name="T1" fmla="*/ 76 h 154"/>
                <a:gd name="T2" fmla="*/ 154 w 155"/>
                <a:gd name="T3" fmla="*/ 92 h 154"/>
                <a:gd name="T4" fmla="*/ 149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9 w 155"/>
                <a:gd name="T27" fmla="*/ 126 h 154"/>
                <a:gd name="T28" fmla="*/ 9 w 155"/>
                <a:gd name="T29" fmla="*/ 113 h 154"/>
                <a:gd name="T30" fmla="*/ 4 w 155"/>
                <a:gd name="T31" fmla="*/ 99 h 154"/>
                <a:gd name="T32" fmla="*/ 1 w 155"/>
                <a:gd name="T33" fmla="*/ 84 h 154"/>
                <a:gd name="T34" fmla="*/ 0 w 155"/>
                <a:gd name="T35" fmla="*/ 76 h 154"/>
                <a:gd name="T36" fmla="*/ 3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8 w 155"/>
                <a:gd name="T61" fmla="*/ 28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70 h 154"/>
                <a:gd name="T68" fmla="*/ 155 w 155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1" name="Freeform 3007"/>
            <p:cNvSpPr/>
            <p:nvPr/>
          </p:nvSpPr>
          <p:spPr bwMode="auto">
            <a:xfrm>
              <a:off x="3424238" y="3873500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2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2" name="Freeform 3008"/>
            <p:cNvSpPr/>
            <p:nvPr/>
          </p:nvSpPr>
          <p:spPr bwMode="auto">
            <a:xfrm>
              <a:off x="3492500" y="387350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2 w 154"/>
                <a:gd name="T43" fmla="*/ 23 h 153"/>
                <a:gd name="T44" fmla="*/ 34 w 154"/>
                <a:gd name="T45" fmla="*/ 12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3" name="Freeform 3009"/>
            <p:cNvSpPr/>
            <p:nvPr/>
          </p:nvSpPr>
          <p:spPr bwMode="auto">
            <a:xfrm>
              <a:off x="3424238" y="3805238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3 h 153"/>
                <a:gd name="T4" fmla="*/ 149 w 154"/>
                <a:gd name="T5" fmla="*/ 106 h 153"/>
                <a:gd name="T6" fmla="*/ 142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8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6 h 153"/>
                <a:gd name="T36" fmla="*/ 2 w 154"/>
                <a:gd name="T37" fmla="*/ 60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4" name="Freeform 3010"/>
            <p:cNvSpPr/>
            <p:nvPr/>
          </p:nvSpPr>
          <p:spPr bwMode="auto">
            <a:xfrm>
              <a:off x="3492500" y="3805238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8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5" name="Freeform 3011"/>
            <p:cNvSpPr/>
            <p:nvPr/>
          </p:nvSpPr>
          <p:spPr bwMode="auto">
            <a:xfrm>
              <a:off x="3562350" y="387350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2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6" name="Freeform 3012"/>
            <p:cNvSpPr/>
            <p:nvPr/>
          </p:nvSpPr>
          <p:spPr bwMode="auto">
            <a:xfrm>
              <a:off x="3633788" y="3873500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0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1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2 h 153"/>
                <a:gd name="T46" fmla="*/ 46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5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49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1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49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7" name="Freeform 3013"/>
            <p:cNvSpPr/>
            <p:nvPr/>
          </p:nvSpPr>
          <p:spPr bwMode="auto">
            <a:xfrm>
              <a:off x="3074988" y="3873500"/>
              <a:ext cx="47625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5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8" name="Freeform 3014"/>
            <p:cNvSpPr/>
            <p:nvPr/>
          </p:nvSpPr>
          <p:spPr bwMode="auto">
            <a:xfrm>
              <a:off x="3143250" y="387350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5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49" name="Freeform 3015"/>
            <p:cNvSpPr/>
            <p:nvPr/>
          </p:nvSpPr>
          <p:spPr bwMode="auto">
            <a:xfrm>
              <a:off x="3214688" y="3873500"/>
              <a:ext cx="47625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0" name="Freeform 3016"/>
            <p:cNvSpPr/>
            <p:nvPr/>
          </p:nvSpPr>
          <p:spPr bwMode="auto">
            <a:xfrm>
              <a:off x="3284538" y="3873500"/>
              <a:ext cx="49213" cy="47625"/>
            </a:xfrm>
            <a:custGeom>
              <a:avLst/>
              <a:gdLst>
                <a:gd name="T0" fmla="*/ 154 w 154"/>
                <a:gd name="T1" fmla="*/ 76 h 153"/>
                <a:gd name="T2" fmla="*/ 152 w 154"/>
                <a:gd name="T3" fmla="*/ 92 h 153"/>
                <a:gd name="T4" fmla="*/ 147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4 h 153"/>
                <a:gd name="T34" fmla="*/ 0 w 154"/>
                <a:gd name="T35" fmla="*/ 76 h 153"/>
                <a:gd name="T36" fmla="*/ 1 w 154"/>
                <a:gd name="T37" fmla="*/ 62 h 153"/>
                <a:gd name="T38" fmla="*/ 5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4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1" name="Freeform 3017"/>
            <p:cNvSpPr/>
            <p:nvPr/>
          </p:nvSpPr>
          <p:spPr bwMode="auto">
            <a:xfrm>
              <a:off x="3354388" y="387350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2 w 155"/>
                <a:gd name="T3" fmla="*/ 92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1 w 155"/>
                <a:gd name="T37" fmla="*/ 62 h 153"/>
                <a:gd name="T38" fmla="*/ 6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2" name="Freeform 3018"/>
            <p:cNvSpPr/>
            <p:nvPr/>
          </p:nvSpPr>
          <p:spPr bwMode="auto">
            <a:xfrm>
              <a:off x="2862263" y="3873500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19 w 153"/>
                <a:gd name="T11" fmla="*/ 141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3" name="Freeform 3020"/>
            <p:cNvSpPr/>
            <p:nvPr/>
          </p:nvSpPr>
          <p:spPr bwMode="auto">
            <a:xfrm>
              <a:off x="2932113" y="3873500"/>
              <a:ext cx="49213" cy="47625"/>
            </a:xfrm>
            <a:custGeom>
              <a:avLst/>
              <a:gdLst>
                <a:gd name="T0" fmla="*/ 153 w 153"/>
                <a:gd name="T1" fmla="*/ 76 h 153"/>
                <a:gd name="T2" fmla="*/ 152 w 153"/>
                <a:gd name="T3" fmla="*/ 92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4 h 153"/>
                <a:gd name="T34" fmla="*/ 0 w 153"/>
                <a:gd name="T35" fmla="*/ 76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4" name="Freeform 3021"/>
            <p:cNvSpPr/>
            <p:nvPr/>
          </p:nvSpPr>
          <p:spPr bwMode="auto">
            <a:xfrm>
              <a:off x="3001963" y="387350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2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4 h 153"/>
                <a:gd name="T34" fmla="*/ 0 w 155"/>
                <a:gd name="T35" fmla="*/ 76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2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5" name="Freeform 3022"/>
            <p:cNvSpPr/>
            <p:nvPr/>
          </p:nvSpPr>
          <p:spPr bwMode="auto">
            <a:xfrm>
              <a:off x="2792413" y="3873500"/>
              <a:ext cx="49213" cy="47625"/>
            </a:xfrm>
            <a:custGeom>
              <a:avLst/>
              <a:gdLst>
                <a:gd name="T0" fmla="*/ 155 w 155"/>
                <a:gd name="T1" fmla="*/ 76 h 153"/>
                <a:gd name="T2" fmla="*/ 154 w 155"/>
                <a:gd name="T3" fmla="*/ 92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4 h 153"/>
                <a:gd name="T34" fmla="*/ 0 w 155"/>
                <a:gd name="T35" fmla="*/ 76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5" y="84"/>
                  </a:lnTo>
                  <a:lnTo>
                    <a:pt x="154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6" name="Freeform 3023"/>
            <p:cNvSpPr/>
            <p:nvPr/>
          </p:nvSpPr>
          <p:spPr bwMode="auto">
            <a:xfrm>
              <a:off x="3074988" y="3805238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7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7" name="Freeform 3024"/>
            <p:cNvSpPr/>
            <p:nvPr/>
          </p:nvSpPr>
          <p:spPr bwMode="auto">
            <a:xfrm>
              <a:off x="3143250" y="38052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7 h 153"/>
                <a:gd name="T6" fmla="*/ 141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6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2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7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8" name="Freeform 3025"/>
            <p:cNvSpPr/>
            <p:nvPr/>
          </p:nvSpPr>
          <p:spPr bwMode="auto">
            <a:xfrm>
              <a:off x="3214688" y="3805238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7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59" name="Freeform 3026"/>
            <p:cNvSpPr/>
            <p:nvPr/>
          </p:nvSpPr>
          <p:spPr bwMode="auto">
            <a:xfrm>
              <a:off x="3284538" y="3805238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7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3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1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4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8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1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0" name="Freeform 3027"/>
            <p:cNvSpPr/>
            <p:nvPr/>
          </p:nvSpPr>
          <p:spPr bwMode="auto">
            <a:xfrm>
              <a:off x="3354388" y="38052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4 h 153"/>
                <a:gd name="T56" fmla="*/ 114 w 155"/>
                <a:gd name="T57" fmla="*/ 9 h 153"/>
                <a:gd name="T58" fmla="*/ 126 w 155"/>
                <a:gd name="T59" fmla="*/ 17 h 153"/>
                <a:gd name="T60" fmla="*/ 136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8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1" name="Freeform 3028"/>
            <p:cNvSpPr/>
            <p:nvPr/>
          </p:nvSpPr>
          <p:spPr bwMode="auto">
            <a:xfrm>
              <a:off x="3284538" y="373538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0 w 154"/>
                <a:gd name="T7" fmla="*/ 120 h 155"/>
                <a:gd name="T8" fmla="*/ 131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2 w 154"/>
                <a:gd name="T15" fmla="*/ 152 h 155"/>
                <a:gd name="T16" fmla="*/ 76 w 154"/>
                <a:gd name="T17" fmla="*/ 155 h 155"/>
                <a:gd name="T18" fmla="*/ 68 w 154"/>
                <a:gd name="T19" fmla="*/ 153 h 155"/>
                <a:gd name="T20" fmla="*/ 53 w 154"/>
                <a:gd name="T21" fmla="*/ 151 h 155"/>
                <a:gd name="T22" fmla="*/ 40 w 154"/>
                <a:gd name="T23" fmla="*/ 145 h 155"/>
                <a:gd name="T24" fmla="*/ 28 w 154"/>
                <a:gd name="T25" fmla="*/ 136 h 155"/>
                <a:gd name="T26" fmla="*/ 17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7 h 155"/>
                <a:gd name="T40" fmla="*/ 13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1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9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0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2" name="Freeform 3029"/>
            <p:cNvSpPr/>
            <p:nvPr/>
          </p:nvSpPr>
          <p:spPr bwMode="auto">
            <a:xfrm>
              <a:off x="3354388" y="3735388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2 w 155"/>
                <a:gd name="T3" fmla="*/ 93 h 155"/>
                <a:gd name="T4" fmla="*/ 148 w 155"/>
                <a:gd name="T5" fmla="*/ 108 h 155"/>
                <a:gd name="T6" fmla="*/ 141 w 155"/>
                <a:gd name="T7" fmla="*/ 120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2 h 155"/>
                <a:gd name="T16" fmla="*/ 77 w 155"/>
                <a:gd name="T17" fmla="*/ 155 h 155"/>
                <a:gd name="T18" fmla="*/ 70 w 155"/>
                <a:gd name="T19" fmla="*/ 153 h 155"/>
                <a:gd name="T20" fmla="*/ 54 w 155"/>
                <a:gd name="T21" fmla="*/ 151 h 155"/>
                <a:gd name="T22" fmla="*/ 40 w 155"/>
                <a:gd name="T23" fmla="*/ 145 h 155"/>
                <a:gd name="T24" fmla="*/ 29 w 155"/>
                <a:gd name="T25" fmla="*/ 136 h 155"/>
                <a:gd name="T26" fmla="*/ 19 w 155"/>
                <a:gd name="T27" fmla="*/ 126 h 155"/>
                <a:gd name="T28" fmla="*/ 9 w 155"/>
                <a:gd name="T29" fmla="*/ 115 h 155"/>
                <a:gd name="T30" fmla="*/ 4 w 155"/>
                <a:gd name="T31" fmla="*/ 101 h 155"/>
                <a:gd name="T32" fmla="*/ 0 w 155"/>
                <a:gd name="T33" fmla="*/ 85 h 155"/>
                <a:gd name="T34" fmla="*/ 0 w 155"/>
                <a:gd name="T35" fmla="*/ 78 h 155"/>
                <a:gd name="T36" fmla="*/ 1 w 155"/>
                <a:gd name="T37" fmla="*/ 62 h 155"/>
                <a:gd name="T38" fmla="*/ 6 w 155"/>
                <a:gd name="T39" fmla="*/ 47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7 w 155"/>
                <a:gd name="T47" fmla="*/ 7 h 155"/>
                <a:gd name="T48" fmla="*/ 62 w 155"/>
                <a:gd name="T49" fmla="*/ 2 h 155"/>
                <a:gd name="T50" fmla="*/ 77 w 155"/>
                <a:gd name="T51" fmla="*/ 0 h 155"/>
                <a:gd name="T52" fmla="*/ 85 w 155"/>
                <a:gd name="T53" fmla="*/ 1 h 155"/>
                <a:gd name="T54" fmla="*/ 100 w 155"/>
                <a:gd name="T55" fmla="*/ 4 h 155"/>
                <a:gd name="T56" fmla="*/ 114 w 155"/>
                <a:gd name="T57" fmla="*/ 9 h 155"/>
                <a:gd name="T58" fmla="*/ 126 w 155"/>
                <a:gd name="T59" fmla="*/ 18 h 155"/>
                <a:gd name="T60" fmla="*/ 136 w 155"/>
                <a:gd name="T61" fmla="*/ 29 h 155"/>
                <a:gd name="T62" fmla="*/ 146 w 155"/>
                <a:gd name="T63" fmla="*/ 40 h 155"/>
                <a:gd name="T64" fmla="*/ 151 w 155"/>
                <a:gd name="T65" fmla="*/ 55 h 155"/>
                <a:gd name="T66" fmla="*/ 154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6" y="115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8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3" name="Freeform 3030"/>
            <p:cNvSpPr/>
            <p:nvPr/>
          </p:nvSpPr>
          <p:spPr bwMode="auto">
            <a:xfrm>
              <a:off x="2862263" y="38052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7 h 153"/>
                <a:gd name="T6" fmla="*/ 141 w 153"/>
                <a:gd name="T7" fmla="*/ 120 h 153"/>
                <a:gd name="T8" fmla="*/ 131 w 153"/>
                <a:gd name="T9" fmla="*/ 132 h 153"/>
                <a:gd name="T10" fmla="*/ 119 w 153"/>
                <a:gd name="T11" fmla="*/ 141 h 153"/>
                <a:gd name="T12" fmla="*/ 107 w 153"/>
                <a:gd name="T13" fmla="*/ 148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3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4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4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4" name="Freeform 3031"/>
            <p:cNvSpPr/>
            <p:nvPr/>
          </p:nvSpPr>
          <p:spPr bwMode="auto">
            <a:xfrm>
              <a:off x="2932113" y="3805238"/>
              <a:ext cx="49213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7 h 153"/>
                <a:gd name="T6" fmla="*/ 140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5 w 153"/>
                <a:gd name="T39" fmla="*/ 47 h 153"/>
                <a:gd name="T40" fmla="*/ 12 w 153"/>
                <a:gd name="T41" fmla="*/ 33 h 153"/>
                <a:gd name="T42" fmla="*/ 21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4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8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7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7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5" name="Freeform 3032"/>
            <p:cNvSpPr/>
            <p:nvPr/>
          </p:nvSpPr>
          <p:spPr bwMode="auto">
            <a:xfrm>
              <a:off x="3001963" y="38052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7 h 153"/>
                <a:gd name="T6" fmla="*/ 142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100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8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7" y="17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2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6" name="Freeform 3033"/>
            <p:cNvSpPr/>
            <p:nvPr/>
          </p:nvSpPr>
          <p:spPr bwMode="auto">
            <a:xfrm>
              <a:off x="2792413" y="3805238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7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100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4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8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4" y="100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3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9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4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8" y="28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1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7" name="Freeform 3034"/>
            <p:cNvSpPr/>
            <p:nvPr/>
          </p:nvSpPr>
          <p:spPr bwMode="auto">
            <a:xfrm>
              <a:off x="3074988" y="3732213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6 w 154"/>
                <a:gd name="T39" fmla="*/ 47 h 153"/>
                <a:gd name="T40" fmla="*/ 13 w 154"/>
                <a:gd name="T41" fmla="*/ 34 h 153"/>
                <a:gd name="T42" fmla="*/ 23 w 154"/>
                <a:gd name="T43" fmla="*/ 23 h 153"/>
                <a:gd name="T44" fmla="*/ 35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8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4" y="68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8" name="Freeform 3035"/>
            <p:cNvSpPr/>
            <p:nvPr/>
          </p:nvSpPr>
          <p:spPr bwMode="auto">
            <a:xfrm>
              <a:off x="3143250" y="373221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3 h 153"/>
                <a:gd name="T4" fmla="*/ 147 w 154"/>
                <a:gd name="T5" fmla="*/ 106 h 153"/>
                <a:gd name="T6" fmla="*/ 141 w 154"/>
                <a:gd name="T7" fmla="*/ 120 h 153"/>
                <a:gd name="T8" fmla="*/ 131 w 154"/>
                <a:gd name="T9" fmla="*/ 131 h 153"/>
                <a:gd name="T10" fmla="*/ 120 w 154"/>
                <a:gd name="T11" fmla="*/ 141 h 153"/>
                <a:gd name="T12" fmla="*/ 106 w 154"/>
                <a:gd name="T13" fmla="*/ 147 h 153"/>
                <a:gd name="T14" fmla="*/ 92 w 154"/>
                <a:gd name="T15" fmla="*/ 152 h 153"/>
                <a:gd name="T16" fmla="*/ 76 w 154"/>
                <a:gd name="T17" fmla="*/ 153 h 153"/>
                <a:gd name="T18" fmla="*/ 68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7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2 h 153"/>
                <a:gd name="T38" fmla="*/ 5 w 154"/>
                <a:gd name="T39" fmla="*/ 47 h 153"/>
                <a:gd name="T40" fmla="*/ 12 w 154"/>
                <a:gd name="T41" fmla="*/ 34 h 153"/>
                <a:gd name="T42" fmla="*/ 23 w 154"/>
                <a:gd name="T43" fmla="*/ 23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6 w 154"/>
                <a:gd name="T51" fmla="*/ 0 h 153"/>
                <a:gd name="T52" fmla="*/ 84 w 154"/>
                <a:gd name="T53" fmla="*/ 0 h 153"/>
                <a:gd name="T54" fmla="*/ 99 w 154"/>
                <a:gd name="T55" fmla="*/ 3 h 153"/>
                <a:gd name="T56" fmla="*/ 113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1 w 154"/>
                <a:gd name="T65" fmla="*/ 54 h 153"/>
                <a:gd name="T66" fmla="*/ 153 w 154"/>
                <a:gd name="T67" fmla="*/ 68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7" y="136"/>
                  </a:lnTo>
                  <a:lnTo>
                    <a:pt x="23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3" y="23"/>
                  </a:lnTo>
                  <a:lnTo>
                    <a:pt x="27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1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69" name="Freeform 3036"/>
            <p:cNvSpPr/>
            <p:nvPr/>
          </p:nvSpPr>
          <p:spPr bwMode="auto">
            <a:xfrm>
              <a:off x="3214688" y="3732213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0" name="Freeform 3037"/>
            <p:cNvSpPr/>
            <p:nvPr/>
          </p:nvSpPr>
          <p:spPr bwMode="auto">
            <a:xfrm>
              <a:off x="2862263" y="373221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8 w 153"/>
                <a:gd name="T5" fmla="*/ 106 h 153"/>
                <a:gd name="T6" fmla="*/ 141 w 153"/>
                <a:gd name="T7" fmla="*/ 120 h 153"/>
                <a:gd name="T8" fmla="*/ 131 w 153"/>
                <a:gd name="T9" fmla="*/ 131 h 153"/>
                <a:gd name="T10" fmla="*/ 119 w 153"/>
                <a:gd name="T11" fmla="*/ 141 h 153"/>
                <a:gd name="T12" fmla="*/ 107 w 153"/>
                <a:gd name="T13" fmla="*/ 147 h 153"/>
                <a:gd name="T14" fmla="*/ 92 w 153"/>
                <a:gd name="T15" fmla="*/ 152 h 153"/>
                <a:gd name="T16" fmla="*/ 77 w 153"/>
                <a:gd name="T17" fmla="*/ 153 h 153"/>
                <a:gd name="T18" fmla="*/ 69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8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4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6 w 153"/>
                <a:gd name="T39" fmla="*/ 47 h 153"/>
                <a:gd name="T40" fmla="*/ 13 w 153"/>
                <a:gd name="T41" fmla="*/ 34 h 153"/>
                <a:gd name="T42" fmla="*/ 22 w 153"/>
                <a:gd name="T43" fmla="*/ 23 h 153"/>
                <a:gd name="T44" fmla="*/ 33 w 153"/>
                <a:gd name="T45" fmla="*/ 12 h 153"/>
                <a:gd name="T46" fmla="*/ 47 w 153"/>
                <a:gd name="T47" fmla="*/ 6 h 153"/>
                <a:gd name="T48" fmla="*/ 61 w 153"/>
                <a:gd name="T49" fmla="*/ 1 h 153"/>
                <a:gd name="T50" fmla="*/ 77 w 153"/>
                <a:gd name="T51" fmla="*/ 0 h 153"/>
                <a:gd name="T52" fmla="*/ 85 w 153"/>
                <a:gd name="T53" fmla="*/ 0 h 153"/>
                <a:gd name="T54" fmla="*/ 100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1" name="Freeform 3038"/>
            <p:cNvSpPr/>
            <p:nvPr/>
          </p:nvSpPr>
          <p:spPr bwMode="auto">
            <a:xfrm>
              <a:off x="2932113" y="3732213"/>
              <a:ext cx="49213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0 w 153"/>
                <a:gd name="T7" fmla="*/ 120 h 153"/>
                <a:gd name="T8" fmla="*/ 131 w 153"/>
                <a:gd name="T9" fmla="*/ 131 h 153"/>
                <a:gd name="T10" fmla="*/ 120 w 153"/>
                <a:gd name="T11" fmla="*/ 141 h 153"/>
                <a:gd name="T12" fmla="*/ 106 w 153"/>
                <a:gd name="T13" fmla="*/ 147 h 153"/>
                <a:gd name="T14" fmla="*/ 92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3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2 h 153"/>
                <a:gd name="T38" fmla="*/ 5 w 153"/>
                <a:gd name="T39" fmla="*/ 47 h 153"/>
                <a:gd name="T40" fmla="*/ 12 w 153"/>
                <a:gd name="T41" fmla="*/ 34 h 153"/>
                <a:gd name="T42" fmla="*/ 21 w 153"/>
                <a:gd name="T43" fmla="*/ 23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8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1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8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2" name="Freeform 3039"/>
            <p:cNvSpPr/>
            <p:nvPr/>
          </p:nvSpPr>
          <p:spPr bwMode="auto">
            <a:xfrm>
              <a:off x="3001963" y="373221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1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2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11 w 155"/>
                <a:gd name="T29" fmla="*/ 113 h 153"/>
                <a:gd name="T30" fmla="*/ 4 w 155"/>
                <a:gd name="T31" fmla="*/ 99 h 153"/>
                <a:gd name="T32" fmla="*/ 2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2 h 153"/>
                <a:gd name="T46" fmla="*/ 48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2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1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2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1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8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3" name="Freeform 3040"/>
            <p:cNvSpPr/>
            <p:nvPr/>
          </p:nvSpPr>
          <p:spPr bwMode="auto">
            <a:xfrm>
              <a:off x="3074988" y="366236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8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8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4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6 w 154"/>
                <a:gd name="T39" fmla="*/ 48 h 155"/>
                <a:gd name="T40" fmla="*/ 13 w 154"/>
                <a:gd name="T41" fmla="*/ 34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7 w 154"/>
                <a:gd name="T51" fmla="*/ 0 h 155"/>
                <a:gd name="T52" fmla="*/ 85 w 154"/>
                <a:gd name="T53" fmla="*/ 1 h 155"/>
                <a:gd name="T54" fmla="*/ 100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2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4" name="Freeform 3041"/>
            <p:cNvSpPr/>
            <p:nvPr/>
          </p:nvSpPr>
          <p:spPr bwMode="auto">
            <a:xfrm>
              <a:off x="3074988" y="3592513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2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7 w 154"/>
                <a:gd name="T27" fmla="*/ 125 h 154"/>
                <a:gd name="T28" fmla="*/ 9 w 154"/>
                <a:gd name="T29" fmla="*/ 114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1 w 154"/>
                <a:gd name="T37" fmla="*/ 61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3 w 154"/>
                <a:gd name="T57" fmla="*/ 9 h 154"/>
                <a:gd name="T58" fmla="*/ 126 w 154"/>
                <a:gd name="T59" fmla="*/ 17 h 154"/>
                <a:gd name="T60" fmla="*/ 136 w 154"/>
                <a:gd name="T61" fmla="*/ 28 h 154"/>
                <a:gd name="T62" fmla="*/ 144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5" name="Freeform 3042"/>
            <p:cNvSpPr/>
            <p:nvPr/>
          </p:nvSpPr>
          <p:spPr bwMode="auto">
            <a:xfrm>
              <a:off x="3143250" y="3662363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2 w 154"/>
                <a:gd name="T3" fmla="*/ 93 h 155"/>
                <a:gd name="T4" fmla="*/ 147 w 154"/>
                <a:gd name="T5" fmla="*/ 108 h 155"/>
                <a:gd name="T6" fmla="*/ 141 w 154"/>
                <a:gd name="T7" fmla="*/ 120 h 155"/>
                <a:gd name="T8" fmla="*/ 131 w 154"/>
                <a:gd name="T9" fmla="*/ 132 h 155"/>
                <a:gd name="T10" fmla="*/ 120 w 154"/>
                <a:gd name="T11" fmla="*/ 142 h 155"/>
                <a:gd name="T12" fmla="*/ 106 w 154"/>
                <a:gd name="T13" fmla="*/ 149 h 155"/>
                <a:gd name="T14" fmla="*/ 92 w 154"/>
                <a:gd name="T15" fmla="*/ 153 h 155"/>
                <a:gd name="T16" fmla="*/ 76 w 154"/>
                <a:gd name="T17" fmla="*/ 155 h 155"/>
                <a:gd name="T18" fmla="*/ 68 w 154"/>
                <a:gd name="T19" fmla="*/ 155 h 155"/>
                <a:gd name="T20" fmla="*/ 54 w 154"/>
                <a:gd name="T21" fmla="*/ 151 h 155"/>
                <a:gd name="T22" fmla="*/ 40 w 154"/>
                <a:gd name="T23" fmla="*/ 145 h 155"/>
                <a:gd name="T24" fmla="*/ 27 w 154"/>
                <a:gd name="T25" fmla="*/ 137 h 155"/>
                <a:gd name="T26" fmla="*/ 17 w 154"/>
                <a:gd name="T27" fmla="*/ 127 h 155"/>
                <a:gd name="T28" fmla="*/ 9 w 154"/>
                <a:gd name="T29" fmla="*/ 115 h 155"/>
                <a:gd name="T30" fmla="*/ 3 w 154"/>
                <a:gd name="T31" fmla="*/ 101 h 155"/>
                <a:gd name="T32" fmla="*/ 0 w 154"/>
                <a:gd name="T33" fmla="*/ 86 h 155"/>
                <a:gd name="T34" fmla="*/ 0 w 154"/>
                <a:gd name="T35" fmla="*/ 78 h 155"/>
                <a:gd name="T36" fmla="*/ 1 w 154"/>
                <a:gd name="T37" fmla="*/ 62 h 155"/>
                <a:gd name="T38" fmla="*/ 5 w 154"/>
                <a:gd name="T39" fmla="*/ 48 h 155"/>
                <a:gd name="T40" fmla="*/ 12 w 154"/>
                <a:gd name="T41" fmla="*/ 34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2 h 155"/>
                <a:gd name="T50" fmla="*/ 76 w 154"/>
                <a:gd name="T51" fmla="*/ 0 h 155"/>
                <a:gd name="T52" fmla="*/ 84 w 154"/>
                <a:gd name="T53" fmla="*/ 1 h 155"/>
                <a:gd name="T54" fmla="*/ 99 w 154"/>
                <a:gd name="T55" fmla="*/ 4 h 155"/>
                <a:gd name="T56" fmla="*/ 113 w 154"/>
                <a:gd name="T57" fmla="*/ 10 h 155"/>
                <a:gd name="T58" fmla="*/ 126 w 154"/>
                <a:gd name="T59" fmla="*/ 18 h 155"/>
                <a:gd name="T60" fmla="*/ 136 w 154"/>
                <a:gd name="T61" fmla="*/ 29 h 155"/>
                <a:gd name="T62" fmla="*/ 144 w 154"/>
                <a:gd name="T63" fmla="*/ 41 h 155"/>
                <a:gd name="T64" fmla="*/ 151 w 154"/>
                <a:gd name="T65" fmla="*/ 55 h 155"/>
                <a:gd name="T66" fmla="*/ 153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1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7" y="137"/>
                  </a:lnTo>
                  <a:lnTo>
                    <a:pt x="23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7" y="18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6" name="Freeform 3043"/>
            <p:cNvSpPr/>
            <p:nvPr/>
          </p:nvSpPr>
          <p:spPr bwMode="auto">
            <a:xfrm>
              <a:off x="3214688" y="3662363"/>
              <a:ext cx="47625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7" name="Freeform 3044"/>
            <p:cNvSpPr/>
            <p:nvPr/>
          </p:nvSpPr>
          <p:spPr bwMode="auto">
            <a:xfrm>
              <a:off x="3276600" y="366236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1 w 153"/>
                <a:gd name="T7" fmla="*/ 120 h 155"/>
                <a:gd name="T8" fmla="*/ 130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1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0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1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8" name="Freeform 3045"/>
            <p:cNvSpPr/>
            <p:nvPr/>
          </p:nvSpPr>
          <p:spPr bwMode="auto">
            <a:xfrm>
              <a:off x="2862263" y="366236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8 w 153"/>
                <a:gd name="T5" fmla="*/ 108 h 155"/>
                <a:gd name="T6" fmla="*/ 141 w 153"/>
                <a:gd name="T7" fmla="*/ 120 h 155"/>
                <a:gd name="T8" fmla="*/ 131 w 153"/>
                <a:gd name="T9" fmla="*/ 132 h 155"/>
                <a:gd name="T10" fmla="*/ 119 w 153"/>
                <a:gd name="T11" fmla="*/ 142 h 155"/>
                <a:gd name="T12" fmla="*/ 107 w 153"/>
                <a:gd name="T13" fmla="*/ 149 h 155"/>
                <a:gd name="T14" fmla="*/ 92 w 153"/>
                <a:gd name="T15" fmla="*/ 153 h 155"/>
                <a:gd name="T16" fmla="*/ 77 w 153"/>
                <a:gd name="T17" fmla="*/ 155 h 155"/>
                <a:gd name="T18" fmla="*/ 69 w 153"/>
                <a:gd name="T19" fmla="*/ 155 h 155"/>
                <a:gd name="T20" fmla="*/ 54 w 153"/>
                <a:gd name="T21" fmla="*/ 151 h 155"/>
                <a:gd name="T22" fmla="*/ 40 w 153"/>
                <a:gd name="T23" fmla="*/ 145 h 155"/>
                <a:gd name="T24" fmla="*/ 28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4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6 w 153"/>
                <a:gd name="T39" fmla="*/ 48 h 155"/>
                <a:gd name="T40" fmla="*/ 13 w 153"/>
                <a:gd name="T41" fmla="*/ 34 h 155"/>
                <a:gd name="T42" fmla="*/ 22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1 w 153"/>
                <a:gd name="T49" fmla="*/ 2 h 155"/>
                <a:gd name="T50" fmla="*/ 77 w 153"/>
                <a:gd name="T51" fmla="*/ 0 h 155"/>
                <a:gd name="T52" fmla="*/ 85 w 153"/>
                <a:gd name="T53" fmla="*/ 1 h 155"/>
                <a:gd name="T54" fmla="*/ 100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4" y="115"/>
                  </a:lnTo>
                  <a:lnTo>
                    <a:pt x="141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19" y="142"/>
                  </a:lnTo>
                  <a:lnTo>
                    <a:pt x="113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7" y="127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9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3" y="10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79" name="Freeform 3046"/>
            <p:cNvSpPr/>
            <p:nvPr/>
          </p:nvSpPr>
          <p:spPr bwMode="auto">
            <a:xfrm>
              <a:off x="2932113" y="3662363"/>
              <a:ext cx="49213" cy="49213"/>
            </a:xfrm>
            <a:custGeom>
              <a:avLst/>
              <a:gdLst>
                <a:gd name="T0" fmla="*/ 153 w 153"/>
                <a:gd name="T1" fmla="*/ 78 h 155"/>
                <a:gd name="T2" fmla="*/ 152 w 153"/>
                <a:gd name="T3" fmla="*/ 93 h 155"/>
                <a:gd name="T4" fmla="*/ 147 w 153"/>
                <a:gd name="T5" fmla="*/ 108 h 155"/>
                <a:gd name="T6" fmla="*/ 140 w 153"/>
                <a:gd name="T7" fmla="*/ 120 h 155"/>
                <a:gd name="T8" fmla="*/ 131 w 153"/>
                <a:gd name="T9" fmla="*/ 132 h 155"/>
                <a:gd name="T10" fmla="*/ 120 w 153"/>
                <a:gd name="T11" fmla="*/ 142 h 155"/>
                <a:gd name="T12" fmla="*/ 106 w 153"/>
                <a:gd name="T13" fmla="*/ 149 h 155"/>
                <a:gd name="T14" fmla="*/ 92 w 153"/>
                <a:gd name="T15" fmla="*/ 153 h 155"/>
                <a:gd name="T16" fmla="*/ 76 w 153"/>
                <a:gd name="T17" fmla="*/ 155 h 155"/>
                <a:gd name="T18" fmla="*/ 68 w 153"/>
                <a:gd name="T19" fmla="*/ 155 h 155"/>
                <a:gd name="T20" fmla="*/ 53 w 153"/>
                <a:gd name="T21" fmla="*/ 151 h 155"/>
                <a:gd name="T22" fmla="*/ 40 w 153"/>
                <a:gd name="T23" fmla="*/ 145 h 155"/>
                <a:gd name="T24" fmla="*/ 27 w 153"/>
                <a:gd name="T25" fmla="*/ 137 h 155"/>
                <a:gd name="T26" fmla="*/ 17 w 153"/>
                <a:gd name="T27" fmla="*/ 127 h 155"/>
                <a:gd name="T28" fmla="*/ 9 w 153"/>
                <a:gd name="T29" fmla="*/ 115 h 155"/>
                <a:gd name="T30" fmla="*/ 3 w 153"/>
                <a:gd name="T31" fmla="*/ 101 h 155"/>
                <a:gd name="T32" fmla="*/ 0 w 153"/>
                <a:gd name="T33" fmla="*/ 86 h 155"/>
                <a:gd name="T34" fmla="*/ 0 w 153"/>
                <a:gd name="T35" fmla="*/ 78 h 155"/>
                <a:gd name="T36" fmla="*/ 1 w 153"/>
                <a:gd name="T37" fmla="*/ 62 h 155"/>
                <a:gd name="T38" fmla="*/ 5 w 153"/>
                <a:gd name="T39" fmla="*/ 48 h 155"/>
                <a:gd name="T40" fmla="*/ 12 w 153"/>
                <a:gd name="T41" fmla="*/ 34 h 155"/>
                <a:gd name="T42" fmla="*/ 21 w 153"/>
                <a:gd name="T43" fmla="*/ 23 h 155"/>
                <a:gd name="T44" fmla="*/ 33 w 153"/>
                <a:gd name="T45" fmla="*/ 14 h 155"/>
                <a:gd name="T46" fmla="*/ 47 w 153"/>
                <a:gd name="T47" fmla="*/ 7 h 155"/>
                <a:gd name="T48" fmla="*/ 60 w 153"/>
                <a:gd name="T49" fmla="*/ 2 h 155"/>
                <a:gd name="T50" fmla="*/ 76 w 153"/>
                <a:gd name="T51" fmla="*/ 0 h 155"/>
                <a:gd name="T52" fmla="*/ 84 w 153"/>
                <a:gd name="T53" fmla="*/ 1 h 155"/>
                <a:gd name="T54" fmla="*/ 99 w 153"/>
                <a:gd name="T55" fmla="*/ 4 h 155"/>
                <a:gd name="T56" fmla="*/ 113 w 153"/>
                <a:gd name="T57" fmla="*/ 10 h 155"/>
                <a:gd name="T58" fmla="*/ 126 w 153"/>
                <a:gd name="T59" fmla="*/ 18 h 155"/>
                <a:gd name="T60" fmla="*/ 136 w 153"/>
                <a:gd name="T61" fmla="*/ 29 h 155"/>
                <a:gd name="T62" fmla="*/ 144 w 153"/>
                <a:gd name="T63" fmla="*/ 41 h 155"/>
                <a:gd name="T64" fmla="*/ 150 w 153"/>
                <a:gd name="T65" fmla="*/ 55 h 155"/>
                <a:gd name="T66" fmla="*/ 153 w 153"/>
                <a:gd name="T67" fmla="*/ 70 h 155"/>
                <a:gd name="T68" fmla="*/ 153 w 153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5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8"/>
                  </a:lnTo>
                  <a:lnTo>
                    <a:pt x="144" y="115"/>
                  </a:lnTo>
                  <a:lnTo>
                    <a:pt x="140" y="120"/>
                  </a:lnTo>
                  <a:lnTo>
                    <a:pt x="136" y="127"/>
                  </a:lnTo>
                  <a:lnTo>
                    <a:pt x="131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8" y="155"/>
                  </a:lnTo>
                  <a:lnTo>
                    <a:pt x="60" y="153"/>
                  </a:lnTo>
                  <a:lnTo>
                    <a:pt x="53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2"/>
                  </a:lnTo>
                  <a:lnTo>
                    <a:pt x="27" y="137"/>
                  </a:lnTo>
                  <a:lnTo>
                    <a:pt x="21" y="132"/>
                  </a:lnTo>
                  <a:lnTo>
                    <a:pt x="17" y="127"/>
                  </a:lnTo>
                  <a:lnTo>
                    <a:pt x="12" y="120"/>
                  </a:lnTo>
                  <a:lnTo>
                    <a:pt x="9" y="115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1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3" y="4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4"/>
                  </a:lnTo>
                  <a:lnTo>
                    <a:pt x="106" y="7"/>
                  </a:lnTo>
                  <a:lnTo>
                    <a:pt x="113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9"/>
                  </a:lnTo>
                  <a:lnTo>
                    <a:pt x="140" y="34"/>
                  </a:lnTo>
                  <a:lnTo>
                    <a:pt x="144" y="41"/>
                  </a:lnTo>
                  <a:lnTo>
                    <a:pt x="147" y="48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0" name="Freeform 3047"/>
            <p:cNvSpPr/>
            <p:nvPr/>
          </p:nvSpPr>
          <p:spPr bwMode="auto">
            <a:xfrm>
              <a:off x="2932113" y="3592513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7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5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4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7 h 154"/>
                <a:gd name="T40" fmla="*/ 12 w 153"/>
                <a:gd name="T41" fmla="*/ 34 h 154"/>
                <a:gd name="T42" fmla="*/ 21 w 153"/>
                <a:gd name="T43" fmla="*/ 22 h 154"/>
                <a:gd name="T44" fmla="*/ 33 w 153"/>
                <a:gd name="T45" fmla="*/ 13 h 154"/>
                <a:gd name="T46" fmla="*/ 47 w 153"/>
                <a:gd name="T47" fmla="*/ 5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9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3" y="145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3" y="151"/>
                  </a:lnTo>
                  <a:lnTo>
                    <a:pt x="47" y="147"/>
                  </a:lnTo>
                  <a:lnTo>
                    <a:pt x="40" y="145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5" y="107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1" name="Freeform 3048"/>
            <p:cNvSpPr/>
            <p:nvPr/>
          </p:nvSpPr>
          <p:spPr bwMode="auto">
            <a:xfrm>
              <a:off x="3001963" y="366236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4 w 155"/>
                <a:gd name="T3" fmla="*/ 93 h 155"/>
                <a:gd name="T4" fmla="*/ 149 w 155"/>
                <a:gd name="T5" fmla="*/ 108 h 155"/>
                <a:gd name="T6" fmla="*/ 142 w 155"/>
                <a:gd name="T7" fmla="*/ 120 h 155"/>
                <a:gd name="T8" fmla="*/ 132 w 155"/>
                <a:gd name="T9" fmla="*/ 132 h 155"/>
                <a:gd name="T10" fmla="*/ 121 w 155"/>
                <a:gd name="T11" fmla="*/ 142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5 h 155"/>
                <a:gd name="T20" fmla="*/ 55 w 155"/>
                <a:gd name="T21" fmla="*/ 151 h 155"/>
                <a:gd name="T22" fmla="*/ 42 w 155"/>
                <a:gd name="T23" fmla="*/ 145 h 155"/>
                <a:gd name="T24" fmla="*/ 29 w 155"/>
                <a:gd name="T25" fmla="*/ 137 h 155"/>
                <a:gd name="T26" fmla="*/ 19 w 155"/>
                <a:gd name="T27" fmla="*/ 127 h 155"/>
                <a:gd name="T28" fmla="*/ 11 w 155"/>
                <a:gd name="T29" fmla="*/ 115 h 155"/>
                <a:gd name="T30" fmla="*/ 4 w 155"/>
                <a:gd name="T31" fmla="*/ 101 h 155"/>
                <a:gd name="T32" fmla="*/ 2 w 155"/>
                <a:gd name="T33" fmla="*/ 86 h 155"/>
                <a:gd name="T34" fmla="*/ 0 w 155"/>
                <a:gd name="T35" fmla="*/ 78 h 155"/>
                <a:gd name="T36" fmla="*/ 3 w 155"/>
                <a:gd name="T37" fmla="*/ 62 h 155"/>
                <a:gd name="T38" fmla="*/ 7 w 155"/>
                <a:gd name="T39" fmla="*/ 48 h 155"/>
                <a:gd name="T40" fmla="*/ 14 w 155"/>
                <a:gd name="T41" fmla="*/ 34 h 155"/>
                <a:gd name="T42" fmla="*/ 23 w 155"/>
                <a:gd name="T43" fmla="*/ 23 h 155"/>
                <a:gd name="T44" fmla="*/ 35 w 155"/>
                <a:gd name="T45" fmla="*/ 14 h 155"/>
                <a:gd name="T46" fmla="*/ 48 w 155"/>
                <a:gd name="T47" fmla="*/ 7 h 155"/>
                <a:gd name="T48" fmla="*/ 62 w 155"/>
                <a:gd name="T49" fmla="*/ 2 h 155"/>
                <a:gd name="T50" fmla="*/ 78 w 155"/>
                <a:gd name="T51" fmla="*/ 0 h 155"/>
                <a:gd name="T52" fmla="*/ 86 w 155"/>
                <a:gd name="T53" fmla="*/ 1 h 155"/>
                <a:gd name="T54" fmla="*/ 101 w 155"/>
                <a:gd name="T55" fmla="*/ 4 h 155"/>
                <a:gd name="T56" fmla="*/ 115 w 155"/>
                <a:gd name="T57" fmla="*/ 10 h 155"/>
                <a:gd name="T58" fmla="*/ 127 w 155"/>
                <a:gd name="T59" fmla="*/ 18 h 155"/>
                <a:gd name="T60" fmla="*/ 138 w 155"/>
                <a:gd name="T61" fmla="*/ 29 h 155"/>
                <a:gd name="T62" fmla="*/ 146 w 155"/>
                <a:gd name="T63" fmla="*/ 41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38" y="127"/>
                  </a:lnTo>
                  <a:lnTo>
                    <a:pt x="132" y="132"/>
                  </a:lnTo>
                  <a:lnTo>
                    <a:pt x="127" y="137"/>
                  </a:lnTo>
                  <a:lnTo>
                    <a:pt x="121" y="142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2" y="145"/>
                  </a:lnTo>
                  <a:lnTo>
                    <a:pt x="35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7"/>
                  </a:lnTo>
                  <a:lnTo>
                    <a:pt x="14" y="120"/>
                  </a:lnTo>
                  <a:lnTo>
                    <a:pt x="11" y="115"/>
                  </a:lnTo>
                  <a:lnTo>
                    <a:pt x="7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5" y="10"/>
                  </a:lnTo>
                  <a:lnTo>
                    <a:pt x="121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9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8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2" name="Freeform 3049"/>
            <p:cNvSpPr/>
            <p:nvPr/>
          </p:nvSpPr>
          <p:spPr bwMode="auto">
            <a:xfrm>
              <a:off x="2792413" y="373221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8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3" name="Freeform 3050"/>
            <p:cNvSpPr/>
            <p:nvPr/>
          </p:nvSpPr>
          <p:spPr bwMode="auto">
            <a:xfrm>
              <a:off x="2728913" y="373221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9 w 155"/>
                <a:gd name="T5" fmla="*/ 106 h 153"/>
                <a:gd name="T6" fmla="*/ 142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4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7 w 155"/>
                <a:gd name="T59" fmla="*/ 17 h 153"/>
                <a:gd name="T60" fmla="*/ 137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8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2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5" y="68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4" name="Freeform 3051"/>
            <p:cNvSpPr/>
            <p:nvPr/>
          </p:nvSpPr>
          <p:spPr bwMode="auto">
            <a:xfrm>
              <a:off x="2657475" y="373221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4 w 155"/>
                <a:gd name="T3" fmla="*/ 93 h 153"/>
                <a:gd name="T4" fmla="*/ 149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1 w 155"/>
                <a:gd name="T23" fmla="*/ 144 h 153"/>
                <a:gd name="T24" fmla="*/ 29 w 155"/>
                <a:gd name="T25" fmla="*/ 136 h 153"/>
                <a:gd name="T26" fmla="*/ 19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3 w 155"/>
                <a:gd name="T37" fmla="*/ 62 h 153"/>
                <a:gd name="T38" fmla="*/ 7 w 155"/>
                <a:gd name="T39" fmla="*/ 47 h 153"/>
                <a:gd name="T40" fmla="*/ 14 w 155"/>
                <a:gd name="T41" fmla="*/ 34 h 153"/>
                <a:gd name="T42" fmla="*/ 23 w 155"/>
                <a:gd name="T43" fmla="*/ 23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6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8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5 w 155"/>
                <a:gd name="T67" fmla="*/ 68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3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8"/>
                  </a:lnTo>
                  <a:lnTo>
                    <a:pt x="3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9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8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5" name="Freeform 3052"/>
            <p:cNvSpPr/>
            <p:nvPr/>
          </p:nvSpPr>
          <p:spPr bwMode="auto">
            <a:xfrm>
              <a:off x="3562350" y="3800475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8 h 154"/>
                <a:gd name="T6" fmla="*/ 141 w 155"/>
                <a:gd name="T7" fmla="*/ 120 h 154"/>
                <a:gd name="T8" fmla="*/ 132 w 155"/>
                <a:gd name="T9" fmla="*/ 132 h 154"/>
                <a:gd name="T10" fmla="*/ 121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9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2 w 155"/>
                <a:gd name="T33" fmla="*/ 86 h 154"/>
                <a:gd name="T34" fmla="*/ 0 w 155"/>
                <a:gd name="T35" fmla="*/ 78 h 154"/>
                <a:gd name="T36" fmla="*/ 3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5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7 w 155"/>
                <a:gd name="T61" fmla="*/ 29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9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3" y="93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6" name="Freeform 3053"/>
            <p:cNvSpPr/>
            <p:nvPr/>
          </p:nvSpPr>
          <p:spPr bwMode="auto">
            <a:xfrm>
              <a:off x="3562350" y="5135563"/>
              <a:ext cx="47625" cy="47625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1 h 153"/>
                <a:gd name="T4" fmla="*/ 147 w 153"/>
                <a:gd name="T5" fmla="*/ 106 h 153"/>
                <a:gd name="T6" fmla="*/ 141 w 153"/>
                <a:gd name="T7" fmla="*/ 119 h 153"/>
                <a:gd name="T8" fmla="*/ 131 w 153"/>
                <a:gd name="T9" fmla="*/ 130 h 153"/>
                <a:gd name="T10" fmla="*/ 120 w 153"/>
                <a:gd name="T11" fmla="*/ 141 h 153"/>
                <a:gd name="T12" fmla="*/ 106 w 153"/>
                <a:gd name="T13" fmla="*/ 147 h 153"/>
                <a:gd name="T14" fmla="*/ 93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99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2 w 153"/>
                <a:gd name="T41" fmla="*/ 33 h 153"/>
                <a:gd name="T42" fmla="*/ 22 w 153"/>
                <a:gd name="T43" fmla="*/ 22 h 153"/>
                <a:gd name="T44" fmla="*/ 33 w 153"/>
                <a:gd name="T45" fmla="*/ 12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2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7" name="Freeform 3054"/>
            <p:cNvSpPr/>
            <p:nvPr/>
          </p:nvSpPr>
          <p:spPr bwMode="auto">
            <a:xfrm>
              <a:off x="3562350" y="5205413"/>
              <a:ext cx="47625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7 w 153"/>
                <a:gd name="T5" fmla="*/ 106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7 h 154"/>
                <a:gd name="T14" fmla="*/ 93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0 w 153"/>
                <a:gd name="T49" fmla="*/ 1 h 154"/>
                <a:gd name="T50" fmla="*/ 76 w 153"/>
                <a:gd name="T51" fmla="*/ 0 h 154"/>
                <a:gd name="T52" fmla="*/ 84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1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8" name="Freeform 3055"/>
            <p:cNvSpPr/>
            <p:nvPr/>
          </p:nvSpPr>
          <p:spPr bwMode="auto">
            <a:xfrm>
              <a:off x="3630613" y="5135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1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89" name="Freeform 3056"/>
            <p:cNvSpPr/>
            <p:nvPr/>
          </p:nvSpPr>
          <p:spPr bwMode="auto">
            <a:xfrm>
              <a:off x="3630613" y="52054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0" name="Freeform 3057"/>
            <p:cNvSpPr/>
            <p:nvPr/>
          </p:nvSpPr>
          <p:spPr bwMode="auto">
            <a:xfrm>
              <a:off x="3700463" y="5135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19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3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4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7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1" name="Freeform 3058"/>
            <p:cNvSpPr/>
            <p:nvPr/>
          </p:nvSpPr>
          <p:spPr bwMode="auto">
            <a:xfrm>
              <a:off x="3352800" y="5135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2 w 154"/>
                <a:gd name="T9" fmla="*/ 130 h 153"/>
                <a:gd name="T10" fmla="*/ 120 w 154"/>
                <a:gd name="T11" fmla="*/ 141 h 153"/>
                <a:gd name="T12" fmla="*/ 107 w 154"/>
                <a:gd name="T13" fmla="*/ 147 h 153"/>
                <a:gd name="T14" fmla="*/ 93 w 154"/>
                <a:gd name="T15" fmla="*/ 152 h 153"/>
                <a:gd name="T16" fmla="*/ 77 w 154"/>
                <a:gd name="T17" fmla="*/ 153 h 153"/>
                <a:gd name="T18" fmla="*/ 70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9 w 154"/>
                <a:gd name="T25" fmla="*/ 136 h 153"/>
                <a:gd name="T26" fmla="*/ 17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1 w 154"/>
                <a:gd name="T37" fmla="*/ 61 h 153"/>
                <a:gd name="T38" fmla="*/ 6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99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3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3" y="85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7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2" name="Freeform 3059"/>
            <p:cNvSpPr/>
            <p:nvPr/>
          </p:nvSpPr>
          <p:spPr bwMode="auto">
            <a:xfrm>
              <a:off x="3422650" y="5135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2 w 154"/>
                <a:gd name="T3" fmla="*/ 91 h 153"/>
                <a:gd name="T4" fmla="*/ 148 w 154"/>
                <a:gd name="T5" fmla="*/ 106 h 153"/>
                <a:gd name="T6" fmla="*/ 140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0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5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6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4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6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19"/>
                  </a:lnTo>
                  <a:lnTo>
                    <a:pt x="136" y="126"/>
                  </a:lnTo>
                  <a:lnTo>
                    <a:pt x="131" y="130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3" name="Freeform 3060"/>
            <p:cNvSpPr/>
            <p:nvPr/>
          </p:nvSpPr>
          <p:spPr bwMode="auto">
            <a:xfrm>
              <a:off x="3492500" y="51355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1 w 155"/>
                <a:gd name="T11" fmla="*/ 141 h 153"/>
                <a:gd name="T12" fmla="*/ 107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4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4" name="Freeform 3061"/>
            <p:cNvSpPr/>
            <p:nvPr/>
          </p:nvSpPr>
          <p:spPr bwMode="auto">
            <a:xfrm>
              <a:off x="3562350" y="5275263"/>
              <a:ext cx="47625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7 w 153"/>
                <a:gd name="T5" fmla="*/ 107 h 154"/>
                <a:gd name="T6" fmla="*/ 141 w 153"/>
                <a:gd name="T7" fmla="*/ 120 h 154"/>
                <a:gd name="T8" fmla="*/ 131 w 153"/>
                <a:gd name="T9" fmla="*/ 131 h 154"/>
                <a:gd name="T10" fmla="*/ 120 w 153"/>
                <a:gd name="T11" fmla="*/ 141 h 154"/>
                <a:gd name="T12" fmla="*/ 106 w 153"/>
                <a:gd name="T13" fmla="*/ 149 h 154"/>
                <a:gd name="T14" fmla="*/ 93 w 153"/>
                <a:gd name="T15" fmla="*/ 153 h 154"/>
                <a:gd name="T16" fmla="*/ 76 w 153"/>
                <a:gd name="T17" fmla="*/ 154 h 154"/>
                <a:gd name="T18" fmla="*/ 68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0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7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4" y="154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4"/>
                  </a:lnTo>
                  <a:lnTo>
                    <a:pt x="60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0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3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1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7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5" name="Freeform 3062"/>
            <p:cNvSpPr/>
            <p:nvPr/>
          </p:nvSpPr>
          <p:spPr bwMode="auto">
            <a:xfrm>
              <a:off x="3562350" y="5346700"/>
              <a:ext cx="47625" cy="49213"/>
            </a:xfrm>
            <a:custGeom>
              <a:avLst/>
              <a:gdLst>
                <a:gd name="T0" fmla="*/ 153 w 153"/>
                <a:gd name="T1" fmla="*/ 77 h 153"/>
                <a:gd name="T2" fmla="*/ 152 w 153"/>
                <a:gd name="T3" fmla="*/ 93 h 153"/>
                <a:gd name="T4" fmla="*/ 147 w 153"/>
                <a:gd name="T5" fmla="*/ 106 h 153"/>
                <a:gd name="T6" fmla="*/ 141 w 153"/>
                <a:gd name="T7" fmla="*/ 120 h 153"/>
                <a:gd name="T8" fmla="*/ 131 w 153"/>
                <a:gd name="T9" fmla="*/ 132 h 153"/>
                <a:gd name="T10" fmla="*/ 120 w 153"/>
                <a:gd name="T11" fmla="*/ 141 h 153"/>
                <a:gd name="T12" fmla="*/ 106 w 153"/>
                <a:gd name="T13" fmla="*/ 148 h 153"/>
                <a:gd name="T14" fmla="*/ 93 w 153"/>
                <a:gd name="T15" fmla="*/ 152 h 153"/>
                <a:gd name="T16" fmla="*/ 76 w 153"/>
                <a:gd name="T17" fmla="*/ 153 h 153"/>
                <a:gd name="T18" fmla="*/ 68 w 153"/>
                <a:gd name="T19" fmla="*/ 153 h 153"/>
                <a:gd name="T20" fmla="*/ 54 w 153"/>
                <a:gd name="T21" fmla="*/ 150 h 153"/>
                <a:gd name="T22" fmla="*/ 40 w 153"/>
                <a:gd name="T23" fmla="*/ 144 h 153"/>
                <a:gd name="T24" fmla="*/ 27 w 153"/>
                <a:gd name="T25" fmla="*/ 136 h 153"/>
                <a:gd name="T26" fmla="*/ 17 w 153"/>
                <a:gd name="T27" fmla="*/ 126 h 153"/>
                <a:gd name="T28" fmla="*/ 9 w 153"/>
                <a:gd name="T29" fmla="*/ 113 h 153"/>
                <a:gd name="T30" fmla="*/ 3 w 153"/>
                <a:gd name="T31" fmla="*/ 100 h 153"/>
                <a:gd name="T32" fmla="*/ 0 w 153"/>
                <a:gd name="T33" fmla="*/ 85 h 153"/>
                <a:gd name="T34" fmla="*/ 0 w 153"/>
                <a:gd name="T35" fmla="*/ 77 h 153"/>
                <a:gd name="T36" fmla="*/ 1 w 153"/>
                <a:gd name="T37" fmla="*/ 61 h 153"/>
                <a:gd name="T38" fmla="*/ 6 w 153"/>
                <a:gd name="T39" fmla="*/ 47 h 153"/>
                <a:gd name="T40" fmla="*/ 12 w 153"/>
                <a:gd name="T41" fmla="*/ 33 h 153"/>
                <a:gd name="T42" fmla="*/ 22 w 153"/>
                <a:gd name="T43" fmla="*/ 22 h 153"/>
                <a:gd name="T44" fmla="*/ 33 w 153"/>
                <a:gd name="T45" fmla="*/ 13 h 153"/>
                <a:gd name="T46" fmla="*/ 47 w 153"/>
                <a:gd name="T47" fmla="*/ 6 h 153"/>
                <a:gd name="T48" fmla="*/ 60 w 153"/>
                <a:gd name="T49" fmla="*/ 1 h 153"/>
                <a:gd name="T50" fmla="*/ 76 w 153"/>
                <a:gd name="T51" fmla="*/ 0 h 153"/>
                <a:gd name="T52" fmla="*/ 84 w 153"/>
                <a:gd name="T53" fmla="*/ 0 h 153"/>
                <a:gd name="T54" fmla="*/ 99 w 153"/>
                <a:gd name="T55" fmla="*/ 3 h 153"/>
                <a:gd name="T56" fmla="*/ 113 w 153"/>
                <a:gd name="T57" fmla="*/ 9 h 153"/>
                <a:gd name="T58" fmla="*/ 126 w 153"/>
                <a:gd name="T59" fmla="*/ 17 h 153"/>
                <a:gd name="T60" fmla="*/ 136 w 153"/>
                <a:gd name="T61" fmla="*/ 27 h 153"/>
                <a:gd name="T62" fmla="*/ 144 w 153"/>
                <a:gd name="T63" fmla="*/ 40 h 153"/>
                <a:gd name="T64" fmla="*/ 150 w 153"/>
                <a:gd name="T65" fmla="*/ 54 h 153"/>
                <a:gd name="T66" fmla="*/ 153 w 153"/>
                <a:gd name="T67" fmla="*/ 69 h 153"/>
                <a:gd name="T68" fmla="*/ 153 w 153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3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100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1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99" y="150"/>
                  </a:lnTo>
                  <a:lnTo>
                    <a:pt x="93" y="152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0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2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3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3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4" y="40"/>
                  </a:lnTo>
                  <a:lnTo>
                    <a:pt x="147" y="47"/>
                  </a:lnTo>
                  <a:lnTo>
                    <a:pt x="150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6" name="Freeform 3063"/>
            <p:cNvSpPr/>
            <p:nvPr/>
          </p:nvSpPr>
          <p:spPr bwMode="auto">
            <a:xfrm>
              <a:off x="3425825" y="5413375"/>
              <a:ext cx="47625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7 w 153"/>
                <a:gd name="T5" fmla="*/ 106 h 154"/>
                <a:gd name="T6" fmla="*/ 140 w 153"/>
                <a:gd name="T7" fmla="*/ 120 h 154"/>
                <a:gd name="T8" fmla="*/ 131 w 153"/>
                <a:gd name="T9" fmla="*/ 131 h 154"/>
                <a:gd name="T10" fmla="*/ 120 w 153"/>
                <a:gd name="T11" fmla="*/ 140 h 154"/>
                <a:gd name="T12" fmla="*/ 106 w 153"/>
                <a:gd name="T13" fmla="*/ 147 h 154"/>
                <a:gd name="T14" fmla="*/ 92 w 153"/>
                <a:gd name="T15" fmla="*/ 152 h 154"/>
                <a:gd name="T16" fmla="*/ 76 w 153"/>
                <a:gd name="T17" fmla="*/ 154 h 154"/>
                <a:gd name="T18" fmla="*/ 68 w 153"/>
                <a:gd name="T19" fmla="*/ 153 h 154"/>
                <a:gd name="T20" fmla="*/ 53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5 w 153"/>
                <a:gd name="T39" fmla="*/ 46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6 w 153"/>
                <a:gd name="T47" fmla="*/ 5 h 154"/>
                <a:gd name="T48" fmla="*/ 61 w 153"/>
                <a:gd name="T49" fmla="*/ 2 h 154"/>
                <a:gd name="T50" fmla="*/ 76 w 153"/>
                <a:gd name="T51" fmla="*/ 0 h 154"/>
                <a:gd name="T52" fmla="*/ 84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5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49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49" y="99"/>
                  </a:lnTo>
                  <a:lnTo>
                    <a:pt x="147" y="106"/>
                  </a:lnTo>
                  <a:lnTo>
                    <a:pt x="144" y="113"/>
                  </a:lnTo>
                  <a:lnTo>
                    <a:pt x="140" y="120"/>
                  </a:lnTo>
                  <a:lnTo>
                    <a:pt x="136" y="125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2" y="152"/>
                  </a:lnTo>
                  <a:lnTo>
                    <a:pt x="84" y="153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1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5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5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5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1"/>
                  </a:lnTo>
                  <a:lnTo>
                    <a:pt x="92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6" y="28"/>
                  </a:lnTo>
                  <a:lnTo>
                    <a:pt x="140" y="34"/>
                  </a:lnTo>
                  <a:lnTo>
                    <a:pt x="144" y="40"/>
                  </a:lnTo>
                  <a:lnTo>
                    <a:pt x="147" y="46"/>
                  </a:lnTo>
                  <a:lnTo>
                    <a:pt x="149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7" name="Freeform 3064"/>
            <p:cNvSpPr/>
            <p:nvPr/>
          </p:nvSpPr>
          <p:spPr bwMode="auto">
            <a:xfrm>
              <a:off x="3630613" y="583723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8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0 w 154"/>
                <a:gd name="T23" fmla="*/ 145 h 154"/>
                <a:gd name="T24" fmla="*/ 28 w 154"/>
                <a:gd name="T25" fmla="*/ 136 h 154"/>
                <a:gd name="T26" fmla="*/ 18 w 154"/>
                <a:gd name="T27" fmla="*/ 125 h 154"/>
                <a:gd name="T28" fmla="*/ 10 w 154"/>
                <a:gd name="T29" fmla="*/ 114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2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8" name="Freeform 3065"/>
            <p:cNvSpPr/>
            <p:nvPr/>
          </p:nvSpPr>
          <p:spPr bwMode="auto">
            <a:xfrm>
              <a:off x="3352800" y="52054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99" name="Freeform 3066"/>
            <p:cNvSpPr/>
            <p:nvPr/>
          </p:nvSpPr>
          <p:spPr bwMode="auto">
            <a:xfrm>
              <a:off x="3422650" y="5205413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6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2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6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5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6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6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3"/>
                  </a:lnTo>
                  <a:lnTo>
                    <a:pt x="137" y="27"/>
                  </a:lnTo>
                  <a:lnTo>
                    <a:pt x="140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0" name="Freeform 3067"/>
            <p:cNvSpPr/>
            <p:nvPr/>
          </p:nvSpPr>
          <p:spPr bwMode="auto">
            <a:xfrm>
              <a:off x="3492500" y="52054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3 h 154"/>
                <a:gd name="T4" fmla="*/ 148 w 155"/>
                <a:gd name="T5" fmla="*/ 106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7 w 155"/>
                <a:gd name="T17" fmla="*/ 154 h 154"/>
                <a:gd name="T18" fmla="*/ 70 w 155"/>
                <a:gd name="T19" fmla="*/ 153 h 154"/>
                <a:gd name="T20" fmla="*/ 54 w 155"/>
                <a:gd name="T21" fmla="*/ 151 h 154"/>
                <a:gd name="T22" fmla="*/ 40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0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7 w 155"/>
                <a:gd name="T47" fmla="*/ 6 h 154"/>
                <a:gd name="T48" fmla="*/ 62 w 155"/>
                <a:gd name="T49" fmla="*/ 1 h 154"/>
                <a:gd name="T50" fmla="*/ 77 w 155"/>
                <a:gd name="T51" fmla="*/ 0 h 154"/>
                <a:gd name="T52" fmla="*/ 85 w 155"/>
                <a:gd name="T53" fmla="*/ 0 h 154"/>
                <a:gd name="T54" fmla="*/ 100 w 155"/>
                <a:gd name="T55" fmla="*/ 3 h 154"/>
                <a:gd name="T56" fmla="*/ 115 w 155"/>
                <a:gd name="T57" fmla="*/ 9 h 154"/>
                <a:gd name="T58" fmla="*/ 126 w 155"/>
                <a:gd name="T59" fmla="*/ 17 h 154"/>
                <a:gd name="T60" fmla="*/ 137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1" name="Freeform 3068"/>
            <p:cNvSpPr/>
            <p:nvPr/>
          </p:nvSpPr>
          <p:spPr bwMode="auto">
            <a:xfrm>
              <a:off x="3352800" y="52752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6 h 154"/>
                <a:gd name="T28" fmla="*/ 9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2" name="Freeform 3069"/>
            <p:cNvSpPr/>
            <p:nvPr/>
          </p:nvSpPr>
          <p:spPr bwMode="auto">
            <a:xfrm>
              <a:off x="3352800" y="534670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6 h 153"/>
                <a:gd name="T28" fmla="*/ 9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3 h 153"/>
                <a:gd name="T42" fmla="*/ 23 w 154"/>
                <a:gd name="T43" fmla="*/ 22 h 153"/>
                <a:gd name="T44" fmla="*/ 34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3" name="Freeform 3070"/>
            <p:cNvSpPr/>
            <p:nvPr/>
          </p:nvSpPr>
          <p:spPr bwMode="auto">
            <a:xfrm>
              <a:off x="3422650" y="5275263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0 w 154"/>
                <a:gd name="T7" fmla="*/ 120 h 154"/>
                <a:gd name="T8" fmla="*/ 131 w 154"/>
                <a:gd name="T9" fmla="*/ 131 h 154"/>
                <a:gd name="T10" fmla="*/ 120 w 154"/>
                <a:gd name="T11" fmla="*/ 141 h 154"/>
                <a:gd name="T12" fmla="*/ 107 w 154"/>
                <a:gd name="T13" fmla="*/ 149 h 154"/>
                <a:gd name="T14" fmla="*/ 92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3 w 154"/>
                <a:gd name="T31" fmla="*/ 101 h 154"/>
                <a:gd name="T32" fmla="*/ 1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6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5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5" y="137"/>
                  </a:lnTo>
                  <a:lnTo>
                    <a:pt x="120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6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2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5" y="18"/>
                  </a:lnTo>
                  <a:lnTo>
                    <a:pt x="131" y="23"/>
                  </a:lnTo>
                  <a:lnTo>
                    <a:pt x="137" y="28"/>
                  </a:lnTo>
                  <a:lnTo>
                    <a:pt x="140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4" name="Freeform 3071"/>
            <p:cNvSpPr/>
            <p:nvPr/>
          </p:nvSpPr>
          <p:spPr bwMode="auto">
            <a:xfrm>
              <a:off x="3422650" y="5346700"/>
              <a:ext cx="49213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2 h 153"/>
                <a:gd name="T10" fmla="*/ 120 w 154"/>
                <a:gd name="T11" fmla="*/ 141 h 153"/>
                <a:gd name="T12" fmla="*/ 107 w 154"/>
                <a:gd name="T13" fmla="*/ 148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100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3 h 153"/>
                <a:gd name="T46" fmla="*/ 46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2"/>
                  </a:lnTo>
                  <a:lnTo>
                    <a:pt x="125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8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6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5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5" name="Freeform 3072"/>
            <p:cNvSpPr/>
            <p:nvPr/>
          </p:nvSpPr>
          <p:spPr bwMode="auto">
            <a:xfrm>
              <a:off x="3492500" y="52752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3 w 155"/>
                <a:gd name="T3" fmla="*/ 93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7 w 155"/>
                <a:gd name="T17" fmla="*/ 154 h 154"/>
                <a:gd name="T18" fmla="*/ 70 w 155"/>
                <a:gd name="T19" fmla="*/ 154 h 154"/>
                <a:gd name="T20" fmla="*/ 54 w 155"/>
                <a:gd name="T21" fmla="*/ 151 h 154"/>
                <a:gd name="T22" fmla="*/ 40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0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5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4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7"/>
                  </a:lnTo>
                  <a:lnTo>
                    <a:pt x="146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6" y="41"/>
                  </a:lnTo>
                  <a:lnTo>
                    <a:pt x="148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6" name="Freeform 3073"/>
            <p:cNvSpPr/>
            <p:nvPr/>
          </p:nvSpPr>
          <p:spPr bwMode="auto">
            <a:xfrm>
              <a:off x="3141663" y="5135563"/>
              <a:ext cx="49213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1 h 153"/>
                <a:gd name="T4" fmla="*/ 149 w 154"/>
                <a:gd name="T5" fmla="*/ 106 h 153"/>
                <a:gd name="T6" fmla="*/ 142 w 154"/>
                <a:gd name="T7" fmla="*/ 119 h 153"/>
                <a:gd name="T8" fmla="*/ 131 w 154"/>
                <a:gd name="T9" fmla="*/ 130 h 153"/>
                <a:gd name="T10" fmla="*/ 120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7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4 w 154"/>
                <a:gd name="T45" fmla="*/ 12 h 153"/>
                <a:gd name="T46" fmla="*/ 48 w 154"/>
                <a:gd name="T47" fmla="*/ 6 h 153"/>
                <a:gd name="T48" fmla="*/ 62 w 154"/>
                <a:gd name="T49" fmla="*/ 1 h 153"/>
                <a:gd name="T50" fmla="*/ 78 w 154"/>
                <a:gd name="T51" fmla="*/ 0 h 153"/>
                <a:gd name="T52" fmla="*/ 86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7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2" y="119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6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2" y="33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7" name="Freeform 3074"/>
            <p:cNvSpPr/>
            <p:nvPr/>
          </p:nvSpPr>
          <p:spPr bwMode="auto">
            <a:xfrm>
              <a:off x="3211513" y="5135563"/>
              <a:ext cx="47625" cy="47625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1 h 153"/>
                <a:gd name="T4" fmla="*/ 148 w 154"/>
                <a:gd name="T5" fmla="*/ 106 h 153"/>
                <a:gd name="T6" fmla="*/ 141 w 154"/>
                <a:gd name="T7" fmla="*/ 119 h 153"/>
                <a:gd name="T8" fmla="*/ 131 w 154"/>
                <a:gd name="T9" fmla="*/ 130 h 153"/>
                <a:gd name="T10" fmla="*/ 119 w 154"/>
                <a:gd name="T11" fmla="*/ 141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99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2 h 153"/>
                <a:gd name="T44" fmla="*/ 34 w 154"/>
                <a:gd name="T45" fmla="*/ 12 h 153"/>
                <a:gd name="T46" fmla="*/ 47 w 154"/>
                <a:gd name="T47" fmla="*/ 6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1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19"/>
                  </a:lnTo>
                  <a:lnTo>
                    <a:pt x="137" y="126"/>
                  </a:lnTo>
                  <a:lnTo>
                    <a:pt x="131" y="130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0"/>
                  </a:lnTo>
                  <a:lnTo>
                    <a:pt x="18" y="126"/>
                  </a:lnTo>
                  <a:lnTo>
                    <a:pt x="13" y="119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8" name="Freeform 3075"/>
            <p:cNvSpPr/>
            <p:nvPr/>
          </p:nvSpPr>
          <p:spPr bwMode="auto">
            <a:xfrm>
              <a:off x="3281363" y="5135563"/>
              <a:ext cx="49213" cy="47625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1 h 153"/>
                <a:gd name="T4" fmla="*/ 149 w 155"/>
                <a:gd name="T5" fmla="*/ 106 h 153"/>
                <a:gd name="T6" fmla="*/ 141 w 155"/>
                <a:gd name="T7" fmla="*/ 119 h 153"/>
                <a:gd name="T8" fmla="*/ 132 w 155"/>
                <a:gd name="T9" fmla="*/ 130 h 153"/>
                <a:gd name="T10" fmla="*/ 120 w 155"/>
                <a:gd name="T11" fmla="*/ 141 h 153"/>
                <a:gd name="T12" fmla="*/ 108 w 155"/>
                <a:gd name="T13" fmla="*/ 147 h 153"/>
                <a:gd name="T14" fmla="*/ 93 w 155"/>
                <a:gd name="T15" fmla="*/ 152 h 153"/>
                <a:gd name="T16" fmla="*/ 78 w 155"/>
                <a:gd name="T17" fmla="*/ 153 h 153"/>
                <a:gd name="T18" fmla="*/ 70 w 155"/>
                <a:gd name="T19" fmla="*/ 153 h 153"/>
                <a:gd name="T20" fmla="*/ 55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9 w 155"/>
                <a:gd name="T29" fmla="*/ 113 h 153"/>
                <a:gd name="T30" fmla="*/ 4 w 155"/>
                <a:gd name="T31" fmla="*/ 99 h 153"/>
                <a:gd name="T32" fmla="*/ 1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7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2 h 153"/>
                <a:gd name="T46" fmla="*/ 47 w 155"/>
                <a:gd name="T47" fmla="*/ 6 h 153"/>
                <a:gd name="T48" fmla="*/ 62 w 155"/>
                <a:gd name="T49" fmla="*/ 1 h 153"/>
                <a:gd name="T50" fmla="*/ 78 w 155"/>
                <a:gd name="T51" fmla="*/ 0 h 153"/>
                <a:gd name="T52" fmla="*/ 85 w 155"/>
                <a:gd name="T53" fmla="*/ 0 h 153"/>
                <a:gd name="T54" fmla="*/ 101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2" y="91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1" y="119"/>
                  </a:lnTo>
                  <a:lnTo>
                    <a:pt x="136" y="126"/>
                  </a:lnTo>
                  <a:lnTo>
                    <a:pt x="132" y="130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0"/>
                  </a:lnTo>
                  <a:lnTo>
                    <a:pt x="18" y="126"/>
                  </a:lnTo>
                  <a:lnTo>
                    <a:pt x="14" y="119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09" name="Freeform 3076"/>
            <p:cNvSpPr/>
            <p:nvPr/>
          </p:nvSpPr>
          <p:spPr bwMode="auto">
            <a:xfrm>
              <a:off x="3141663" y="5205413"/>
              <a:ext cx="49213" cy="49213"/>
            </a:xfrm>
            <a:custGeom>
              <a:avLst/>
              <a:gdLst>
                <a:gd name="T0" fmla="*/ 153 w 153"/>
                <a:gd name="T1" fmla="*/ 77 h 154"/>
                <a:gd name="T2" fmla="*/ 152 w 153"/>
                <a:gd name="T3" fmla="*/ 93 h 154"/>
                <a:gd name="T4" fmla="*/ 148 w 153"/>
                <a:gd name="T5" fmla="*/ 106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7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6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5 h 154"/>
                <a:gd name="T34" fmla="*/ 0 w 153"/>
                <a:gd name="T35" fmla="*/ 77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2 h 154"/>
                <a:gd name="T46" fmla="*/ 47 w 153"/>
                <a:gd name="T47" fmla="*/ 6 h 154"/>
                <a:gd name="T48" fmla="*/ 61 w 153"/>
                <a:gd name="T49" fmla="*/ 1 h 154"/>
                <a:gd name="T50" fmla="*/ 77 w 153"/>
                <a:gd name="T51" fmla="*/ 0 h 154"/>
                <a:gd name="T52" fmla="*/ 85 w 153"/>
                <a:gd name="T53" fmla="*/ 0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7 h 154"/>
                <a:gd name="T62" fmla="*/ 144 w 153"/>
                <a:gd name="T63" fmla="*/ 40 h 154"/>
                <a:gd name="T64" fmla="*/ 150 w 153"/>
                <a:gd name="T65" fmla="*/ 54 h 154"/>
                <a:gd name="T66" fmla="*/ 153 w 153"/>
                <a:gd name="T67" fmla="*/ 69 h 154"/>
                <a:gd name="T68" fmla="*/ 153 w 153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7"/>
                  </a:moveTo>
                  <a:lnTo>
                    <a:pt x="153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1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1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7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12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1" y="1"/>
                  </a:lnTo>
                  <a:lnTo>
                    <a:pt x="99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19" y="12"/>
                  </a:lnTo>
                  <a:lnTo>
                    <a:pt x="126" y="17"/>
                  </a:lnTo>
                  <a:lnTo>
                    <a:pt x="130" y="23"/>
                  </a:lnTo>
                  <a:lnTo>
                    <a:pt x="136" y="27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2" y="62"/>
                  </a:lnTo>
                  <a:lnTo>
                    <a:pt x="153" y="69"/>
                  </a:lnTo>
                  <a:lnTo>
                    <a:pt x="153" y="77"/>
                  </a:lnTo>
                  <a:lnTo>
                    <a:pt x="15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0" name="Freeform 3077"/>
            <p:cNvSpPr/>
            <p:nvPr/>
          </p:nvSpPr>
          <p:spPr bwMode="auto">
            <a:xfrm>
              <a:off x="3211513" y="5205413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1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1" name="Freeform 3078"/>
            <p:cNvSpPr/>
            <p:nvPr/>
          </p:nvSpPr>
          <p:spPr bwMode="auto">
            <a:xfrm>
              <a:off x="3281363" y="5205413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4 w 155"/>
                <a:gd name="T3" fmla="*/ 93 h 154"/>
                <a:gd name="T4" fmla="*/ 149 w 155"/>
                <a:gd name="T5" fmla="*/ 106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7 h 154"/>
                <a:gd name="T14" fmla="*/ 93 w 155"/>
                <a:gd name="T15" fmla="*/ 152 h 154"/>
                <a:gd name="T16" fmla="*/ 78 w 155"/>
                <a:gd name="T17" fmla="*/ 154 h 154"/>
                <a:gd name="T18" fmla="*/ 70 w 155"/>
                <a:gd name="T19" fmla="*/ 153 h 154"/>
                <a:gd name="T20" fmla="*/ 55 w 155"/>
                <a:gd name="T21" fmla="*/ 151 h 154"/>
                <a:gd name="T22" fmla="*/ 41 w 155"/>
                <a:gd name="T23" fmla="*/ 144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3 h 154"/>
                <a:gd name="T30" fmla="*/ 4 w 155"/>
                <a:gd name="T31" fmla="*/ 99 h 154"/>
                <a:gd name="T32" fmla="*/ 1 w 155"/>
                <a:gd name="T33" fmla="*/ 85 h 154"/>
                <a:gd name="T34" fmla="*/ 0 w 155"/>
                <a:gd name="T35" fmla="*/ 77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2 h 154"/>
                <a:gd name="T46" fmla="*/ 48 w 155"/>
                <a:gd name="T47" fmla="*/ 6 h 154"/>
                <a:gd name="T48" fmla="*/ 62 w 155"/>
                <a:gd name="T49" fmla="*/ 1 h 154"/>
                <a:gd name="T50" fmla="*/ 78 w 155"/>
                <a:gd name="T51" fmla="*/ 0 h 154"/>
                <a:gd name="T52" fmla="*/ 86 w 155"/>
                <a:gd name="T53" fmla="*/ 0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7 h 154"/>
                <a:gd name="T60" fmla="*/ 138 w 155"/>
                <a:gd name="T61" fmla="*/ 27 h 154"/>
                <a:gd name="T62" fmla="*/ 146 w 155"/>
                <a:gd name="T63" fmla="*/ 40 h 154"/>
                <a:gd name="T64" fmla="*/ 151 w 155"/>
                <a:gd name="T65" fmla="*/ 54 h 154"/>
                <a:gd name="T66" fmla="*/ 155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5" y="85"/>
                  </a:lnTo>
                  <a:lnTo>
                    <a:pt x="154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6" y="113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0" y="141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8" y="147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7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0" y="12"/>
                  </a:lnTo>
                  <a:lnTo>
                    <a:pt x="127" y="17"/>
                  </a:lnTo>
                  <a:lnTo>
                    <a:pt x="132" y="23"/>
                  </a:lnTo>
                  <a:lnTo>
                    <a:pt x="138" y="27"/>
                  </a:lnTo>
                  <a:lnTo>
                    <a:pt x="142" y="34"/>
                  </a:lnTo>
                  <a:lnTo>
                    <a:pt x="146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4" y="62"/>
                  </a:lnTo>
                  <a:lnTo>
                    <a:pt x="155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2" name="Freeform 3079"/>
            <p:cNvSpPr/>
            <p:nvPr/>
          </p:nvSpPr>
          <p:spPr bwMode="auto">
            <a:xfrm>
              <a:off x="3141663" y="5275263"/>
              <a:ext cx="49213" cy="49213"/>
            </a:xfrm>
            <a:custGeom>
              <a:avLst/>
              <a:gdLst>
                <a:gd name="T0" fmla="*/ 153 w 153"/>
                <a:gd name="T1" fmla="*/ 78 h 154"/>
                <a:gd name="T2" fmla="*/ 152 w 153"/>
                <a:gd name="T3" fmla="*/ 93 h 154"/>
                <a:gd name="T4" fmla="*/ 148 w 153"/>
                <a:gd name="T5" fmla="*/ 107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1 h 154"/>
                <a:gd name="T12" fmla="*/ 106 w 153"/>
                <a:gd name="T13" fmla="*/ 149 h 154"/>
                <a:gd name="T14" fmla="*/ 91 w 153"/>
                <a:gd name="T15" fmla="*/ 153 h 154"/>
                <a:gd name="T16" fmla="*/ 77 w 153"/>
                <a:gd name="T17" fmla="*/ 154 h 154"/>
                <a:gd name="T18" fmla="*/ 69 w 153"/>
                <a:gd name="T19" fmla="*/ 154 h 154"/>
                <a:gd name="T20" fmla="*/ 54 w 153"/>
                <a:gd name="T21" fmla="*/ 151 h 154"/>
                <a:gd name="T22" fmla="*/ 40 w 153"/>
                <a:gd name="T23" fmla="*/ 145 h 154"/>
                <a:gd name="T24" fmla="*/ 27 w 153"/>
                <a:gd name="T25" fmla="*/ 137 h 154"/>
                <a:gd name="T26" fmla="*/ 17 w 153"/>
                <a:gd name="T27" fmla="*/ 126 h 154"/>
                <a:gd name="T28" fmla="*/ 9 w 153"/>
                <a:gd name="T29" fmla="*/ 114 h 154"/>
                <a:gd name="T30" fmla="*/ 3 w 153"/>
                <a:gd name="T31" fmla="*/ 101 h 154"/>
                <a:gd name="T32" fmla="*/ 0 w 153"/>
                <a:gd name="T33" fmla="*/ 86 h 154"/>
                <a:gd name="T34" fmla="*/ 0 w 153"/>
                <a:gd name="T35" fmla="*/ 78 h 154"/>
                <a:gd name="T36" fmla="*/ 1 w 153"/>
                <a:gd name="T37" fmla="*/ 62 h 154"/>
                <a:gd name="T38" fmla="*/ 6 w 153"/>
                <a:gd name="T39" fmla="*/ 47 h 154"/>
                <a:gd name="T40" fmla="*/ 12 w 153"/>
                <a:gd name="T41" fmla="*/ 34 h 154"/>
                <a:gd name="T42" fmla="*/ 22 w 153"/>
                <a:gd name="T43" fmla="*/ 23 h 154"/>
                <a:gd name="T44" fmla="*/ 33 w 153"/>
                <a:gd name="T45" fmla="*/ 14 h 154"/>
                <a:gd name="T46" fmla="*/ 47 w 153"/>
                <a:gd name="T47" fmla="*/ 7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8 h 154"/>
                <a:gd name="T60" fmla="*/ 136 w 153"/>
                <a:gd name="T61" fmla="*/ 28 h 154"/>
                <a:gd name="T62" fmla="*/ 144 w 153"/>
                <a:gd name="T63" fmla="*/ 41 h 154"/>
                <a:gd name="T64" fmla="*/ 150 w 153"/>
                <a:gd name="T65" fmla="*/ 55 h 154"/>
                <a:gd name="T66" fmla="*/ 153 w 153"/>
                <a:gd name="T67" fmla="*/ 70 h 154"/>
                <a:gd name="T68" fmla="*/ 153 w 153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8"/>
                  </a:moveTo>
                  <a:lnTo>
                    <a:pt x="153" y="78"/>
                  </a:lnTo>
                  <a:lnTo>
                    <a:pt x="153" y="86"/>
                  </a:lnTo>
                  <a:lnTo>
                    <a:pt x="152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4" y="114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26" y="137"/>
                  </a:lnTo>
                  <a:lnTo>
                    <a:pt x="119" y="141"/>
                  </a:lnTo>
                  <a:lnTo>
                    <a:pt x="113" y="145"/>
                  </a:lnTo>
                  <a:lnTo>
                    <a:pt x="106" y="149"/>
                  </a:lnTo>
                  <a:lnTo>
                    <a:pt x="99" y="151"/>
                  </a:lnTo>
                  <a:lnTo>
                    <a:pt x="91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0" y="145"/>
                  </a:lnTo>
                  <a:lnTo>
                    <a:pt x="33" y="141"/>
                  </a:lnTo>
                  <a:lnTo>
                    <a:pt x="27" y="137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2" y="120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1"/>
                  </a:lnTo>
                  <a:lnTo>
                    <a:pt x="1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1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8"/>
                  </a:lnTo>
                  <a:lnTo>
                    <a:pt x="33" y="14"/>
                  </a:lnTo>
                  <a:lnTo>
                    <a:pt x="40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7"/>
                  </a:lnTo>
                  <a:lnTo>
                    <a:pt x="113" y="9"/>
                  </a:lnTo>
                  <a:lnTo>
                    <a:pt x="119" y="14"/>
                  </a:lnTo>
                  <a:lnTo>
                    <a:pt x="126" y="18"/>
                  </a:lnTo>
                  <a:lnTo>
                    <a:pt x="130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3" y="78"/>
                  </a:lnTo>
                  <a:lnTo>
                    <a:pt x="153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3" name="Freeform 3080"/>
            <p:cNvSpPr/>
            <p:nvPr/>
          </p:nvSpPr>
          <p:spPr bwMode="auto">
            <a:xfrm>
              <a:off x="3211513" y="5275263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9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1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4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7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4" name="Freeform 3081"/>
            <p:cNvSpPr/>
            <p:nvPr/>
          </p:nvSpPr>
          <p:spPr bwMode="auto">
            <a:xfrm>
              <a:off x="3281363" y="5275263"/>
              <a:ext cx="49213" cy="49213"/>
            </a:xfrm>
            <a:custGeom>
              <a:avLst/>
              <a:gdLst>
                <a:gd name="T0" fmla="*/ 155 w 155"/>
                <a:gd name="T1" fmla="*/ 78 h 154"/>
                <a:gd name="T2" fmla="*/ 154 w 155"/>
                <a:gd name="T3" fmla="*/ 93 h 154"/>
                <a:gd name="T4" fmla="*/ 149 w 155"/>
                <a:gd name="T5" fmla="*/ 107 h 154"/>
                <a:gd name="T6" fmla="*/ 142 w 155"/>
                <a:gd name="T7" fmla="*/ 120 h 154"/>
                <a:gd name="T8" fmla="*/ 132 w 155"/>
                <a:gd name="T9" fmla="*/ 131 h 154"/>
                <a:gd name="T10" fmla="*/ 120 w 155"/>
                <a:gd name="T11" fmla="*/ 141 h 154"/>
                <a:gd name="T12" fmla="*/ 108 w 155"/>
                <a:gd name="T13" fmla="*/ 149 h 154"/>
                <a:gd name="T14" fmla="*/ 93 w 155"/>
                <a:gd name="T15" fmla="*/ 153 h 154"/>
                <a:gd name="T16" fmla="*/ 78 w 155"/>
                <a:gd name="T17" fmla="*/ 154 h 154"/>
                <a:gd name="T18" fmla="*/ 70 w 155"/>
                <a:gd name="T19" fmla="*/ 154 h 154"/>
                <a:gd name="T20" fmla="*/ 55 w 155"/>
                <a:gd name="T21" fmla="*/ 151 h 154"/>
                <a:gd name="T22" fmla="*/ 41 w 155"/>
                <a:gd name="T23" fmla="*/ 145 h 154"/>
                <a:gd name="T24" fmla="*/ 29 w 155"/>
                <a:gd name="T25" fmla="*/ 137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1 h 154"/>
                <a:gd name="T32" fmla="*/ 1 w 155"/>
                <a:gd name="T33" fmla="*/ 86 h 154"/>
                <a:gd name="T34" fmla="*/ 0 w 155"/>
                <a:gd name="T35" fmla="*/ 78 h 154"/>
                <a:gd name="T36" fmla="*/ 2 w 155"/>
                <a:gd name="T37" fmla="*/ 62 h 154"/>
                <a:gd name="T38" fmla="*/ 7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4 h 154"/>
                <a:gd name="T46" fmla="*/ 48 w 155"/>
                <a:gd name="T47" fmla="*/ 7 h 154"/>
                <a:gd name="T48" fmla="*/ 62 w 155"/>
                <a:gd name="T49" fmla="*/ 2 h 154"/>
                <a:gd name="T50" fmla="*/ 78 w 155"/>
                <a:gd name="T51" fmla="*/ 0 h 154"/>
                <a:gd name="T52" fmla="*/ 86 w 155"/>
                <a:gd name="T53" fmla="*/ 1 h 154"/>
                <a:gd name="T54" fmla="*/ 101 w 155"/>
                <a:gd name="T55" fmla="*/ 3 h 154"/>
                <a:gd name="T56" fmla="*/ 115 w 155"/>
                <a:gd name="T57" fmla="*/ 9 h 154"/>
                <a:gd name="T58" fmla="*/ 127 w 155"/>
                <a:gd name="T59" fmla="*/ 18 h 154"/>
                <a:gd name="T60" fmla="*/ 138 w 155"/>
                <a:gd name="T61" fmla="*/ 28 h 154"/>
                <a:gd name="T62" fmla="*/ 146 w 155"/>
                <a:gd name="T63" fmla="*/ 41 h 154"/>
                <a:gd name="T64" fmla="*/ 151 w 155"/>
                <a:gd name="T65" fmla="*/ 55 h 154"/>
                <a:gd name="T66" fmla="*/ 155 w 155"/>
                <a:gd name="T67" fmla="*/ 70 h 154"/>
                <a:gd name="T68" fmla="*/ 155 w 155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8"/>
                  </a:moveTo>
                  <a:lnTo>
                    <a:pt x="155" y="78"/>
                  </a:lnTo>
                  <a:lnTo>
                    <a:pt x="155" y="86"/>
                  </a:lnTo>
                  <a:lnTo>
                    <a:pt x="154" y="93"/>
                  </a:lnTo>
                  <a:lnTo>
                    <a:pt x="151" y="101"/>
                  </a:lnTo>
                  <a:lnTo>
                    <a:pt x="149" y="107"/>
                  </a:lnTo>
                  <a:lnTo>
                    <a:pt x="146" y="114"/>
                  </a:lnTo>
                  <a:lnTo>
                    <a:pt x="142" y="120"/>
                  </a:lnTo>
                  <a:lnTo>
                    <a:pt x="138" y="126"/>
                  </a:lnTo>
                  <a:lnTo>
                    <a:pt x="132" y="131"/>
                  </a:lnTo>
                  <a:lnTo>
                    <a:pt x="127" y="137"/>
                  </a:lnTo>
                  <a:lnTo>
                    <a:pt x="120" y="141"/>
                  </a:lnTo>
                  <a:lnTo>
                    <a:pt x="115" y="145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6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8" y="149"/>
                  </a:lnTo>
                  <a:lnTo>
                    <a:pt x="41" y="145"/>
                  </a:lnTo>
                  <a:lnTo>
                    <a:pt x="35" y="141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7" y="107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7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5" y="9"/>
                  </a:lnTo>
                  <a:lnTo>
                    <a:pt x="120" y="14"/>
                  </a:lnTo>
                  <a:lnTo>
                    <a:pt x="127" y="18"/>
                  </a:lnTo>
                  <a:lnTo>
                    <a:pt x="132" y="23"/>
                  </a:lnTo>
                  <a:lnTo>
                    <a:pt x="138" y="28"/>
                  </a:lnTo>
                  <a:lnTo>
                    <a:pt x="142" y="34"/>
                  </a:lnTo>
                  <a:lnTo>
                    <a:pt x="146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4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5" name="Freeform 3082"/>
            <p:cNvSpPr/>
            <p:nvPr/>
          </p:nvSpPr>
          <p:spPr bwMode="auto">
            <a:xfrm>
              <a:off x="3492500" y="534670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3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1 w 155"/>
                <a:gd name="T11" fmla="*/ 141 h 153"/>
                <a:gd name="T12" fmla="*/ 108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2 w 155"/>
                <a:gd name="T37" fmla="*/ 61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2 h 153"/>
                <a:gd name="T44" fmla="*/ 35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4 h 153"/>
                <a:gd name="T66" fmla="*/ 154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5" y="144"/>
                  </a:lnTo>
                  <a:lnTo>
                    <a:pt x="108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5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6"/>
                  </a:lnTo>
                  <a:lnTo>
                    <a:pt x="115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6" name="Freeform 3083"/>
            <p:cNvSpPr/>
            <p:nvPr/>
          </p:nvSpPr>
          <p:spPr bwMode="auto">
            <a:xfrm>
              <a:off x="3352800" y="5413375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7" name="Freeform 3084"/>
            <p:cNvSpPr/>
            <p:nvPr/>
          </p:nvSpPr>
          <p:spPr bwMode="auto">
            <a:xfrm>
              <a:off x="3282950" y="5413375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8 w 154"/>
                <a:gd name="T51" fmla="*/ 0 h 154"/>
                <a:gd name="T52" fmla="*/ 86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8" name="Freeform 3085"/>
            <p:cNvSpPr/>
            <p:nvPr/>
          </p:nvSpPr>
          <p:spPr bwMode="auto">
            <a:xfrm>
              <a:off x="3211513" y="5346700"/>
              <a:ext cx="47625" cy="49213"/>
            </a:xfrm>
            <a:custGeom>
              <a:avLst/>
              <a:gdLst>
                <a:gd name="T0" fmla="*/ 154 w 154"/>
                <a:gd name="T1" fmla="*/ 77 h 153"/>
                <a:gd name="T2" fmla="*/ 153 w 154"/>
                <a:gd name="T3" fmla="*/ 93 h 153"/>
                <a:gd name="T4" fmla="*/ 148 w 154"/>
                <a:gd name="T5" fmla="*/ 106 h 153"/>
                <a:gd name="T6" fmla="*/ 141 w 154"/>
                <a:gd name="T7" fmla="*/ 120 h 153"/>
                <a:gd name="T8" fmla="*/ 132 w 154"/>
                <a:gd name="T9" fmla="*/ 132 h 153"/>
                <a:gd name="T10" fmla="*/ 121 w 154"/>
                <a:gd name="T11" fmla="*/ 141 h 153"/>
                <a:gd name="T12" fmla="*/ 107 w 154"/>
                <a:gd name="T13" fmla="*/ 148 h 153"/>
                <a:gd name="T14" fmla="*/ 93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4 w 154"/>
                <a:gd name="T31" fmla="*/ 100 h 153"/>
                <a:gd name="T32" fmla="*/ 0 w 154"/>
                <a:gd name="T33" fmla="*/ 85 h 153"/>
                <a:gd name="T34" fmla="*/ 0 w 154"/>
                <a:gd name="T35" fmla="*/ 77 h 153"/>
                <a:gd name="T36" fmla="*/ 2 w 154"/>
                <a:gd name="T37" fmla="*/ 61 h 153"/>
                <a:gd name="T38" fmla="*/ 6 w 154"/>
                <a:gd name="T39" fmla="*/ 47 h 153"/>
                <a:gd name="T40" fmla="*/ 13 w 154"/>
                <a:gd name="T41" fmla="*/ 33 h 153"/>
                <a:gd name="T42" fmla="*/ 23 w 154"/>
                <a:gd name="T43" fmla="*/ 22 h 153"/>
                <a:gd name="T44" fmla="*/ 35 w 154"/>
                <a:gd name="T45" fmla="*/ 13 h 153"/>
                <a:gd name="T46" fmla="*/ 47 w 154"/>
                <a:gd name="T47" fmla="*/ 6 h 153"/>
                <a:gd name="T48" fmla="*/ 62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0 w 154"/>
                <a:gd name="T65" fmla="*/ 54 h 153"/>
                <a:gd name="T66" fmla="*/ 154 w 154"/>
                <a:gd name="T67" fmla="*/ 69 h 153"/>
                <a:gd name="T68" fmla="*/ 154 w 154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100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19" name="Freeform 3086"/>
            <p:cNvSpPr/>
            <p:nvPr/>
          </p:nvSpPr>
          <p:spPr bwMode="auto">
            <a:xfrm>
              <a:off x="3279775" y="5346700"/>
              <a:ext cx="49213" cy="49213"/>
            </a:xfrm>
            <a:custGeom>
              <a:avLst/>
              <a:gdLst>
                <a:gd name="T0" fmla="*/ 155 w 155"/>
                <a:gd name="T1" fmla="*/ 77 h 153"/>
                <a:gd name="T2" fmla="*/ 152 w 155"/>
                <a:gd name="T3" fmla="*/ 93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2 h 153"/>
                <a:gd name="T10" fmla="*/ 120 w 155"/>
                <a:gd name="T11" fmla="*/ 141 h 153"/>
                <a:gd name="T12" fmla="*/ 106 w 155"/>
                <a:gd name="T13" fmla="*/ 148 h 153"/>
                <a:gd name="T14" fmla="*/ 93 w 155"/>
                <a:gd name="T15" fmla="*/ 152 h 153"/>
                <a:gd name="T16" fmla="*/ 77 w 155"/>
                <a:gd name="T17" fmla="*/ 153 h 153"/>
                <a:gd name="T18" fmla="*/ 69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8 w 155"/>
                <a:gd name="T25" fmla="*/ 136 h 153"/>
                <a:gd name="T26" fmla="*/ 17 w 155"/>
                <a:gd name="T27" fmla="*/ 126 h 153"/>
                <a:gd name="T28" fmla="*/ 9 w 155"/>
                <a:gd name="T29" fmla="*/ 113 h 153"/>
                <a:gd name="T30" fmla="*/ 3 w 155"/>
                <a:gd name="T31" fmla="*/ 100 h 153"/>
                <a:gd name="T32" fmla="*/ 0 w 155"/>
                <a:gd name="T33" fmla="*/ 85 h 153"/>
                <a:gd name="T34" fmla="*/ 0 w 155"/>
                <a:gd name="T35" fmla="*/ 77 h 153"/>
                <a:gd name="T36" fmla="*/ 1 w 155"/>
                <a:gd name="T37" fmla="*/ 61 h 153"/>
                <a:gd name="T38" fmla="*/ 6 w 155"/>
                <a:gd name="T39" fmla="*/ 47 h 153"/>
                <a:gd name="T40" fmla="*/ 13 w 155"/>
                <a:gd name="T41" fmla="*/ 33 h 153"/>
                <a:gd name="T42" fmla="*/ 23 w 155"/>
                <a:gd name="T43" fmla="*/ 22 h 153"/>
                <a:gd name="T44" fmla="*/ 34 w 155"/>
                <a:gd name="T45" fmla="*/ 13 h 153"/>
                <a:gd name="T46" fmla="*/ 47 w 155"/>
                <a:gd name="T47" fmla="*/ 6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3 w 155"/>
                <a:gd name="T57" fmla="*/ 9 h 153"/>
                <a:gd name="T58" fmla="*/ 126 w 155"/>
                <a:gd name="T59" fmla="*/ 17 h 153"/>
                <a:gd name="T60" fmla="*/ 136 w 155"/>
                <a:gd name="T61" fmla="*/ 27 h 153"/>
                <a:gd name="T62" fmla="*/ 145 w 155"/>
                <a:gd name="T63" fmla="*/ 40 h 153"/>
                <a:gd name="T64" fmla="*/ 151 w 155"/>
                <a:gd name="T65" fmla="*/ 54 h 153"/>
                <a:gd name="T66" fmla="*/ 153 w 155"/>
                <a:gd name="T67" fmla="*/ 69 h 153"/>
                <a:gd name="T68" fmla="*/ 155 w 155"/>
                <a:gd name="T6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7"/>
                  </a:moveTo>
                  <a:lnTo>
                    <a:pt x="155" y="77"/>
                  </a:lnTo>
                  <a:lnTo>
                    <a:pt x="153" y="85"/>
                  </a:lnTo>
                  <a:lnTo>
                    <a:pt x="152" y="93"/>
                  </a:lnTo>
                  <a:lnTo>
                    <a:pt x="151" y="100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3" y="144"/>
                  </a:lnTo>
                  <a:lnTo>
                    <a:pt x="106" y="148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8"/>
                  </a:lnTo>
                  <a:lnTo>
                    <a:pt x="40" y="144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3" y="132"/>
                  </a:lnTo>
                  <a:lnTo>
                    <a:pt x="17" y="126"/>
                  </a:lnTo>
                  <a:lnTo>
                    <a:pt x="13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100"/>
                  </a:lnTo>
                  <a:lnTo>
                    <a:pt x="1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1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9" y="4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0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6" y="6"/>
                  </a:lnTo>
                  <a:lnTo>
                    <a:pt x="113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6" y="27"/>
                  </a:lnTo>
                  <a:lnTo>
                    <a:pt x="141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4"/>
                  </a:lnTo>
                  <a:lnTo>
                    <a:pt x="152" y="61"/>
                  </a:lnTo>
                  <a:lnTo>
                    <a:pt x="153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0" name="Freeform 3087"/>
            <p:cNvSpPr/>
            <p:nvPr/>
          </p:nvSpPr>
          <p:spPr bwMode="auto">
            <a:xfrm>
              <a:off x="3211513" y="5413375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5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6 w 154"/>
                <a:gd name="T39" fmla="*/ 46 h 154"/>
                <a:gd name="T40" fmla="*/ 13 w 154"/>
                <a:gd name="T41" fmla="*/ 34 h 154"/>
                <a:gd name="T42" fmla="*/ 23 w 154"/>
                <a:gd name="T43" fmla="*/ 22 h 154"/>
                <a:gd name="T44" fmla="*/ 35 w 154"/>
                <a:gd name="T45" fmla="*/ 13 h 154"/>
                <a:gd name="T46" fmla="*/ 47 w 154"/>
                <a:gd name="T47" fmla="*/ 5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0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1"/>
                  </a:lnTo>
                  <a:lnTo>
                    <a:pt x="4" y="53"/>
                  </a:lnTo>
                  <a:lnTo>
                    <a:pt x="6" y="46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8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1" name="Freeform 3088"/>
            <p:cNvSpPr/>
            <p:nvPr/>
          </p:nvSpPr>
          <p:spPr bwMode="auto">
            <a:xfrm>
              <a:off x="3211513" y="5480050"/>
              <a:ext cx="47625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8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4 h 154"/>
                <a:gd name="T34" fmla="*/ 0 w 154"/>
                <a:gd name="T35" fmla="*/ 76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1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2" name="Freeform 3089"/>
            <p:cNvSpPr/>
            <p:nvPr/>
          </p:nvSpPr>
          <p:spPr bwMode="auto">
            <a:xfrm>
              <a:off x="3211513" y="5549900"/>
              <a:ext cx="47625" cy="49213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4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1 w 154"/>
                <a:gd name="T11" fmla="*/ 142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69 w 154"/>
                <a:gd name="T19" fmla="*/ 154 h 154"/>
                <a:gd name="T20" fmla="*/ 54 w 154"/>
                <a:gd name="T21" fmla="*/ 151 h 154"/>
                <a:gd name="T22" fmla="*/ 41 w 154"/>
                <a:gd name="T23" fmla="*/ 145 h 154"/>
                <a:gd name="T24" fmla="*/ 28 w 154"/>
                <a:gd name="T25" fmla="*/ 137 h 154"/>
                <a:gd name="T26" fmla="*/ 18 w 154"/>
                <a:gd name="T27" fmla="*/ 127 h 154"/>
                <a:gd name="T28" fmla="*/ 10 w 154"/>
                <a:gd name="T29" fmla="*/ 114 h 154"/>
                <a:gd name="T30" fmla="*/ 4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3 w 154"/>
                <a:gd name="T41" fmla="*/ 34 h 154"/>
                <a:gd name="T42" fmla="*/ 22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1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100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1 h 154"/>
                <a:gd name="T64" fmla="*/ 150 w 154"/>
                <a:gd name="T65" fmla="*/ 55 h 154"/>
                <a:gd name="T66" fmla="*/ 154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4"/>
                  </a:lnTo>
                  <a:lnTo>
                    <a:pt x="150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2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4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2"/>
                  </a:lnTo>
                  <a:lnTo>
                    <a:pt x="28" y="137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1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4"/>
                  </a:lnTo>
                  <a:lnTo>
                    <a:pt x="18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3" name="Freeform 3090"/>
            <p:cNvSpPr/>
            <p:nvPr/>
          </p:nvSpPr>
          <p:spPr bwMode="auto">
            <a:xfrm>
              <a:off x="3211513" y="5621338"/>
              <a:ext cx="47625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8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1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7 w 154"/>
                <a:gd name="T17" fmla="*/ 154 h 154"/>
                <a:gd name="T18" fmla="*/ 69 w 154"/>
                <a:gd name="T19" fmla="*/ 153 h 154"/>
                <a:gd name="T20" fmla="*/ 54 w 154"/>
                <a:gd name="T21" fmla="*/ 151 h 154"/>
                <a:gd name="T22" fmla="*/ 41 w 154"/>
                <a:gd name="T23" fmla="*/ 144 h 154"/>
                <a:gd name="T24" fmla="*/ 28 w 154"/>
                <a:gd name="T25" fmla="*/ 136 h 154"/>
                <a:gd name="T26" fmla="*/ 18 w 154"/>
                <a:gd name="T27" fmla="*/ 126 h 154"/>
                <a:gd name="T28" fmla="*/ 10 w 154"/>
                <a:gd name="T29" fmla="*/ 113 h 154"/>
                <a:gd name="T30" fmla="*/ 4 w 154"/>
                <a:gd name="T31" fmla="*/ 99 h 154"/>
                <a:gd name="T32" fmla="*/ 0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6 w 154"/>
                <a:gd name="T39" fmla="*/ 47 h 154"/>
                <a:gd name="T40" fmla="*/ 13 w 154"/>
                <a:gd name="T41" fmla="*/ 34 h 154"/>
                <a:gd name="T42" fmla="*/ 23 w 154"/>
                <a:gd name="T43" fmla="*/ 23 h 154"/>
                <a:gd name="T44" fmla="*/ 35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7 w 154"/>
                <a:gd name="T51" fmla="*/ 0 h 154"/>
                <a:gd name="T52" fmla="*/ 85 w 154"/>
                <a:gd name="T53" fmla="*/ 0 h 154"/>
                <a:gd name="T54" fmla="*/ 100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0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5" y="141"/>
                  </a:lnTo>
                  <a:lnTo>
                    <a:pt x="28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8" y="17"/>
                  </a:lnTo>
                  <a:lnTo>
                    <a:pt x="35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0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4" name="Freeform 3091"/>
            <p:cNvSpPr/>
            <p:nvPr/>
          </p:nvSpPr>
          <p:spPr bwMode="auto">
            <a:xfrm>
              <a:off x="3282950" y="5549900"/>
              <a:ext cx="49213" cy="49213"/>
            </a:xfrm>
            <a:custGeom>
              <a:avLst/>
              <a:gdLst>
                <a:gd name="T0" fmla="*/ 154 w 154"/>
                <a:gd name="T1" fmla="*/ 78 h 154"/>
                <a:gd name="T2" fmla="*/ 152 w 154"/>
                <a:gd name="T3" fmla="*/ 94 h 154"/>
                <a:gd name="T4" fmla="*/ 148 w 154"/>
                <a:gd name="T5" fmla="*/ 107 h 154"/>
                <a:gd name="T6" fmla="*/ 141 w 154"/>
                <a:gd name="T7" fmla="*/ 121 h 154"/>
                <a:gd name="T8" fmla="*/ 132 w 154"/>
                <a:gd name="T9" fmla="*/ 132 h 154"/>
                <a:gd name="T10" fmla="*/ 120 w 154"/>
                <a:gd name="T11" fmla="*/ 142 h 154"/>
                <a:gd name="T12" fmla="*/ 107 w 154"/>
                <a:gd name="T13" fmla="*/ 148 h 154"/>
                <a:gd name="T14" fmla="*/ 93 w 154"/>
                <a:gd name="T15" fmla="*/ 153 h 154"/>
                <a:gd name="T16" fmla="*/ 77 w 154"/>
                <a:gd name="T17" fmla="*/ 154 h 154"/>
                <a:gd name="T18" fmla="*/ 70 w 154"/>
                <a:gd name="T19" fmla="*/ 154 h 154"/>
                <a:gd name="T20" fmla="*/ 54 w 154"/>
                <a:gd name="T21" fmla="*/ 151 h 154"/>
                <a:gd name="T22" fmla="*/ 40 w 154"/>
                <a:gd name="T23" fmla="*/ 145 h 154"/>
                <a:gd name="T24" fmla="*/ 29 w 154"/>
                <a:gd name="T25" fmla="*/ 137 h 154"/>
                <a:gd name="T26" fmla="*/ 18 w 154"/>
                <a:gd name="T27" fmla="*/ 127 h 154"/>
                <a:gd name="T28" fmla="*/ 9 w 154"/>
                <a:gd name="T29" fmla="*/ 114 h 154"/>
                <a:gd name="T30" fmla="*/ 3 w 154"/>
                <a:gd name="T31" fmla="*/ 100 h 154"/>
                <a:gd name="T32" fmla="*/ 0 w 154"/>
                <a:gd name="T33" fmla="*/ 86 h 154"/>
                <a:gd name="T34" fmla="*/ 0 w 154"/>
                <a:gd name="T35" fmla="*/ 78 h 154"/>
                <a:gd name="T36" fmla="*/ 2 w 154"/>
                <a:gd name="T37" fmla="*/ 62 h 154"/>
                <a:gd name="T38" fmla="*/ 6 w 154"/>
                <a:gd name="T39" fmla="*/ 48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3 h 154"/>
                <a:gd name="T46" fmla="*/ 47 w 154"/>
                <a:gd name="T47" fmla="*/ 7 h 154"/>
                <a:gd name="T48" fmla="*/ 62 w 154"/>
                <a:gd name="T49" fmla="*/ 2 h 154"/>
                <a:gd name="T50" fmla="*/ 77 w 154"/>
                <a:gd name="T51" fmla="*/ 0 h 154"/>
                <a:gd name="T52" fmla="*/ 85 w 154"/>
                <a:gd name="T53" fmla="*/ 1 h 154"/>
                <a:gd name="T54" fmla="*/ 99 w 154"/>
                <a:gd name="T55" fmla="*/ 4 h 154"/>
                <a:gd name="T56" fmla="*/ 114 w 154"/>
                <a:gd name="T57" fmla="*/ 10 h 154"/>
                <a:gd name="T58" fmla="*/ 126 w 154"/>
                <a:gd name="T59" fmla="*/ 18 h 154"/>
                <a:gd name="T60" fmla="*/ 136 w 154"/>
                <a:gd name="T61" fmla="*/ 28 h 154"/>
                <a:gd name="T62" fmla="*/ 145 w 154"/>
                <a:gd name="T63" fmla="*/ 41 h 154"/>
                <a:gd name="T64" fmla="*/ 151 w 154"/>
                <a:gd name="T65" fmla="*/ 55 h 154"/>
                <a:gd name="T66" fmla="*/ 153 w 154"/>
                <a:gd name="T67" fmla="*/ 70 h 154"/>
                <a:gd name="T68" fmla="*/ 154 w 154"/>
                <a:gd name="T69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4" y="78"/>
                  </a:lnTo>
                  <a:lnTo>
                    <a:pt x="153" y="86"/>
                  </a:lnTo>
                  <a:lnTo>
                    <a:pt x="152" y="94"/>
                  </a:lnTo>
                  <a:lnTo>
                    <a:pt x="151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6" y="127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2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99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0" y="145"/>
                  </a:lnTo>
                  <a:lnTo>
                    <a:pt x="34" y="142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6" y="107"/>
                  </a:lnTo>
                  <a:lnTo>
                    <a:pt x="3" y="100"/>
                  </a:lnTo>
                  <a:lnTo>
                    <a:pt x="2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9" y="41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99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5" y="41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3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5" name="Freeform 3092"/>
            <p:cNvSpPr/>
            <p:nvPr/>
          </p:nvSpPr>
          <p:spPr bwMode="auto">
            <a:xfrm>
              <a:off x="3282950" y="5621338"/>
              <a:ext cx="49213" cy="49213"/>
            </a:xfrm>
            <a:custGeom>
              <a:avLst/>
              <a:gdLst>
                <a:gd name="T0" fmla="*/ 154 w 154"/>
                <a:gd name="T1" fmla="*/ 77 h 154"/>
                <a:gd name="T2" fmla="*/ 153 w 154"/>
                <a:gd name="T3" fmla="*/ 93 h 154"/>
                <a:gd name="T4" fmla="*/ 149 w 154"/>
                <a:gd name="T5" fmla="*/ 106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1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5 h 154"/>
                <a:gd name="T34" fmla="*/ 0 w 154"/>
                <a:gd name="T35" fmla="*/ 77 h 154"/>
                <a:gd name="T36" fmla="*/ 2 w 154"/>
                <a:gd name="T37" fmla="*/ 62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6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7 h 154"/>
                <a:gd name="T62" fmla="*/ 145 w 154"/>
                <a:gd name="T63" fmla="*/ 40 h 154"/>
                <a:gd name="T64" fmla="*/ 151 w 154"/>
                <a:gd name="T65" fmla="*/ 54 h 154"/>
                <a:gd name="T66" fmla="*/ 154 w 154"/>
                <a:gd name="T67" fmla="*/ 69 h 154"/>
                <a:gd name="T68" fmla="*/ 154 w 154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6" name="Freeform 3093"/>
            <p:cNvSpPr/>
            <p:nvPr/>
          </p:nvSpPr>
          <p:spPr bwMode="auto">
            <a:xfrm>
              <a:off x="3211513" y="5688013"/>
              <a:ext cx="47625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1 w 154"/>
                <a:gd name="T11" fmla="*/ 141 h 155"/>
                <a:gd name="T12" fmla="*/ 107 w 154"/>
                <a:gd name="T13" fmla="*/ 149 h 155"/>
                <a:gd name="T14" fmla="*/ 93 w 154"/>
                <a:gd name="T15" fmla="*/ 153 h 155"/>
                <a:gd name="T16" fmla="*/ 77 w 154"/>
                <a:gd name="T17" fmla="*/ 155 h 155"/>
                <a:gd name="T18" fmla="*/ 69 w 154"/>
                <a:gd name="T19" fmla="*/ 154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7 h 155"/>
                <a:gd name="T26" fmla="*/ 18 w 154"/>
                <a:gd name="T27" fmla="*/ 126 h 155"/>
                <a:gd name="T28" fmla="*/ 10 w 154"/>
                <a:gd name="T29" fmla="*/ 115 h 155"/>
                <a:gd name="T30" fmla="*/ 4 w 154"/>
                <a:gd name="T31" fmla="*/ 101 h 155"/>
                <a:gd name="T32" fmla="*/ 0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7 h 155"/>
                <a:gd name="T40" fmla="*/ 13 w 154"/>
                <a:gd name="T41" fmla="*/ 35 h 155"/>
                <a:gd name="T42" fmla="*/ 23 w 154"/>
                <a:gd name="T43" fmla="*/ 23 h 155"/>
                <a:gd name="T44" fmla="*/ 35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0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0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1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4"/>
                  </a:lnTo>
                  <a:lnTo>
                    <a:pt x="62" y="153"/>
                  </a:lnTo>
                  <a:lnTo>
                    <a:pt x="54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5" y="141"/>
                  </a:lnTo>
                  <a:lnTo>
                    <a:pt x="28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4" y="101"/>
                  </a:lnTo>
                  <a:lnTo>
                    <a:pt x="2" y="93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1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8" y="47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7" name="Freeform 3094"/>
            <p:cNvSpPr/>
            <p:nvPr/>
          </p:nvSpPr>
          <p:spPr bwMode="auto">
            <a:xfrm>
              <a:off x="3279775" y="5688013"/>
              <a:ext cx="49213" cy="49213"/>
            </a:xfrm>
            <a:custGeom>
              <a:avLst/>
              <a:gdLst>
                <a:gd name="T0" fmla="*/ 155 w 155"/>
                <a:gd name="T1" fmla="*/ 78 h 155"/>
                <a:gd name="T2" fmla="*/ 153 w 155"/>
                <a:gd name="T3" fmla="*/ 93 h 155"/>
                <a:gd name="T4" fmla="*/ 149 w 155"/>
                <a:gd name="T5" fmla="*/ 108 h 155"/>
                <a:gd name="T6" fmla="*/ 141 w 155"/>
                <a:gd name="T7" fmla="*/ 121 h 155"/>
                <a:gd name="T8" fmla="*/ 132 w 155"/>
                <a:gd name="T9" fmla="*/ 132 h 155"/>
                <a:gd name="T10" fmla="*/ 120 w 155"/>
                <a:gd name="T11" fmla="*/ 141 h 155"/>
                <a:gd name="T12" fmla="*/ 108 w 155"/>
                <a:gd name="T13" fmla="*/ 149 h 155"/>
                <a:gd name="T14" fmla="*/ 93 w 155"/>
                <a:gd name="T15" fmla="*/ 153 h 155"/>
                <a:gd name="T16" fmla="*/ 78 w 155"/>
                <a:gd name="T17" fmla="*/ 155 h 155"/>
                <a:gd name="T18" fmla="*/ 70 w 155"/>
                <a:gd name="T19" fmla="*/ 154 h 155"/>
                <a:gd name="T20" fmla="*/ 55 w 155"/>
                <a:gd name="T21" fmla="*/ 151 h 155"/>
                <a:gd name="T22" fmla="*/ 40 w 155"/>
                <a:gd name="T23" fmla="*/ 146 h 155"/>
                <a:gd name="T24" fmla="*/ 29 w 155"/>
                <a:gd name="T25" fmla="*/ 137 h 155"/>
                <a:gd name="T26" fmla="*/ 18 w 155"/>
                <a:gd name="T27" fmla="*/ 126 h 155"/>
                <a:gd name="T28" fmla="*/ 9 w 155"/>
                <a:gd name="T29" fmla="*/ 115 h 155"/>
                <a:gd name="T30" fmla="*/ 3 w 155"/>
                <a:gd name="T31" fmla="*/ 101 h 155"/>
                <a:gd name="T32" fmla="*/ 1 w 155"/>
                <a:gd name="T33" fmla="*/ 85 h 155"/>
                <a:gd name="T34" fmla="*/ 0 w 155"/>
                <a:gd name="T35" fmla="*/ 78 h 155"/>
                <a:gd name="T36" fmla="*/ 2 w 155"/>
                <a:gd name="T37" fmla="*/ 62 h 155"/>
                <a:gd name="T38" fmla="*/ 6 w 155"/>
                <a:gd name="T39" fmla="*/ 47 h 155"/>
                <a:gd name="T40" fmla="*/ 14 w 155"/>
                <a:gd name="T41" fmla="*/ 35 h 155"/>
                <a:gd name="T42" fmla="*/ 23 w 155"/>
                <a:gd name="T43" fmla="*/ 23 h 155"/>
                <a:gd name="T44" fmla="*/ 34 w 155"/>
                <a:gd name="T45" fmla="*/ 14 h 155"/>
                <a:gd name="T46" fmla="*/ 47 w 155"/>
                <a:gd name="T47" fmla="*/ 7 h 155"/>
                <a:gd name="T48" fmla="*/ 62 w 155"/>
                <a:gd name="T49" fmla="*/ 3 h 155"/>
                <a:gd name="T50" fmla="*/ 78 w 155"/>
                <a:gd name="T51" fmla="*/ 0 h 155"/>
                <a:gd name="T52" fmla="*/ 85 w 155"/>
                <a:gd name="T53" fmla="*/ 2 h 155"/>
                <a:gd name="T54" fmla="*/ 101 w 155"/>
                <a:gd name="T55" fmla="*/ 4 h 155"/>
                <a:gd name="T56" fmla="*/ 114 w 155"/>
                <a:gd name="T57" fmla="*/ 10 h 155"/>
                <a:gd name="T58" fmla="*/ 126 w 155"/>
                <a:gd name="T59" fmla="*/ 19 h 155"/>
                <a:gd name="T60" fmla="*/ 136 w 155"/>
                <a:gd name="T61" fmla="*/ 29 h 155"/>
                <a:gd name="T62" fmla="*/ 145 w 155"/>
                <a:gd name="T63" fmla="*/ 42 h 155"/>
                <a:gd name="T64" fmla="*/ 151 w 155"/>
                <a:gd name="T65" fmla="*/ 55 h 155"/>
                <a:gd name="T66" fmla="*/ 155 w 155"/>
                <a:gd name="T67" fmla="*/ 70 h 155"/>
                <a:gd name="T68" fmla="*/ 155 w 155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155" y="78"/>
                  </a:moveTo>
                  <a:lnTo>
                    <a:pt x="155" y="78"/>
                  </a:lnTo>
                  <a:lnTo>
                    <a:pt x="155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6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8" y="149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0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7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0" y="10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8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6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5" y="70"/>
                  </a:lnTo>
                  <a:lnTo>
                    <a:pt x="155" y="78"/>
                  </a:lnTo>
                  <a:lnTo>
                    <a:pt x="15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8" name="Freeform 3095"/>
            <p:cNvSpPr/>
            <p:nvPr/>
          </p:nvSpPr>
          <p:spPr bwMode="auto">
            <a:xfrm>
              <a:off x="3141663" y="5413375"/>
              <a:ext cx="49213" cy="49213"/>
            </a:xfrm>
            <a:custGeom>
              <a:avLst/>
              <a:gdLst>
                <a:gd name="T0" fmla="*/ 153 w 153"/>
                <a:gd name="T1" fmla="*/ 76 h 154"/>
                <a:gd name="T2" fmla="*/ 152 w 153"/>
                <a:gd name="T3" fmla="*/ 92 h 154"/>
                <a:gd name="T4" fmla="*/ 148 w 153"/>
                <a:gd name="T5" fmla="*/ 106 h 154"/>
                <a:gd name="T6" fmla="*/ 141 w 153"/>
                <a:gd name="T7" fmla="*/ 120 h 154"/>
                <a:gd name="T8" fmla="*/ 130 w 153"/>
                <a:gd name="T9" fmla="*/ 131 h 154"/>
                <a:gd name="T10" fmla="*/ 119 w 153"/>
                <a:gd name="T11" fmla="*/ 140 h 154"/>
                <a:gd name="T12" fmla="*/ 106 w 153"/>
                <a:gd name="T13" fmla="*/ 147 h 154"/>
                <a:gd name="T14" fmla="*/ 91 w 153"/>
                <a:gd name="T15" fmla="*/ 152 h 154"/>
                <a:gd name="T16" fmla="*/ 77 w 153"/>
                <a:gd name="T17" fmla="*/ 154 h 154"/>
                <a:gd name="T18" fmla="*/ 69 w 153"/>
                <a:gd name="T19" fmla="*/ 153 h 154"/>
                <a:gd name="T20" fmla="*/ 54 w 153"/>
                <a:gd name="T21" fmla="*/ 151 h 154"/>
                <a:gd name="T22" fmla="*/ 40 w 153"/>
                <a:gd name="T23" fmla="*/ 144 h 154"/>
                <a:gd name="T24" fmla="*/ 27 w 153"/>
                <a:gd name="T25" fmla="*/ 136 h 154"/>
                <a:gd name="T26" fmla="*/ 17 w 153"/>
                <a:gd name="T27" fmla="*/ 125 h 154"/>
                <a:gd name="T28" fmla="*/ 9 w 153"/>
                <a:gd name="T29" fmla="*/ 113 h 154"/>
                <a:gd name="T30" fmla="*/ 3 w 153"/>
                <a:gd name="T31" fmla="*/ 99 h 154"/>
                <a:gd name="T32" fmla="*/ 0 w 153"/>
                <a:gd name="T33" fmla="*/ 84 h 154"/>
                <a:gd name="T34" fmla="*/ 0 w 153"/>
                <a:gd name="T35" fmla="*/ 76 h 154"/>
                <a:gd name="T36" fmla="*/ 1 w 153"/>
                <a:gd name="T37" fmla="*/ 61 h 154"/>
                <a:gd name="T38" fmla="*/ 6 w 153"/>
                <a:gd name="T39" fmla="*/ 46 h 154"/>
                <a:gd name="T40" fmla="*/ 12 w 153"/>
                <a:gd name="T41" fmla="*/ 34 h 154"/>
                <a:gd name="T42" fmla="*/ 22 w 153"/>
                <a:gd name="T43" fmla="*/ 22 h 154"/>
                <a:gd name="T44" fmla="*/ 33 w 153"/>
                <a:gd name="T45" fmla="*/ 13 h 154"/>
                <a:gd name="T46" fmla="*/ 47 w 153"/>
                <a:gd name="T47" fmla="*/ 5 h 154"/>
                <a:gd name="T48" fmla="*/ 61 w 153"/>
                <a:gd name="T49" fmla="*/ 2 h 154"/>
                <a:gd name="T50" fmla="*/ 77 w 153"/>
                <a:gd name="T51" fmla="*/ 0 h 154"/>
                <a:gd name="T52" fmla="*/ 85 w 153"/>
                <a:gd name="T53" fmla="*/ 1 h 154"/>
                <a:gd name="T54" fmla="*/ 99 w 153"/>
                <a:gd name="T55" fmla="*/ 3 h 154"/>
                <a:gd name="T56" fmla="*/ 113 w 153"/>
                <a:gd name="T57" fmla="*/ 9 h 154"/>
                <a:gd name="T58" fmla="*/ 126 w 153"/>
                <a:gd name="T59" fmla="*/ 17 h 154"/>
                <a:gd name="T60" fmla="*/ 136 w 153"/>
                <a:gd name="T61" fmla="*/ 28 h 154"/>
                <a:gd name="T62" fmla="*/ 144 w 153"/>
                <a:gd name="T63" fmla="*/ 40 h 154"/>
                <a:gd name="T64" fmla="*/ 150 w 153"/>
                <a:gd name="T65" fmla="*/ 53 h 154"/>
                <a:gd name="T66" fmla="*/ 153 w 153"/>
                <a:gd name="T67" fmla="*/ 68 h 154"/>
                <a:gd name="T68" fmla="*/ 153 w 153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154">
                  <a:moveTo>
                    <a:pt x="153" y="76"/>
                  </a:moveTo>
                  <a:lnTo>
                    <a:pt x="153" y="76"/>
                  </a:lnTo>
                  <a:lnTo>
                    <a:pt x="153" y="84"/>
                  </a:lnTo>
                  <a:lnTo>
                    <a:pt x="152" y="92"/>
                  </a:lnTo>
                  <a:lnTo>
                    <a:pt x="150" y="99"/>
                  </a:lnTo>
                  <a:lnTo>
                    <a:pt x="148" y="106"/>
                  </a:lnTo>
                  <a:lnTo>
                    <a:pt x="144" y="113"/>
                  </a:lnTo>
                  <a:lnTo>
                    <a:pt x="141" y="120"/>
                  </a:lnTo>
                  <a:lnTo>
                    <a:pt x="136" y="125"/>
                  </a:lnTo>
                  <a:lnTo>
                    <a:pt x="130" y="131"/>
                  </a:lnTo>
                  <a:lnTo>
                    <a:pt x="126" y="136"/>
                  </a:lnTo>
                  <a:lnTo>
                    <a:pt x="119" y="140"/>
                  </a:lnTo>
                  <a:lnTo>
                    <a:pt x="113" y="144"/>
                  </a:lnTo>
                  <a:lnTo>
                    <a:pt x="106" y="147"/>
                  </a:lnTo>
                  <a:lnTo>
                    <a:pt x="99" y="151"/>
                  </a:lnTo>
                  <a:lnTo>
                    <a:pt x="91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1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2" y="131"/>
                  </a:lnTo>
                  <a:lnTo>
                    <a:pt x="17" y="125"/>
                  </a:lnTo>
                  <a:lnTo>
                    <a:pt x="12" y="120"/>
                  </a:lnTo>
                  <a:lnTo>
                    <a:pt x="9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1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3" y="53"/>
                  </a:lnTo>
                  <a:lnTo>
                    <a:pt x="6" y="46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7" y="28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1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1" y="2"/>
                  </a:lnTo>
                  <a:lnTo>
                    <a:pt x="99" y="3"/>
                  </a:lnTo>
                  <a:lnTo>
                    <a:pt x="106" y="5"/>
                  </a:lnTo>
                  <a:lnTo>
                    <a:pt x="113" y="9"/>
                  </a:lnTo>
                  <a:lnTo>
                    <a:pt x="119" y="13"/>
                  </a:lnTo>
                  <a:lnTo>
                    <a:pt x="126" y="17"/>
                  </a:lnTo>
                  <a:lnTo>
                    <a:pt x="130" y="22"/>
                  </a:lnTo>
                  <a:lnTo>
                    <a:pt x="136" y="28"/>
                  </a:lnTo>
                  <a:lnTo>
                    <a:pt x="141" y="34"/>
                  </a:lnTo>
                  <a:lnTo>
                    <a:pt x="144" y="40"/>
                  </a:lnTo>
                  <a:lnTo>
                    <a:pt x="148" y="46"/>
                  </a:lnTo>
                  <a:lnTo>
                    <a:pt x="150" y="53"/>
                  </a:lnTo>
                  <a:lnTo>
                    <a:pt x="152" y="61"/>
                  </a:lnTo>
                  <a:lnTo>
                    <a:pt x="153" y="68"/>
                  </a:lnTo>
                  <a:lnTo>
                    <a:pt x="153" y="76"/>
                  </a:lnTo>
                  <a:lnTo>
                    <a:pt x="15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29" name="Freeform 3096"/>
            <p:cNvSpPr/>
            <p:nvPr/>
          </p:nvSpPr>
          <p:spPr bwMode="auto">
            <a:xfrm>
              <a:off x="3352800" y="54832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3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2 h 155"/>
                <a:gd name="T22" fmla="*/ 41 w 154"/>
                <a:gd name="T23" fmla="*/ 146 h 155"/>
                <a:gd name="T24" fmla="*/ 29 w 154"/>
                <a:gd name="T25" fmla="*/ 138 h 155"/>
                <a:gd name="T26" fmla="*/ 18 w 154"/>
                <a:gd name="T27" fmla="*/ 128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9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2 h 155"/>
                <a:gd name="T54" fmla="*/ 101 w 154"/>
                <a:gd name="T55" fmla="*/ 4 h 155"/>
                <a:gd name="T56" fmla="*/ 114 w 154"/>
                <a:gd name="T57" fmla="*/ 11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1"/>
                  </a:lnTo>
                  <a:lnTo>
                    <a:pt x="137" y="128"/>
                  </a:lnTo>
                  <a:lnTo>
                    <a:pt x="132" y="132"/>
                  </a:lnTo>
                  <a:lnTo>
                    <a:pt x="126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2"/>
                  </a:lnTo>
                  <a:lnTo>
                    <a:pt x="93" y="154"/>
                  </a:lnTo>
                  <a:lnTo>
                    <a:pt x="85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2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9" y="138"/>
                  </a:lnTo>
                  <a:lnTo>
                    <a:pt x="23" y="132"/>
                  </a:lnTo>
                  <a:lnTo>
                    <a:pt x="18" y="128"/>
                  </a:lnTo>
                  <a:lnTo>
                    <a:pt x="14" y="121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9"/>
                  </a:lnTo>
                  <a:lnTo>
                    <a:pt x="9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2"/>
                  </a:lnTo>
                  <a:lnTo>
                    <a:pt x="149" y="49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0" name="Freeform 3097"/>
            <p:cNvSpPr/>
            <p:nvPr/>
          </p:nvSpPr>
          <p:spPr bwMode="auto">
            <a:xfrm>
              <a:off x="3287713" y="5483225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2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8 w 154"/>
                <a:gd name="T17" fmla="*/ 155 h 155"/>
                <a:gd name="T18" fmla="*/ 70 w 154"/>
                <a:gd name="T19" fmla="*/ 155 h 155"/>
                <a:gd name="T20" fmla="*/ 55 w 154"/>
                <a:gd name="T21" fmla="*/ 152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8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9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8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6 w 154"/>
                <a:gd name="T53" fmla="*/ 2 h 155"/>
                <a:gd name="T54" fmla="*/ 100 w 154"/>
                <a:gd name="T55" fmla="*/ 4 h 155"/>
                <a:gd name="T56" fmla="*/ 114 w 154"/>
                <a:gd name="T57" fmla="*/ 11 h 155"/>
                <a:gd name="T58" fmla="*/ 127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2" y="121"/>
                  </a:lnTo>
                  <a:lnTo>
                    <a:pt x="137" y="128"/>
                  </a:lnTo>
                  <a:lnTo>
                    <a:pt x="131" y="132"/>
                  </a:lnTo>
                  <a:lnTo>
                    <a:pt x="127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2"/>
                  </a:lnTo>
                  <a:lnTo>
                    <a:pt x="92" y="154"/>
                  </a:lnTo>
                  <a:lnTo>
                    <a:pt x="86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5"/>
                  </a:lnTo>
                  <a:lnTo>
                    <a:pt x="62" y="154"/>
                  </a:lnTo>
                  <a:lnTo>
                    <a:pt x="55" y="152"/>
                  </a:lnTo>
                  <a:lnTo>
                    <a:pt x="48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3" y="132"/>
                  </a:lnTo>
                  <a:lnTo>
                    <a:pt x="18" y="128"/>
                  </a:lnTo>
                  <a:lnTo>
                    <a:pt x="14" y="121"/>
                  </a:lnTo>
                  <a:lnTo>
                    <a:pt x="10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9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1"/>
                  </a:lnTo>
                  <a:lnTo>
                    <a:pt x="120" y="14"/>
                  </a:lnTo>
                  <a:lnTo>
                    <a:pt x="127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2" y="35"/>
                  </a:lnTo>
                  <a:lnTo>
                    <a:pt x="145" y="42"/>
                  </a:lnTo>
                  <a:lnTo>
                    <a:pt x="149" y="49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1" name="Freeform 3098"/>
            <p:cNvSpPr/>
            <p:nvPr/>
          </p:nvSpPr>
          <p:spPr bwMode="auto">
            <a:xfrm>
              <a:off x="3140075" y="5343525"/>
              <a:ext cx="49213" cy="49213"/>
            </a:xfrm>
            <a:custGeom>
              <a:avLst/>
              <a:gdLst>
                <a:gd name="T0" fmla="*/ 155 w 155"/>
                <a:gd name="T1" fmla="*/ 77 h 154"/>
                <a:gd name="T2" fmla="*/ 153 w 155"/>
                <a:gd name="T3" fmla="*/ 92 h 154"/>
                <a:gd name="T4" fmla="*/ 148 w 155"/>
                <a:gd name="T5" fmla="*/ 107 h 154"/>
                <a:gd name="T6" fmla="*/ 141 w 155"/>
                <a:gd name="T7" fmla="*/ 120 h 154"/>
                <a:gd name="T8" fmla="*/ 132 w 155"/>
                <a:gd name="T9" fmla="*/ 131 h 154"/>
                <a:gd name="T10" fmla="*/ 121 w 155"/>
                <a:gd name="T11" fmla="*/ 140 h 154"/>
                <a:gd name="T12" fmla="*/ 107 w 155"/>
                <a:gd name="T13" fmla="*/ 148 h 154"/>
                <a:gd name="T14" fmla="*/ 93 w 155"/>
                <a:gd name="T15" fmla="*/ 152 h 154"/>
                <a:gd name="T16" fmla="*/ 77 w 155"/>
                <a:gd name="T17" fmla="*/ 154 h 154"/>
                <a:gd name="T18" fmla="*/ 69 w 155"/>
                <a:gd name="T19" fmla="*/ 153 h 154"/>
                <a:gd name="T20" fmla="*/ 54 w 155"/>
                <a:gd name="T21" fmla="*/ 151 h 154"/>
                <a:gd name="T22" fmla="*/ 41 w 155"/>
                <a:gd name="T23" fmla="*/ 145 h 154"/>
                <a:gd name="T24" fmla="*/ 29 w 155"/>
                <a:gd name="T25" fmla="*/ 136 h 154"/>
                <a:gd name="T26" fmla="*/ 18 w 155"/>
                <a:gd name="T27" fmla="*/ 126 h 154"/>
                <a:gd name="T28" fmla="*/ 10 w 155"/>
                <a:gd name="T29" fmla="*/ 114 h 154"/>
                <a:gd name="T30" fmla="*/ 4 w 155"/>
                <a:gd name="T31" fmla="*/ 100 h 154"/>
                <a:gd name="T32" fmla="*/ 0 w 155"/>
                <a:gd name="T33" fmla="*/ 84 h 154"/>
                <a:gd name="T34" fmla="*/ 0 w 155"/>
                <a:gd name="T35" fmla="*/ 77 h 154"/>
                <a:gd name="T36" fmla="*/ 2 w 155"/>
                <a:gd name="T37" fmla="*/ 61 h 154"/>
                <a:gd name="T38" fmla="*/ 6 w 155"/>
                <a:gd name="T39" fmla="*/ 47 h 154"/>
                <a:gd name="T40" fmla="*/ 14 w 155"/>
                <a:gd name="T41" fmla="*/ 34 h 154"/>
                <a:gd name="T42" fmla="*/ 23 w 155"/>
                <a:gd name="T43" fmla="*/ 23 h 154"/>
                <a:gd name="T44" fmla="*/ 35 w 155"/>
                <a:gd name="T45" fmla="*/ 13 h 154"/>
                <a:gd name="T46" fmla="*/ 47 w 155"/>
                <a:gd name="T47" fmla="*/ 7 h 154"/>
                <a:gd name="T48" fmla="*/ 62 w 155"/>
                <a:gd name="T49" fmla="*/ 2 h 154"/>
                <a:gd name="T50" fmla="*/ 77 w 155"/>
                <a:gd name="T51" fmla="*/ 0 h 154"/>
                <a:gd name="T52" fmla="*/ 85 w 155"/>
                <a:gd name="T53" fmla="*/ 1 h 154"/>
                <a:gd name="T54" fmla="*/ 100 w 155"/>
                <a:gd name="T55" fmla="*/ 3 h 154"/>
                <a:gd name="T56" fmla="*/ 114 w 155"/>
                <a:gd name="T57" fmla="*/ 9 h 154"/>
                <a:gd name="T58" fmla="*/ 126 w 155"/>
                <a:gd name="T59" fmla="*/ 18 h 154"/>
                <a:gd name="T60" fmla="*/ 137 w 155"/>
                <a:gd name="T61" fmla="*/ 28 h 154"/>
                <a:gd name="T62" fmla="*/ 145 w 155"/>
                <a:gd name="T63" fmla="*/ 40 h 154"/>
                <a:gd name="T64" fmla="*/ 152 w 155"/>
                <a:gd name="T65" fmla="*/ 55 h 154"/>
                <a:gd name="T66" fmla="*/ 154 w 155"/>
                <a:gd name="T67" fmla="*/ 69 h 154"/>
                <a:gd name="T68" fmla="*/ 155 w 155"/>
                <a:gd name="T69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4">
                  <a:moveTo>
                    <a:pt x="155" y="77"/>
                  </a:moveTo>
                  <a:lnTo>
                    <a:pt x="155" y="77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2" y="100"/>
                  </a:lnTo>
                  <a:lnTo>
                    <a:pt x="148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0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69" y="153"/>
                  </a:lnTo>
                  <a:lnTo>
                    <a:pt x="62" y="152"/>
                  </a:lnTo>
                  <a:lnTo>
                    <a:pt x="54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4"/>
                  </a:lnTo>
                  <a:lnTo>
                    <a:pt x="6" y="107"/>
                  </a:lnTo>
                  <a:lnTo>
                    <a:pt x="4" y="100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9"/>
                  </a:lnTo>
                  <a:lnTo>
                    <a:pt x="2" y="61"/>
                  </a:lnTo>
                  <a:lnTo>
                    <a:pt x="4" y="55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69" y="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0" y="3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1" y="13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2" y="55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5" y="77"/>
                  </a:lnTo>
                  <a:lnTo>
                    <a:pt x="15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2" name="Freeform 3099"/>
            <p:cNvSpPr/>
            <p:nvPr/>
          </p:nvSpPr>
          <p:spPr bwMode="auto">
            <a:xfrm>
              <a:off x="3352800" y="5554663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2 h 153"/>
                <a:gd name="T4" fmla="*/ 149 w 154"/>
                <a:gd name="T5" fmla="*/ 106 h 153"/>
                <a:gd name="T6" fmla="*/ 141 w 154"/>
                <a:gd name="T7" fmla="*/ 120 h 153"/>
                <a:gd name="T8" fmla="*/ 132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3 w 154"/>
                <a:gd name="T15" fmla="*/ 152 h 153"/>
                <a:gd name="T16" fmla="*/ 78 w 154"/>
                <a:gd name="T17" fmla="*/ 153 h 153"/>
                <a:gd name="T18" fmla="*/ 70 w 154"/>
                <a:gd name="T19" fmla="*/ 153 h 153"/>
                <a:gd name="T20" fmla="*/ 55 w 154"/>
                <a:gd name="T21" fmla="*/ 150 h 153"/>
                <a:gd name="T22" fmla="*/ 41 w 154"/>
                <a:gd name="T23" fmla="*/ 144 h 153"/>
                <a:gd name="T24" fmla="*/ 29 w 154"/>
                <a:gd name="T25" fmla="*/ 136 h 153"/>
                <a:gd name="T26" fmla="*/ 18 w 154"/>
                <a:gd name="T27" fmla="*/ 125 h 153"/>
                <a:gd name="T28" fmla="*/ 9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1 h 153"/>
                <a:gd name="T38" fmla="*/ 7 w 154"/>
                <a:gd name="T39" fmla="*/ 47 h 153"/>
                <a:gd name="T40" fmla="*/ 14 w 154"/>
                <a:gd name="T41" fmla="*/ 34 h 153"/>
                <a:gd name="T42" fmla="*/ 23 w 154"/>
                <a:gd name="T43" fmla="*/ 23 h 153"/>
                <a:gd name="T44" fmla="*/ 34 w 154"/>
                <a:gd name="T45" fmla="*/ 12 h 153"/>
                <a:gd name="T46" fmla="*/ 47 w 154"/>
                <a:gd name="T47" fmla="*/ 5 h 153"/>
                <a:gd name="T48" fmla="*/ 62 w 154"/>
                <a:gd name="T49" fmla="*/ 1 h 153"/>
                <a:gd name="T50" fmla="*/ 78 w 154"/>
                <a:gd name="T51" fmla="*/ 0 h 153"/>
                <a:gd name="T52" fmla="*/ 85 w 154"/>
                <a:gd name="T53" fmla="*/ 0 h 153"/>
                <a:gd name="T54" fmla="*/ 101 w 154"/>
                <a:gd name="T55" fmla="*/ 3 h 153"/>
                <a:gd name="T56" fmla="*/ 114 w 154"/>
                <a:gd name="T57" fmla="*/ 9 h 153"/>
                <a:gd name="T58" fmla="*/ 126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6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0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6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7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3" name="Freeform 3100"/>
            <p:cNvSpPr/>
            <p:nvPr/>
          </p:nvSpPr>
          <p:spPr bwMode="auto">
            <a:xfrm>
              <a:off x="3352800" y="5626100"/>
              <a:ext cx="49213" cy="47625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8 h 154"/>
                <a:gd name="T14" fmla="*/ 93 w 154"/>
                <a:gd name="T15" fmla="*/ 153 h 154"/>
                <a:gd name="T16" fmla="*/ 78 w 154"/>
                <a:gd name="T17" fmla="*/ 154 h 154"/>
                <a:gd name="T18" fmla="*/ 70 w 154"/>
                <a:gd name="T19" fmla="*/ 154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7 h 154"/>
                <a:gd name="T26" fmla="*/ 18 w 154"/>
                <a:gd name="T27" fmla="*/ 125 h 154"/>
                <a:gd name="T28" fmla="*/ 9 w 154"/>
                <a:gd name="T29" fmla="*/ 114 h 154"/>
                <a:gd name="T30" fmla="*/ 3 w 154"/>
                <a:gd name="T31" fmla="*/ 100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6 h 154"/>
                <a:gd name="T48" fmla="*/ 62 w 154"/>
                <a:gd name="T49" fmla="*/ 2 h 154"/>
                <a:gd name="T50" fmla="*/ 78 w 154"/>
                <a:gd name="T51" fmla="*/ 0 h 154"/>
                <a:gd name="T52" fmla="*/ 85 w 154"/>
                <a:gd name="T53" fmla="*/ 1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8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9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100"/>
                  </a:lnTo>
                  <a:lnTo>
                    <a:pt x="149" y="107"/>
                  </a:lnTo>
                  <a:lnTo>
                    <a:pt x="145" y="114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7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7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4"/>
                  </a:lnTo>
                  <a:lnTo>
                    <a:pt x="7" y="107"/>
                  </a:lnTo>
                  <a:lnTo>
                    <a:pt x="3" y="100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9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6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2"/>
                  </a:lnTo>
                  <a:lnTo>
                    <a:pt x="101" y="3"/>
                  </a:lnTo>
                  <a:lnTo>
                    <a:pt x="107" y="6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8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9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4" name="Freeform 3101"/>
            <p:cNvSpPr/>
            <p:nvPr/>
          </p:nvSpPr>
          <p:spPr bwMode="auto">
            <a:xfrm>
              <a:off x="3352800" y="5691188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4 h 154"/>
                <a:gd name="T24" fmla="*/ 29 w 154"/>
                <a:gd name="T25" fmla="*/ 136 h 154"/>
                <a:gd name="T26" fmla="*/ 18 w 154"/>
                <a:gd name="T27" fmla="*/ 126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7 h 154"/>
                <a:gd name="T40" fmla="*/ 14 w 154"/>
                <a:gd name="T41" fmla="*/ 34 h 154"/>
                <a:gd name="T42" fmla="*/ 23 w 154"/>
                <a:gd name="T43" fmla="*/ 23 h 154"/>
                <a:gd name="T44" fmla="*/ 34 w 154"/>
                <a:gd name="T45" fmla="*/ 12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5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70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0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9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6" y="17"/>
                  </a:lnTo>
                  <a:lnTo>
                    <a:pt x="132" y="23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70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5" name="Freeform 3102"/>
            <p:cNvSpPr/>
            <p:nvPr/>
          </p:nvSpPr>
          <p:spPr bwMode="auto">
            <a:xfrm>
              <a:off x="3282950" y="5756275"/>
              <a:ext cx="49213" cy="49213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9 w 154"/>
                <a:gd name="T5" fmla="*/ 107 h 154"/>
                <a:gd name="T6" fmla="*/ 141 w 154"/>
                <a:gd name="T7" fmla="*/ 120 h 154"/>
                <a:gd name="T8" fmla="*/ 132 w 154"/>
                <a:gd name="T9" fmla="*/ 131 h 154"/>
                <a:gd name="T10" fmla="*/ 120 w 154"/>
                <a:gd name="T11" fmla="*/ 140 h 154"/>
                <a:gd name="T12" fmla="*/ 107 w 154"/>
                <a:gd name="T13" fmla="*/ 147 h 154"/>
                <a:gd name="T14" fmla="*/ 93 w 154"/>
                <a:gd name="T15" fmla="*/ 152 h 154"/>
                <a:gd name="T16" fmla="*/ 78 w 154"/>
                <a:gd name="T17" fmla="*/ 154 h 154"/>
                <a:gd name="T18" fmla="*/ 70 w 154"/>
                <a:gd name="T19" fmla="*/ 153 h 154"/>
                <a:gd name="T20" fmla="*/ 55 w 154"/>
                <a:gd name="T21" fmla="*/ 151 h 154"/>
                <a:gd name="T22" fmla="*/ 41 w 154"/>
                <a:gd name="T23" fmla="*/ 145 h 154"/>
                <a:gd name="T24" fmla="*/ 29 w 154"/>
                <a:gd name="T25" fmla="*/ 136 h 154"/>
                <a:gd name="T26" fmla="*/ 18 w 154"/>
                <a:gd name="T27" fmla="*/ 125 h 154"/>
                <a:gd name="T28" fmla="*/ 9 w 154"/>
                <a:gd name="T29" fmla="*/ 113 h 154"/>
                <a:gd name="T30" fmla="*/ 3 w 154"/>
                <a:gd name="T31" fmla="*/ 99 h 154"/>
                <a:gd name="T32" fmla="*/ 1 w 154"/>
                <a:gd name="T33" fmla="*/ 84 h 154"/>
                <a:gd name="T34" fmla="*/ 0 w 154"/>
                <a:gd name="T35" fmla="*/ 76 h 154"/>
                <a:gd name="T36" fmla="*/ 2 w 154"/>
                <a:gd name="T37" fmla="*/ 61 h 154"/>
                <a:gd name="T38" fmla="*/ 7 w 154"/>
                <a:gd name="T39" fmla="*/ 46 h 154"/>
                <a:gd name="T40" fmla="*/ 14 w 154"/>
                <a:gd name="T41" fmla="*/ 34 h 154"/>
                <a:gd name="T42" fmla="*/ 23 w 154"/>
                <a:gd name="T43" fmla="*/ 22 h 154"/>
                <a:gd name="T44" fmla="*/ 34 w 154"/>
                <a:gd name="T45" fmla="*/ 13 h 154"/>
                <a:gd name="T46" fmla="*/ 47 w 154"/>
                <a:gd name="T47" fmla="*/ 5 h 154"/>
                <a:gd name="T48" fmla="*/ 62 w 154"/>
                <a:gd name="T49" fmla="*/ 1 h 154"/>
                <a:gd name="T50" fmla="*/ 78 w 154"/>
                <a:gd name="T51" fmla="*/ 0 h 154"/>
                <a:gd name="T52" fmla="*/ 86 w 154"/>
                <a:gd name="T53" fmla="*/ 0 h 154"/>
                <a:gd name="T54" fmla="*/ 101 w 154"/>
                <a:gd name="T55" fmla="*/ 3 h 154"/>
                <a:gd name="T56" fmla="*/ 114 w 154"/>
                <a:gd name="T57" fmla="*/ 9 h 154"/>
                <a:gd name="T58" fmla="*/ 126 w 154"/>
                <a:gd name="T59" fmla="*/ 17 h 154"/>
                <a:gd name="T60" fmla="*/ 137 w 154"/>
                <a:gd name="T61" fmla="*/ 28 h 154"/>
                <a:gd name="T62" fmla="*/ 145 w 154"/>
                <a:gd name="T63" fmla="*/ 40 h 154"/>
                <a:gd name="T64" fmla="*/ 151 w 154"/>
                <a:gd name="T65" fmla="*/ 53 h 154"/>
                <a:gd name="T66" fmla="*/ 154 w 154"/>
                <a:gd name="T67" fmla="*/ 68 h 154"/>
                <a:gd name="T68" fmla="*/ 154 w 154"/>
                <a:gd name="T69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2"/>
                  </a:lnTo>
                  <a:lnTo>
                    <a:pt x="151" y="99"/>
                  </a:lnTo>
                  <a:lnTo>
                    <a:pt x="149" y="107"/>
                  </a:lnTo>
                  <a:lnTo>
                    <a:pt x="145" y="113"/>
                  </a:lnTo>
                  <a:lnTo>
                    <a:pt x="141" y="120"/>
                  </a:lnTo>
                  <a:lnTo>
                    <a:pt x="137" y="125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0" y="140"/>
                  </a:lnTo>
                  <a:lnTo>
                    <a:pt x="114" y="145"/>
                  </a:lnTo>
                  <a:lnTo>
                    <a:pt x="107" y="147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6" y="153"/>
                  </a:lnTo>
                  <a:lnTo>
                    <a:pt x="78" y="154"/>
                  </a:lnTo>
                  <a:lnTo>
                    <a:pt x="78" y="154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7"/>
                  </a:lnTo>
                  <a:lnTo>
                    <a:pt x="41" y="145"/>
                  </a:lnTo>
                  <a:lnTo>
                    <a:pt x="34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5"/>
                  </a:lnTo>
                  <a:lnTo>
                    <a:pt x="14" y="120"/>
                  </a:lnTo>
                  <a:lnTo>
                    <a:pt x="9" y="113"/>
                  </a:lnTo>
                  <a:lnTo>
                    <a:pt x="7" y="107"/>
                  </a:lnTo>
                  <a:lnTo>
                    <a:pt x="3" y="99"/>
                  </a:lnTo>
                  <a:lnTo>
                    <a:pt x="2" y="92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1"/>
                  </a:lnTo>
                  <a:lnTo>
                    <a:pt x="3" y="53"/>
                  </a:lnTo>
                  <a:lnTo>
                    <a:pt x="7" y="46"/>
                  </a:lnTo>
                  <a:lnTo>
                    <a:pt x="9" y="40"/>
                  </a:lnTo>
                  <a:lnTo>
                    <a:pt x="14" y="34"/>
                  </a:lnTo>
                  <a:lnTo>
                    <a:pt x="18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7" y="5"/>
                  </a:lnTo>
                  <a:lnTo>
                    <a:pt x="55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3" y="1"/>
                  </a:lnTo>
                  <a:lnTo>
                    <a:pt x="101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3"/>
                  </a:lnTo>
                  <a:lnTo>
                    <a:pt x="126" y="17"/>
                  </a:lnTo>
                  <a:lnTo>
                    <a:pt x="132" y="22"/>
                  </a:lnTo>
                  <a:lnTo>
                    <a:pt x="137" y="28"/>
                  </a:lnTo>
                  <a:lnTo>
                    <a:pt x="141" y="34"/>
                  </a:lnTo>
                  <a:lnTo>
                    <a:pt x="145" y="40"/>
                  </a:lnTo>
                  <a:lnTo>
                    <a:pt x="149" y="46"/>
                  </a:lnTo>
                  <a:lnTo>
                    <a:pt x="151" y="53"/>
                  </a:lnTo>
                  <a:lnTo>
                    <a:pt x="153" y="61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6" name="Freeform 3103"/>
            <p:cNvSpPr/>
            <p:nvPr/>
          </p:nvSpPr>
          <p:spPr bwMode="auto">
            <a:xfrm>
              <a:off x="3352800" y="5761038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0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9 h 155"/>
                <a:gd name="T14" fmla="*/ 93 w 154"/>
                <a:gd name="T15" fmla="*/ 152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6 h 155"/>
                <a:gd name="T26" fmla="*/ 18 w 154"/>
                <a:gd name="T27" fmla="*/ 126 h 155"/>
                <a:gd name="T28" fmla="*/ 9 w 154"/>
                <a:gd name="T29" fmla="*/ 115 h 155"/>
                <a:gd name="T30" fmla="*/ 3 w 154"/>
                <a:gd name="T31" fmla="*/ 101 h 155"/>
                <a:gd name="T32" fmla="*/ 1 w 154"/>
                <a:gd name="T33" fmla="*/ 85 h 155"/>
                <a:gd name="T34" fmla="*/ 0 w 154"/>
                <a:gd name="T35" fmla="*/ 78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7 h 155"/>
                <a:gd name="T48" fmla="*/ 62 w 154"/>
                <a:gd name="T49" fmla="*/ 3 h 155"/>
                <a:gd name="T50" fmla="*/ 78 w 154"/>
                <a:gd name="T51" fmla="*/ 0 h 155"/>
                <a:gd name="T52" fmla="*/ 85 w 154"/>
                <a:gd name="T53" fmla="*/ 1 h 155"/>
                <a:gd name="T54" fmla="*/ 101 w 154"/>
                <a:gd name="T55" fmla="*/ 4 h 155"/>
                <a:gd name="T56" fmla="*/ 114 w 154"/>
                <a:gd name="T57" fmla="*/ 9 h 155"/>
                <a:gd name="T58" fmla="*/ 126 w 154"/>
                <a:gd name="T59" fmla="*/ 19 h 155"/>
                <a:gd name="T60" fmla="*/ 137 w 154"/>
                <a:gd name="T61" fmla="*/ 29 h 155"/>
                <a:gd name="T62" fmla="*/ 145 w 154"/>
                <a:gd name="T63" fmla="*/ 41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9" y="108"/>
                  </a:lnTo>
                  <a:lnTo>
                    <a:pt x="145" y="115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6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1" y="151"/>
                  </a:lnTo>
                  <a:lnTo>
                    <a:pt x="93" y="152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2"/>
                  </a:lnTo>
                  <a:lnTo>
                    <a:pt x="55" y="151"/>
                  </a:lnTo>
                  <a:lnTo>
                    <a:pt x="47" y="149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9" y="115"/>
                  </a:lnTo>
                  <a:lnTo>
                    <a:pt x="7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7" y="47"/>
                  </a:lnTo>
                  <a:lnTo>
                    <a:pt x="9" y="41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9"/>
                  </a:lnTo>
                  <a:lnTo>
                    <a:pt x="34" y="14"/>
                  </a:lnTo>
                  <a:lnTo>
                    <a:pt x="41" y="9"/>
                  </a:lnTo>
                  <a:lnTo>
                    <a:pt x="47" y="7"/>
                  </a:lnTo>
                  <a:lnTo>
                    <a:pt x="55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1"/>
                  </a:lnTo>
                  <a:lnTo>
                    <a:pt x="93" y="3"/>
                  </a:lnTo>
                  <a:lnTo>
                    <a:pt x="101" y="4"/>
                  </a:lnTo>
                  <a:lnTo>
                    <a:pt x="107" y="7"/>
                  </a:lnTo>
                  <a:lnTo>
                    <a:pt x="114" y="9"/>
                  </a:lnTo>
                  <a:lnTo>
                    <a:pt x="120" y="14"/>
                  </a:lnTo>
                  <a:lnTo>
                    <a:pt x="126" y="19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1"/>
                  </a:lnTo>
                  <a:lnTo>
                    <a:pt x="149" y="47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7" name="Freeform 3104"/>
            <p:cNvSpPr/>
            <p:nvPr/>
          </p:nvSpPr>
          <p:spPr bwMode="auto">
            <a:xfrm>
              <a:off x="3352800" y="5826125"/>
              <a:ext cx="49213" cy="49213"/>
            </a:xfrm>
            <a:custGeom>
              <a:avLst/>
              <a:gdLst>
                <a:gd name="T0" fmla="*/ 154 w 154"/>
                <a:gd name="T1" fmla="*/ 77 h 155"/>
                <a:gd name="T2" fmla="*/ 153 w 154"/>
                <a:gd name="T3" fmla="*/ 93 h 155"/>
                <a:gd name="T4" fmla="*/ 149 w 154"/>
                <a:gd name="T5" fmla="*/ 108 h 155"/>
                <a:gd name="T6" fmla="*/ 141 w 154"/>
                <a:gd name="T7" fmla="*/ 121 h 155"/>
                <a:gd name="T8" fmla="*/ 132 w 154"/>
                <a:gd name="T9" fmla="*/ 132 h 155"/>
                <a:gd name="T10" fmla="*/ 120 w 154"/>
                <a:gd name="T11" fmla="*/ 141 h 155"/>
                <a:gd name="T12" fmla="*/ 107 w 154"/>
                <a:gd name="T13" fmla="*/ 148 h 155"/>
                <a:gd name="T14" fmla="*/ 93 w 154"/>
                <a:gd name="T15" fmla="*/ 153 h 155"/>
                <a:gd name="T16" fmla="*/ 78 w 154"/>
                <a:gd name="T17" fmla="*/ 155 h 155"/>
                <a:gd name="T18" fmla="*/ 70 w 154"/>
                <a:gd name="T19" fmla="*/ 154 h 155"/>
                <a:gd name="T20" fmla="*/ 55 w 154"/>
                <a:gd name="T21" fmla="*/ 151 h 155"/>
                <a:gd name="T22" fmla="*/ 41 w 154"/>
                <a:gd name="T23" fmla="*/ 146 h 155"/>
                <a:gd name="T24" fmla="*/ 29 w 154"/>
                <a:gd name="T25" fmla="*/ 137 h 155"/>
                <a:gd name="T26" fmla="*/ 18 w 154"/>
                <a:gd name="T27" fmla="*/ 126 h 155"/>
                <a:gd name="T28" fmla="*/ 9 w 154"/>
                <a:gd name="T29" fmla="*/ 114 h 155"/>
                <a:gd name="T30" fmla="*/ 3 w 154"/>
                <a:gd name="T31" fmla="*/ 100 h 155"/>
                <a:gd name="T32" fmla="*/ 1 w 154"/>
                <a:gd name="T33" fmla="*/ 85 h 155"/>
                <a:gd name="T34" fmla="*/ 0 w 154"/>
                <a:gd name="T35" fmla="*/ 77 h 155"/>
                <a:gd name="T36" fmla="*/ 2 w 154"/>
                <a:gd name="T37" fmla="*/ 62 h 155"/>
                <a:gd name="T38" fmla="*/ 7 w 154"/>
                <a:gd name="T39" fmla="*/ 47 h 155"/>
                <a:gd name="T40" fmla="*/ 14 w 154"/>
                <a:gd name="T41" fmla="*/ 35 h 155"/>
                <a:gd name="T42" fmla="*/ 23 w 154"/>
                <a:gd name="T43" fmla="*/ 23 h 155"/>
                <a:gd name="T44" fmla="*/ 34 w 154"/>
                <a:gd name="T45" fmla="*/ 14 h 155"/>
                <a:gd name="T46" fmla="*/ 47 w 154"/>
                <a:gd name="T47" fmla="*/ 6 h 155"/>
                <a:gd name="T48" fmla="*/ 62 w 154"/>
                <a:gd name="T49" fmla="*/ 2 h 155"/>
                <a:gd name="T50" fmla="*/ 78 w 154"/>
                <a:gd name="T51" fmla="*/ 0 h 155"/>
                <a:gd name="T52" fmla="*/ 85 w 154"/>
                <a:gd name="T53" fmla="*/ 0 h 155"/>
                <a:gd name="T54" fmla="*/ 101 w 154"/>
                <a:gd name="T55" fmla="*/ 4 h 155"/>
                <a:gd name="T56" fmla="*/ 114 w 154"/>
                <a:gd name="T57" fmla="*/ 10 h 155"/>
                <a:gd name="T58" fmla="*/ 126 w 154"/>
                <a:gd name="T59" fmla="*/ 18 h 155"/>
                <a:gd name="T60" fmla="*/ 137 w 154"/>
                <a:gd name="T61" fmla="*/ 29 h 155"/>
                <a:gd name="T62" fmla="*/ 145 w 154"/>
                <a:gd name="T63" fmla="*/ 40 h 155"/>
                <a:gd name="T64" fmla="*/ 151 w 154"/>
                <a:gd name="T65" fmla="*/ 54 h 155"/>
                <a:gd name="T66" fmla="*/ 154 w 154"/>
                <a:gd name="T67" fmla="*/ 69 h 155"/>
                <a:gd name="T68" fmla="*/ 154 w 154"/>
                <a:gd name="T69" fmla="*/ 7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7"/>
                  </a:moveTo>
                  <a:lnTo>
                    <a:pt x="154" y="77"/>
                  </a:lnTo>
                  <a:lnTo>
                    <a:pt x="154" y="85"/>
                  </a:lnTo>
                  <a:lnTo>
                    <a:pt x="153" y="93"/>
                  </a:lnTo>
                  <a:lnTo>
                    <a:pt x="151" y="100"/>
                  </a:lnTo>
                  <a:lnTo>
                    <a:pt x="149" y="108"/>
                  </a:lnTo>
                  <a:lnTo>
                    <a:pt x="145" y="114"/>
                  </a:lnTo>
                  <a:lnTo>
                    <a:pt x="141" y="121"/>
                  </a:lnTo>
                  <a:lnTo>
                    <a:pt x="137" y="126"/>
                  </a:lnTo>
                  <a:lnTo>
                    <a:pt x="132" y="132"/>
                  </a:lnTo>
                  <a:lnTo>
                    <a:pt x="126" y="137"/>
                  </a:lnTo>
                  <a:lnTo>
                    <a:pt x="120" y="141"/>
                  </a:lnTo>
                  <a:lnTo>
                    <a:pt x="114" y="146"/>
                  </a:lnTo>
                  <a:lnTo>
                    <a:pt x="107" y="148"/>
                  </a:lnTo>
                  <a:lnTo>
                    <a:pt x="101" y="151"/>
                  </a:lnTo>
                  <a:lnTo>
                    <a:pt x="93" y="153"/>
                  </a:lnTo>
                  <a:lnTo>
                    <a:pt x="85" y="154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0" y="154"/>
                  </a:lnTo>
                  <a:lnTo>
                    <a:pt x="62" y="153"/>
                  </a:lnTo>
                  <a:lnTo>
                    <a:pt x="55" y="151"/>
                  </a:lnTo>
                  <a:lnTo>
                    <a:pt x="47" y="148"/>
                  </a:lnTo>
                  <a:lnTo>
                    <a:pt x="41" y="146"/>
                  </a:lnTo>
                  <a:lnTo>
                    <a:pt x="34" y="141"/>
                  </a:lnTo>
                  <a:lnTo>
                    <a:pt x="29" y="137"/>
                  </a:lnTo>
                  <a:lnTo>
                    <a:pt x="23" y="132"/>
                  </a:lnTo>
                  <a:lnTo>
                    <a:pt x="18" y="126"/>
                  </a:lnTo>
                  <a:lnTo>
                    <a:pt x="14" y="121"/>
                  </a:lnTo>
                  <a:lnTo>
                    <a:pt x="9" y="114"/>
                  </a:lnTo>
                  <a:lnTo>
                    <a:pt x="7" y="108"/>
                  </a:lnTo>
                  <a:lnTo>
                    <a:pt x="3" y="100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3" y="54"/>
                  </a:lnTo>
                  <a:lnTo>
                    <a:pt x="7" y="47"/>
                  </a:lnTo>
                  <a:lnTo>
                    <a:pt x="9" y="40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7" y="6"/>
                  </a:lnTo>
                  <a:lnTo>
                    <a:pt x="55" y="4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3" y="2"/>
                  </a:lnTo>
                  <a:lnTo>
                    <a:pt x="101" y="4"/>
                  </a:lnTo>
                  <a:lnTo>
                    <a:pt x="107" y="6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6" y="18"/>
                  </a:lnTo>
                  <a:lnTo>
                    <a:pt x="132" y="23"/>
                  </a:lnTo>
                  <a:lnTo>
                    <a:pt x="137" y="29"/>
                  </a:lnTo>
                  <a:lnTo>
                    <a:pt x="141" y="35"/>
                  </a:lnTo>
                  <a:lnTo>
                    <a:pt x="145" y="40"/>
                  </a:lnTo>
                  <a:lnTo>
                    <a:pt x="149" y="47"/>
                  </a:lnTo>
                  <a:lnTo>
                    <a:pt x="151" y="54"/>
                  </a:lnTo>
                  <a:lnTo>
                    <a:pt x="153" y="62"/>
                  </a:lnTo>
                  <a:lnTo>
                    <a:pt x="154" y="69"/>
                  </a:lnTo>
                  <a:lnTo>
                    <a:pt x="154" y="77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8" name="Freeform 3105"/>
            <p:cNvSpPr/>
            <p:nvPr/>
          </p:nvSpPr>
          <p:spPr bwMode="auto">
            <a:xfrm>
              <a:off x="3422650" y="5695950"/>
              <a:ext cx="49213" cy="49213"/>
            </a:xfrm>
            <a:custGeom>
              <a:avLst/>
              <a:gdLst>
                <a:gd name="T0" fmla="*/ 154 w 154"/>
                <a:gd name="T1" fmla="*/ 78 h 155"/>
                <a:gd name="T2" fmla="*/ 153 w 154"/>
                <a:gd name="T3" fmla="*/ 93 h 155"/>
                <a:gd name="T4" fmla="*/ 148 w 154"/>
                <a:gd name="T5" fmla="*/ 108 h 155"/>
                <a:gd name="T6" fmla="*/ 140 w 154"/>
                <a:gd name="T7" fmla="*/ 121 h 155"/>
                <a:gd name="T8" fmla="*/ 131 w 154"/>
                <a:gd name="T9" fmla="*/ 132 h 155"/>
                <a:gd name="T10" fmla="*/ 120 w 154"/>
                <a:gd name="T11" fmla="*/ 142 h 155"/>
                <a:gd name="T12" fmla="*/ 107 w 154"/>
                <a:gd name="T13" fmla="*/ 149 h 155"/>
                <a:gd name="T14" fmla="*/ 92 w 154"/>
                <a:gd name="T15" fmla="*/ 154 h 155"/>
                <a:gd name="T16" fmla="*/ 77 w 154"/>
                <a:gd name="T17" fmla="*/ 155 h 155"/>
                <a:gd name="T18" fmla="*/ 69 w 154"/>
                <a:gd name="T19" fmla="*/ 155 h 155"/>
                <a:gd name="T20" fmla="*/ 54 w 154"/>
                <a:gd name="T21" fmla="*/ 151 h 155"/>
                <a:gd name="T22" fmla="*/ 41 w 154"/>
                <a:gd name="T23" fmla="*/ 146 h 155"/>
                <a:gd name="T24" fmla="*/ 28 w 154"/>
                <a:gd name="T25" fmla="*/ 138 h 155"/>
                <a:gd name="T26" fmla="*/ 18 w 154"/>
                <a:gd name="T27" fmla="*/ 127 h 155"/>
                <a:gd name="T28" fmla="*/ 10 w 154"/>
                <a:gd name="T29" fmla="*/ 115 h 155"/>
                <a:gd name="T30" fmla="*/ 3 w 154"/>
                <a:gd name="T31" fmla="*/ 101 h 155"/>
                <a:gd name="T32" fmla="*/ 1 w 154"/>
                <a:gd name="T33" fmla="*/ 86 h 155"/>
                <a:gd name="T34" fmla="*/ 0 w 154"/>
                <a:gd name="T35" fmla="*/ 78 h 155"/>
                <a:gd name="T36" fmla="*/ 2 w 154"/>
                <a:gd name="T37" fmla="*/ 62 h 155"/>
                <a:gd name="T38" fmla="*/ 6 w 154"/>
                <a:gd name="T39" fmla="*/ 48 h 155"/>
                <a:gd name="T40" fmla="*/ 13 w 154"/>
                <a:gd name="T41" fmla="*/ 35 h 155"/>
                <a:gd name="T42" fmla="*/ 22 w 154"/>
                <a:gd name="T43" fmla="*/ 23 h 155"/>
                <a:gd name="T44" fmla="*/ 34 w 154"/>
                <a:gd name="T45" fmla="*/ 14 h 155"/>
                <a:gd name="T46" fmla="*/ 46 w 154"/>
                <a:gd name="T47" fmla="*/ 7 h 155"/>
                <a:gd name="T48" fmla="*/ 61 w 154"/>
                <a:gd name="T49" fmla="*/ 3 h 155"/>
                <a:gd name="T50" fmla="*/ 77 w 154"/>
                <a:gd name="T51" fmla="*/ 0 h 155"/>
                <a:gd name="T52" fmla="*/ 85 w 154"/>
                <a:gd name="T53" fmla="*/ 2 h 155"/>
                <a:gd name="T54" fmla="*/ 100 w 154"/>
                <a:gd name="T55" fmla="*/ 4 h 155"/>
                <a:gd name="T56" fmla="*/ 114 w 154"/>
                <a:gd name="T57" fmla="*/ 10 h 155"/>
                <a:gd name="T58" fmla="*/ 125 w 154"/>
                <a:gd name="T59" fmla="*/ 19 h 155"/>
                <a:gd name="T60" fmla="*/ 137 w 154"/>
                <a:gd name="T61" fmla="*/ 29 h 155"/>
                <a:gd name="T62" fmla="*/ 145 w 154"/>
                <a:gd name="T63" fmla="*/ 42 h 155"/>
                <a:gd name="T64" fmla="*/ 151 w 154"/>
                <a:gd name="T65" fmla="*/ 55 h 155"/>
                <a:gd name="T66" fmla="*/ 154 w 154"/>
                <a:gd name="T67" fmla="*/ 70 h 155"/>
                <a:gd name="T68" fmla="*/ 154 w 154"/>
                <a:gd name="T69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5">
                  <a:moveTo>
                    <a:pt x="154" y="78"/>
                  </a:moveTo>
                  <a:lnTo>
                    <a:pt x="154" y="78"/>
                  </a:lnTo>
                  <a:lnTo>
                    <a:pt x="154" y="86"/>
                  </a:lnTo>
                  <a:lnTo>
                    <a:pt x="153" y="93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5" y="115"/>
                  </a:lnTo>
                  <a:lnTo>
                    <a:pt x="140" y="121"/>
                  </a:lnTo>
                  <a:lnTo>
                    <a:pt x="137" y="127"/>
                  </a:lnTo>
                  <a:lnTo>
                    <a:pt x="131" y="132"/>
                  </a:lnTo>
                  <a:lnTo>
                    <a:pt x="125" y="138"/>
                  </a:lnTo>
                  <a:lnTo>
                    <a:pt x="120" y="142"/>
                  </a:lnTo>
                  <a:lnTo>
                    <a:pt x="114" y="146"/>
                  </a:lnTo>
                  <a:lnTo>
                    <a:pt x="107" y="149"/>
                  </a:lnTo>
                  <a:lnTo>
                    <a:pt x="100" y="151"/>
                  </a:lnTo>
                  <a:lnTo>
                    <a:pt x="92" y="154"/>
                  </a:lnTo>
                  <a:lnTo>
                    <a:pt x="85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69" y="155"/>
                  </a:lnTo>
                  <a:lnTo>
                    <a:pt x="61" y="154"/>
                  </a:lnTo>
                  <a:lnTo>
                    <a:pt x="54" y="151"/>
                  </a:lnTo>
                  <a:lnTo>
                    <a:pt x="46" y="149"/>
                  </a:lnTo>
                  <a:lnTo>
                    <a:pt x="41" y="146"/>
                  </a:lnTo>
                  <a:lnTo>
                    <a:pt x="34" y="142"/>
                  </a:lnTo>
                  <a:lnTo>
                    <a:pt x="28" y="138"/>
                  </a:lnTo>
                  <a:lnTo>
                    <a:pt x="22" y="132"/>
                  </a:lnTo>
                  <a:lnTo>
                    <a:pt x="18" y="127"/>
                  </a:lnTo>
                  <a:lnTo>
                    <a:pt x="13" y="121"/>
                  </a:lnTo>
                  <a:lnTo>
                    <a:pt x="10" y="115"/>
                  </a:lnTo>
                  <a:lnTo>
                    <a:pt x="6" y="108"/>
                  </a:lnTo>
                  <a:lnTo>
                    <a:pt x="3" y="101"/>
                  </a:lnTo>
                  <a:lnTo>
                    <a:pt x="2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2" y="23"/>
                  </a:lnTo>
                  <a:lnTo>
                    <a:pt x="28" y="19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6" y="7"/>
                  </a:lnTo>
                  <a:lnTo>
                    <a:pt x="54" y="4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2"/>
                  </a:lnTo>
                  <a:lnTo>
                    <a:pt x="92" y="3"/>
                  </a:lnTo>
                  <a:lnTo>
                    <a:pt x="100" y="4"/>
                  </a:lnTo>
                  <a:lnTo>
                    <a:pt x="107" y="7"/>
                  </a:lnTo>
                  <a:lnTo>
                    <a:pt x="114" y="10"/>
                  </a:lnTo>
                  <a:lnTo>
                    <a:pt x="120" y="14"/>
                  </a:lnTo>
                  <a:lnTo>
                    <a:pt x="125" y="19"/>
                  </a:lnTo>
                  <a:lnTo>
                    <a:pt x="131" y="23"/>
                  </a:lnTo>
                  <a:lnTo>
                    <a:pt x="137" y="29"/>
                  </a:lnTo>
                  <a:lnTo>
                    <a:pt x="140" y="35"/>
                  </a:lnTo>
                  <a:lnTo>
                    <a:pt x="145" y="42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3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39" name="Freeform 3106"/>
            <p:cNvSpPr/>
            <p:nvPr/>
          </p:nvSpPr>
          <p:spPr bwMode="auto">
            <a:xfrm>
              <a:off x="3422650" y="5907088"/>
              <a:ext cx="49213" cy="49213"/>
            </a:xfrm>
            <a:custGeom>
              <a:avLst/>
              <a:gdLst>
                <a:gd name="T0" fmla="*/ 154 w 154"/>
                <a:gd name="T1" fmla="*/ 76 h 153"/>
                <a:gd name="T2" fmla="*/ 153 w 154"/>
                <a:gd name="T3" fmla="*/ 91 h 153"/>
                <a:gd name="T4" fmla="*/ 148 w 154"/>
                <a:gd name="T5" fmla="*/ 106 h 153"/>
                <a:gd name="T6" fmla="*/ 140 w 154"/>
                <a:gd name="T7" fmla="*/ 120 h 153"/>
                <a:gd name="T8" fmla="*/ 131 w 154"/>
                <a:gd name="T9" fmla="*/ 131 h 153"/>
                <a:gd name="T10" fmla="*/ 120 w 154"/>
                <a:gd name="T11" fmla="*/ 140 h 153"/>
                <a:gd name="T12" fmla="*/ 107 w 154"/>
                <a:gd name="T13" fmla="*/ 147 h 153"/>
                <a:gd name="T14" fmla="*/ 92 w 154"/>
                <a:gd name="T15" fmla="*/ 152 h 153"/>
                <a:gd name="T16" fmla="*/ 77 w 154"/>
                <a:gd name="T17" fmla="*/ 153 h 153"/>
                <a:gd name="T18" fmla="*/ 69 w 154"/>
                <a:gd name="T19" fmla="*/ 153 h 153"/>
                <a:gd name="T20" fmla="*/ 54 w 154"/>
                <a:gd name="T21" fmla="*/ 150 h 153"/>
                <a:gd name="T22" fmla="*/ 41 w 154"/>
                <a:gd name="T23" fmla="*/ 144 h 153"/>
                <a:gd name="T24" fmla="*/ 28 w 154"/>
                <a:gd name="T25" fmla="*/ 136 h 153"/>
                <a:gd name="T26" fmla="*/ 18 w 154"/>
                <a:gd name="T27" fmla="*/ 126 h 153"/>
                <a:gd name="T28" fmla="*/ 10 w 154"/>
                <a:gd name="T29" fmla="*/ 113 h 153"/>
                <a:gd name="T30" fmla="*/ 3 w 154"/>
                <a:gd name="T31" fmla="*/ 99 h 153"/>
                <a:gd name="T32" fmla="*/ 1 w 154"/>
                <a:gd name="T33" fmla="*/ 84 h 153"/>
                <a:gd name="T34" fmla="*/ 0 w 154"/>
                <a:gd name="T35" fmla="*/ 76 h 153"/>
                <a:gd name="T36" fmla="*/ 2 w 154"/>
                <a:gd name="T37" fmla="*/ 60 h 153"/>
                <a:gd name="T38" fmla="*/ 6 w 154"/>
                <a:gd name="T39" fmla="*/ 47 h 153"/>
                <a:gd name="T40" fmla="*/ 13 w 154"/>
                <a:gd name="T41" fmla="*/ 33 h 153"/>
                <a:gd name="T42" fmla="*/ 22 w 154"/>
                <a:gd name="T43" fmla="*/ 21 h 153"/>
                <a:gd name="T44" fmla="*/ 34 w 154"/>
                <a:gd name="T45" fmla="*/ 12 h 153"/>
                <a:gd name="T46" fmla="*/ 46 w 154"/>
                <a:gd name="T47" fmla="*/ 5 h 153"/>
                <a:gd name="T48" fmla="*/ 61 w 154"/>
                <a:gd name="T49" fmla="*/ 1 h 153"/>
                <a:gd name="T50" fmla="*/ 77 w 154"/>
                <a:gd name="T51" fmla="*/ 0 h 153"/>
                <a:gd name="T52" fmla="*/ 85 w 154"/>
                <a:gd name="T53" fmla="*/ 0 h 153"/>
                <a:gd name="T54" fmla="*/ 100 w 154"/>
                <a:gd name="T55" fmla="*/ 3 h 153"/>
                <a:gd name="T56" fmla="*/ 114 w 154"/>
                <a:gd name="T57" fmla="*/ 9 h 153"/>
                <a:gd name="T58" fmla="*/ 125 w 154"/>
                <a:gd name="T59" fmla="*/ 17 h 153"/>
                <a:gd name="T60" fmla="*/ 137 w 154"/>
                <a:gd name="T61" fmla="*/ 27 h 153"/>
                <a:gd name="T62" fmla="*/ 145 w 154"/>
                <a:gd name="T63" fmla="*/ 40 h 153"/>
                <a:gd name="T64" fmla="*/ 151 w 154"/>
                <a:gd name="T65" fmla="*/ 53 h 153"/>
                <a:gd name="T66" fmla="*/ 154 w 154"/>
                <a:gd name="T67" fmla="*/ 68 h 153"/>
                <a:gd name="T68" fmla="*/ 154 w 154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153">
                  <a:moveTo>
                    <a:pt x="154" y="76"/>
                  </a:moveTo>
                  <a:lnTo>
                    <a:pt x="154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5" y="113"/>
                  </a:lnTo>
                  <a:lnTo>
                    <a:pt x="140" y="120"/>
                  </a:lnTo>
                  <a:lnTo>
                    <a:pt x="137" y="126"/>
                  </a:lnTo>
                  <a:lnTo>
                    <a:pt x="131" y="131"/>
                  </a:lnTo>
                  <a:lnTo>
                    <a:pt x="125" y="136"/>
                  </a:lnTo>
                  <a:lnTo>
                    <a:pt x="120" y="140"/>
                  </a:lnTo>
                  <a:lnTo>
                    <a:pt x="114" y="144"/>
                  </a:lnTo>
                  <a:lnTo>
                    <a:pt x="107" y="147"/>
                  </a:lnTo>
                  <a:lnTo>
                    <a:pt x="100" y="150"/>
                  </a:lnTo>
                  <a:lnTo>
                    <a:pt x="92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69" y="153"/>
                  </a:lnTo>
                  <a:lnTo>
                    <a:pt x="61" y="152"/>
                  </a:lnTo>
                  <a:lnTo>
                    <a:pt x="54" y="150"/>
                  </a:lnTo>
                  <a:lnTo>
                    <a:pt x="46" y="147"/>
                  </a:lnTo>
                  <a:lnTo>
                    <a:pt x="41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2" y="131"/>
                  </a:lnTo>
                  <a:lnTo>
                    <a:pt x="18" y="126"/>
                  </a:lnTo>
                  <a:lnTo>
                    <a:pt x="13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3" y="99"/>
                  </a:lnTo>
                  <a:lnTo>
                    <a:pt x="2" y="91"/>
                  </a:lnTo>
                  <a:lnTo>
                    <a:pt x="1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68"/>
                  </a:lnTo>
                  <a:lnTo>
                    <a:pt x="2" y="60"/>
                  </a:lnTo>
                  <a:lnTo>
                    <a:pt x="3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3" y="33"/>
                  </a:lnTo>
                  <a:lnTo>
                    <a:pt x="18" y="27"/>
                  </a:lnTo>
                  <a:lnTo>
                    <a:pt x="22" y="21"/>
                  </a:lnTo>
                  <a:lnTo>
                    <a:pt x="28" y="17"/>
                  </a:lnTo>
                  <a:lnTo>
                    <a:pt x="34" y="12"/>
                  </a:lnTo>
                  <a:lnTo>
                    <a:pt x="41" y="9"/>
                  </a:lnTo>
                  <a:lnTo>
                    <a:pt x="46" y="5"/>
                  </a:lnTo>
                  <a:lnTo>
                    <a:pt x="54" y="3"/>
                  </a:lnTo>
                  <a:lnTo>
                    <a:pt x="61" y="1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2" y="1"/>
                  </a:lnTo>
                  <a:lnTo>
                    <a:pt x="100" y="3"/>
                  </a:lnTo>
                  <a:lnTo>
                    <a:pt x="107" y="5"/>
                  </a:lnTo>
                  <a:lnTo>
                    <a:pt x="114" y="9"/>
                  </a:lnTo>
                  <a:lnTo>
                    <a:pt x="120" y="12"/>
                  </a:lnTo>
                  <a:lnTo>
                    <a:pt x="125" y="17"/>
                  </a:lnTo>
                  <a:lnTo>
                    <a:pt x="131" y="21"/>
                  </a:lnTo>
                  <a:lnTo>
                    <a:pt x="137" y="27"/>
                  </a:lnTo>
                  <a:lnTo>
                    <a:pt x="140" y="33"/>
                  </a:lnTo>
                  <a:lnTo>
                    <a:pt x="145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4" y="76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40" name="Freeform 3107"/>
            <p:cNvSpPr/>
            <p:nvPr/>
          </p:nvSpPr>
          <p:spPr bwMode="auto">
            <a:xfrm>
              <a:off x="3492500" y="5907088"/>
              <a:ext cx="49213" cy="49213"/>
            </a:xfrm>
            <a:custGeom>
              <a:avLst/>
              <a:gdLst>
                <a:gd name="T0" fmla="*/ 155 w 155"/>
                <a:gd name="T1" fmla="*/ 76 h 153"/>
                <a:gd name="T2" fmla="*/ 153 w 155"/>
                <a:gd name="T3" fmla="*/ 91 h 153"/>
                <a:gd name="T4" fmla="*/ 148 w 155"/>
                <a:gd name="T5" fmla="*/ 106 h 153"/>
                <a:gd name="T6" fmla="*/ 141 w 155"/>
                <a:gd name="T7" fmla="*/ 120 h 153"/>
                <a:gd name="T8" fmla="*/ 132 w 155"/>
                <a:gd name="T9" fmla="*/ 131 h 153"/>
                <a:gd name="T10" fmla="*/ 121 w 155"/>
                <a:gd name="T11" fmla="*/ 140 h 153"/>
                <a:gd name="T12" fmla="*/ 108 w 155"/>
                <a:gd name="T13" fmla="*/ 147 h 153"/>
                <a:gd name="T14" fmla="*/ 93 w 155"/>
                <a:gd name="T15" fmla="*/ 152 h 153"/>
                <a:gd name="T16" fmla="*/ 77 w 155"/>
                <a:gd name="T17" fmla="*/ 153 h 153"/>
                <a:gd name="T18" fmla="*/ 70 w 155"/>
                <a:gd name="T19" fmla="*/ 153 h 153"/>
                <a:gd name="T20" fmla="*/ 54 w 155"/>
                <a:gd name="T21" fmla="*/ 150 h 153"/>
                <a:gd name="T22" fmla="*/ 40 w 155"/>
                <a:gd name="T23" fmla="*/ 144 h 153"/>
                <a:gd name="T24" fmla="*/ 29 w 155"/>
                <a:gd name="T25" fmla="*/ 136 h 153"/>
                <a:gd name="T26" fmla="*/ 18 w 155"/>
                <a:gd name="T27" fmla="*/ 126 h 153"/>
                <a:gd name="T28" fmla="*/ 10 w 155"/>
                <a:gd name="T29" fmla="*/ 113 h 153"/>
                <a:gd name="T30" fmla="*/ 4 w 155"/>
                <a:gd name="T31" fmla="*/ 99 h 153"/>
                <a:gd name="T32" fmla="*/ 0 w 155"/>
                <a:gd name="T33" fmla="*/ 84 h 153"/>
                <a:gd name="T34" fmla="*/ 0 w 155"/>
                <a:gd name="T35" fmla="*/ 76 h 153"/>
                <a:gd name="T36" fmla="*/ 2 w 155"/>
                <a:gd name="T37" fmla="*/ 60 h 153"/>
                <a:gd name="T38" fmla="*/ 6 w 155"/>
                <a:gd name="T39" fmla="*/ 47 h 153"/>
                <a:gd name="T40" fmla="*/ 14 w 155"/>
                <a:gd name="T41" fmla="*/ 33 h 153"/>
                <a:gd name="T42" fmla="*/ 23 w 155"/>
                <a:gd name="T43" fmla="*/ 21 h 153"/>
                <a:gd name="T44" fmla="*/ 35 w 155"/>
                <a:gd name="T45" fmla="*/ 12 h 153"/>
                <a:gd name="T46" fmla="*/ 47 w 155"/>
                <a:gd name="T47" fmla="*/ 5 h 153"/>
                <a:gd name="T48" fmla="*/ 62 w 155"/>
                <a:gd name="T49" fmla="*/ 1 h 153"/>
                <a:gd name="T50" fmla="*/ 77 w 155"/>
                <a:gd name="T51" fmla="*/ 0 h 153"/>
                <a:gd name="T52" fmla="*/ 85 w 155"/>
                <a:gd name="T53" fmla="*/ 0 h 153"/>
                <a:gd name="T54" fmla="*/ 100 w 155"/>
                <a:gd name="T55" fmla="*/ 3 h 153"/>
                <a:gd name="T56" fmla="*/ 115 w 155"/>
                <a:gd name="T57" fmla="*/ 9 h 153"/>
                <a:gd name="T58" fmla="*/ 126 w 155"/>
                <a:gd name="T59" fmla="*/ 17 h 153"/>
                <a:gd name="T60" fmla="*/ 137 w 155"/>
                <a:gd name="T61" fmla="*/ 27 h 153"/>
                <a:gd name="T62" fmla="*/ 146 w 155"/>
                <a:gd name="T63" fmla="*/ 40 h 153"/>
                <a:gd name="T64" fmla="*/ 151 w 155"/>
                <a:gd name="T65" fmla="*/ 53 h 153"/>
                <a:gd name="T66" fmla="*/ 154 w 155"/>
                <a:gd name="T67" fmla="*/ 68 h 153"/>
                <a:gd name="T68" fmla="*/ 155 w 155"/>
                <a:gd name="T6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3">
                  <a:moveTo>
                    <a:pt x="155" y="76"/>
                  </a:moveTo>
                  <a:lnTo>
                    <a:pt x="155" y="76"/>
                  </a:lnTo>
                  <a:lnTo>
                    <a:pt x="154" y="84"/>
                  </a:lnTo>
                  <a:lnTo>
                    <a:pt x="153" y="91"/>
                  </a:lnTo>
                  <a:lnTo>
                    <a:pt x="151" y="99"/>
                  </a:lnTo>
                  <a:lnTo>
                    <a:pt x="148" y="106"/>
                  </a:lnTo>
                  <a:lnTo>
                    <a:pt x="146" y="113"/>
                  </a:lnTo>
                  <a:lnTo>
                    <a:pt x="141" y="120"/>
                  </a:lnTo>
                  <a:lnTo>
                    <a:pt x="137" y="126"/>
                  </a:lnTo>
                  <a:lnTo>
                    <a:pt x="132" y="131"/>
                  </a:lnTo>
                  <a:lnTo>
                    <a:pt x="126" y="136"/>
                  </a:lnTo>
                  <a:lnTo>
                    <a:pt x="121" y="140"/>
                  </a:lnTo>
                  <a:lnTo>
                    <a:pt x="115" y="144"/>
                  </a:lnTo>
                  <a:lnTo>
                    <a:pt x="108" y="147"/>
                  </a:lnTo>
                  <a:lnTo>
                    <a:pt x="100" y="150"/>
                  </a:lnTo>
                  <a:lnTo>
                    <a:pt x="93" y="152"/>
                  </a:lnTo>
                  <a:lnTo>
                    <a:pt x="85" y="153"/>
                  </a:lnTo>
                  <a:lnTo>
                    <a:pt x="77" y="153"/>
                  </a:lnTo>
                  <a:lnTo>
                    <a:pt x="77" y="153"/>
                  </a:lnTo>
                  <a:lnTo>
                    <a:pt x="70" y="153"/>
                  </a:lnTo>
                  <a:lnTo>
                    <a:pt x="62" y="152"/>
                  </a:lnTo>
                  <a:lnTo>
                    <a:pt x="54" y="150"/>
                  </a:lnTo>
                  <a:lnTo>
                    <a:pt x="47" y="147"/>
                  </a:lnTo>
                  <a:lnTo>
                    <a:pt x="40" y="144"/>
                  </a:lnTo>
                  <a:lnTo>
                    <a:pt x="35" y="140"/>
                  </a:lnTo>
                  <a:lnTo>
                    <a:pt x="29" y="136"/>
                  </a:lnTo>
                  <a:lnTo>
                    <a:pt x="23" y="131"/>
                  </a:lnTo>
                  <a:lnTo>
                    <a:pt x="18" y="126"/>
                  </a:lnTo>
                  <a:lnTo>
                    <a:pt x="14" y="120"/>
                  </a:lnTo>
                  <a:lnTo>
                    <a:pt x="10" y="113"/>
                  </a:lnTo>
                  <a:lnTo>
                    <a:pt x="6" y="106"/>
                  </a:lnTo>
                  <a:lnTo>
                    <a:pt x="4" y="99"/>
                  </a:lnTo>
                  <a:lnTo>
                    <a:pt x="2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2" y="60"/>
                  </a:lnTo>
                  <a:lnTo>
                    <a:pt x="4" y="53"/>
                  </a:lnTo>
                  <a:lnTo>
                    <a:pt x="6" y="47"/>
                  </a:lnTo>
                  <a:lnTo>
                    <a:pt x="10" y="40"/>
                  </a:lnTo>
                  <a:lnTo>
                    <a:pt x="14" y="33"/>
                  </a:lnTo>
                  <a:lnTo>
                    <a:pt x="18" y="27"/>
                  </a:lnTo>
                  <a:lnTo>
                    <a:pt x="23" y="21"/>
                  </a:lnTo>
                  <a:lnTo>
                    <a:pt x="29" y="17"/>
                  </a:lnTo>
                  <a:lnTo>
                    <a:pt x="35" y="12"/>
                  </a:lnTo>
                  <a:lnTo>
                    <a:pt x="40" y="9"/>
                  </a:lnTo>
                  <a:lnTo>
                    <a:pt x="47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93" y="1"/>
                  </a:lnTo>
                  <a:lnTo>
                    <a:pt x="100" y="3"/>
                  </a:lnTo>
                  <a:lnTo>
                    <a:pt x="108" y="5"/>
                  </a:lnTo>
                  <a:lnTo>
                    <a:pt x="115" y="9"/>
                  </a:lnTo>
                  <a:lnTo>
                    <a:pt x="121" y="12"/>
                  </a:lnTo>
                  <a:lnTo>
                    <a:pt x="126" y="17"/>
                  </a:lnTo>
                  <a:lnTo>
                    <a:pt x="132" y="21"/>
                  </a:lnTo>
                  <a:lnTo>
                    <a:pt x="137" y="27"/>
                  </a:lnTo>
                  <a:lnTo>
                    <a:pt x="141" y="33"/>
                  </a:lnTo>
                  <a:lnTo>
                    <a:pt x="146" y="40"/>
                  </a:lnTo>
                  <a:lnTo>
                    <a:pt x="148" y="47"/>
                  </a:lnTo>
                  <a:lnTo>
                    <a:pt x="151" y="53"/>
                  </a:lnTo>
                  <a:lnTo>
                    <a:pt x="153" y="60"/>
                  </a:lnTo>
                  <a:lnTo>
                    <a:pt x="154" y="68"/>
                  </a:lnTo>
                  <a:lnTo>
                    <a:pt x="155" y="76"/>
                  </a:lnTo>
                  <a:lnTo>
                    <a:pt x="15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cxnSp>
        <p:nvCxnSpPr>
          <p:cNvPr id="3141" name="Straight Connector 3140"/>
          <p:cNvCxnSpPr/>
          <p:nvPr/>
        </p:nvCxnSpPr>
        <p:spPr>
          <a:xfrm>
            <a:off x="2425693" y="6292198"/>
            <a:ext cx="3154349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2" name="Straight Connector 3141"/>
          <p:cNvCxnSpPr/>
          <p:nvPr/>
        </p:nvCxnSpPr>
        <p:spPr>
          <a:xfrm flipH="1">
            <a:off x="5580042" y="4508863"/>
            <a:ext cx="0" cy="178333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3" name="Straight Connector 3142"/>
          <p:cNvCxnSpPr/>
          <p:nvPr/>
        </p:nvCxnSpPr>
        <p:spPr>
          <a:xfrm flipV="1">
            <a:off x="4762402" y="3962406"/>
            <a:ext cx="0" cy="157837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4" name="Straight Connector 3143"/>
          <p:cNvCxnSpPr/>
          <p:nvPr/>
        </p:nvCxnSpPr>
        <p:spPr>
          <a:xfrm flipH="1">
            <a:off x="4082143" y="3962406"/>
            <a:ext cx="68580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45" name="Picture 4" descr="Ghana - Wikipedi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496" y="1785890"/>
            <a:ext cx="272868" cy="2743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6" name="Picture 12" descr="Democratic Republic of the Congo ..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2687" y="2916012"/>
            <a:ext cx="283301" cy="2743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47" name="Rectangle 3146"/>
          <p:cNvSpPr/>
          <p:nvPr/>
        </p:nvSpPr>
        <p:spPr>
          <a:xfrm>
            <a:off x="2084490" y="3624949"/>
            <a:ext cx="1716698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Bank Gambia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mmercial Banking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ww.fbnbankgambia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148" name="Picture 4" descr="Flag of the Gambia | Meaning, Colors ..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1631" y="3825245"/>
            <a:ext cx="280733" cy="2743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49" name="Oval 3148"/>
          <p:cNvSpPr/>
          <p:nvPr/>
        </p:nvSpPr>
        <p:spPr>
          <a:xfrm>
            <a:off x="4704610" y="4096295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50" name="Oval 3149"/>
          <p:cNvSpPr/>
          <p:nvPr/>
        </p:nvSpPr>
        <p:spPr>
          <a:xfrm>
            <a:off x="4984049" y="4442460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51" name="Oval 3150"/>
          <p:cNvSpPr/>
          <p:nvPr/>
        </p:nvSpPr>
        <p:spPr>
          <a:xfrm>
            <a:off x="5231983" y="4403270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52" name="Oval 3151"/>
          <p:cNvSpPr/>
          <p:nvPr/>
        </p:nvSpPr>
        <p:spPr>
          <a:xfrm>
            <a:off x="4859593" y="4349930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53" name="Oval 3152"/>
          <p:cNvSpPr/>
          <p:nvPr/>
        </p:nvSpPr>
        <p:spPr>
          <a:xfrm>
            <a:off x="4763392" y="4237765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54" name="Oval 3153"/>
          <p:cNvSpPr/>
          <p:nvPr/>
        </p:nvSpPr>
        <p:spPr>
          <a:xfrm>
            <a:off x="5541819" y="4488180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55" name="Oval 3154"/>
          <p:cNvSpPr/>
          <p:nvPr/>
        </p:nvSpPr>
        <p:spPr>
          <a:xfrm>
            <a:off x="6053341" y="4562163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56" name="Oval 3155"/>
          <p:cNvSpPr/>
          <p:nvPr/>
        </p:nvSpPr>
        <p:spPr>
          <a:xfrm>
            <a:off x="8768614" y="3533501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57" name="Oval 3156"/>
          <p:cNvSpPr/>
          <p:nvPr/>
        </p:nvSpPr>
        <p:spPr>
          <a:xfrm>
            <a:off x="5412093" y="3020514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58" name="Oval 3157"/>
          <p:cNvSpPr/>
          <p:nvPr/>
        </p:nvSpPr>
        <p:spPr>
          <a:xfrm>
            <a:off x="5716913" y="3126238"/>
            <a:ext cx="91440" cy="9144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59" name="Straight Connector 3158"/>
          <p:cNvCxnSpPr/>
          <p:nvPr/>
        </p:nvCxnSpPr>
        <p:spPr>
          <a:xfrm flipV="1">
            <a:off x="4809112" y="3477714"/>
            <a:ext cx="0" cy="80359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0" name="Straight Connector 3159"/>
          <p:cNvCxnSpPr/>
          <p:nvPr/>
        </p:nvCxnSpPr>
        <p:spPr>
          <a:xfrm flipH="1">
            <a:off x="3929743" y="3472545"/>
            <a:ext cx="879369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61" name="Picture 18" descr="Flag of Senegal | Colors, Symbols ...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1188" y="3327769"/>
            <a:ext cx="281176" cy="2743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62" name="Rectangle 3161"/>
          <p:cNvSpPr/>
          <p:nvPr/>
        </p:nvSpPr>
        <p:spPr>
          <a:xfrm>
            <a:off x="2084490" y="3086100"/>
            <a:ext cx="1716698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BNBank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Senegal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mmercial Banking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ww.fbnbanksenegal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63" name="Straight Connector 3162"/>
          <p:cNvCxnSpPr/>
          <p:nvPr/>
        </p:nvCxnSpPr>
        <p:spPr>
          <a:xfrm flipH="1" flipV="1">
            <a:off x="4894229" y="2963134"/>
            <a:ext cx="0" cy="1440136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4" name="Straight Connector 3163"/>
          <p:cNvCxnSpPr/>
          <p:nvPr/>
        </p:nvCxnSpPr>
        <p:spPr>
          <a:xfrm flipH="1">
            <a:off x="4014860" y="2974020"/>
            <a:ext cx="879369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65" name="Picture 10" descr="Flag of Sierra Leone | Meaning, Colors ...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927" y="2830146"/>
            <a:ext cx="272437" cy="2743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66" name="Rectangle 3165"/>
          <p:cNvSpPr/>
          <p:nvPr/>
        </p:nvSpPr>
        <p:spPr>
          <a:xfrm>
            <a:off x="1917152" y="2584821"/>
            <a:ext cx="1884036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Bank Sierra Leone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mmercial Banking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ww.fbnbanksierraleone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67" name="Straight Connector 3166"/>
          <p:cNvCxnSpPr/>
          <p:nvPr/>
        </p:nvCxnSpPr>
        <p:spPr>
          <a:xfrm flipH="1" flipV="1">
            <a:off x="5026182" y="2474963"/>
            <a:ext cx="0" cy="202083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8" name="Straight Connector 3167"/>
          <p:cNvCxnSpPr/>
          <p:nvPr/>
        </p:nvCxnSpPr>
        <p:spPr>
          <a:xfrm flipH="1">
            <a:off x="3929743" y="2474963"/>
            <a:ext cx="1092609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69" name="Picture 2" descr="Flag of Guinea | Colors, Symbols ...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600" y="2326453"/>
            <a:ext cx="270764" cy="2743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70" name="Rectangle 3169"/>
          <p:cNvSpPr/>
          <p:nvPr/>
        </p:nvSpPr>
        <p:spPr>
          <a:xfrm>
            <a:off x="1917152" y="2084163"/>
            <a:ext cx="1884036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Bank Guinea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mmercial Banking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ww.fbnbankguinea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71" name="Straight Connector 3170"/>
          <p:cNvCxnSpPr>
            <a:endCxn id="3145" idx="6"/>
          </p:cNvCxnSpPr>
          <p:nvPr/>
        </p:nvCxnSpPr>
        <p:spPr>
          <a:xfrm flipH="1">
            <a:off x="4082364" y="1913894"/>
            <a:ext cx="1201030" cy="9156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2" name="Straight Connector 3171"/>
          <p:cNvCxnSpPr/>
          <p:nvPr/>
        </p:nvCxnSpPr>
        <p:spPr>
          <a:xfrm flipH="1" flipV="1">
            <a:off x="5277703" y="1913894"/>
            <a:ext cx="0" cy="2527476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3" name="Rectangle 3172"/>
          <p:cNvSpPr/>
          <p:nvPr/>
        </p:nvSpPr>
        <p:spPr>
          <a:xfrm>
            <a:off x="1917152" y="1617170"/>
            <a:ext cx="1884036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Bank Ghana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mmercial Banking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ww.fbnbankghana.co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74" name="Straight Connector 3173"/>
          <p:cNvCxnSpPr/>
          <p:nvPr/>
        </p:nvCxnSpPr>
        <p:spPr>
          <a:xfrm flipV="1">
            <a:off x="5455637" y="1913894"/>
            <a:ext cx="0" cy="1190572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5" name="Straight Connector 3174"/>
          <p:cNvCxnSpPr/>
          <p:nvPr/>
        </p:nvCxnSpPr>
        <p:spPr>
          <a:xfrm>
            <a:off x="5455637" y="1913894"/>
            <a:ext cx="13370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6" name="Picture 8" descr="Flag of the United Kingdom | History ...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2687" y="1776734"/>
            <a:ext cx="284059" cy="2743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77" name="Rectangle 3176"/>
          <p:cNvSpPr/>
          <p:nvPr/>
        </p:nvSpPr>
        <p:spPr>
          <a:xfrm>
            <a:off x="7025951" y="1575406"/>
            <a:ext cx="1884036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Bank UK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ternational Banking and Trade Servic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ww.fbnbank.co.uk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78" name="Straight Connector 3177"/>
          <p:cNvCxnSpPr/>
          <p:nvPr/>
        </p:nvCxnSpPr>
        <p:spPr>
          <a:xfrm flipH="1" flipV="1">
            <a:off x="5743050" y="2449436"/>
            <a:ext cx="0" cy="768242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9" name="Straight Connector 3178"/>
          <p:cNvCxnSpPr/>
          <p:nvPr/>
        </p:nvCxnSpPr>
        <p:spPr>
          <a:xfrm flipV="1">
            <a:off x="5751832" y="2452727"/>
            <a:ext cx="104085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80" name="Picture 10" descr="Flag of France | History &amp; Meaning ...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2687" y="2326453"/>
            <a:ext cx="284218" cy="2743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81" name="Rectangle 3180"/>
          <p:cNvSpPr/>
          <p:nvPr/>
        </p:nvSpPr>
        <p:spPr>
          <a:xfrm>
            <a:off x="7025951" y="2132063"/>
            <a:ext cx="1884036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Bank UK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epresentative Office in Franc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82" name="Straight Connector 3181"/>
          <p:cNvCxnSpPr/>
          <p:nvPr/>
        </p:nvCxnSpPr>
        <p:spPr>
          <a:xfrm flipH="1" flipV="1">
            <a:off x="8820316" y="3134410"/>
            <a:ext cx="0" cy="466166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3" name="Straight Connector 3182"/>
          <p:cNvCxnSpPr>
            <a:endCxn id="1698" idx="21"/>
          </p:cNvCxnSpPr>
          <p:nvPr/>
        </p:nvCxnSpPr>
        <p:spPr>
          <a:xfrm flipV="1">
            <a:off x="8820316" y="3120123"/>
            <a:ext cx="340559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84" name="Picture 12" descr="File:Flag of the People's Republic of ...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0237" y="3007721"/>
            <a:ext cx="296160" cy="2743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85" name="Rectangle 3184"/>
          <p:cNvSpPr/>
          <p:nvPr/>
        </p:nvSpPr>
        <p:spPr>
          <a:xfrm>
            <a:off x="9432853" y="2805236"/>
            <a:ext cx="1884036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 Bank of Nigeria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epresentative Office in China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86" name="Straight Connector 3185"/>
          <p:cNvCxnSpPr>
            <a:endCxn id="640" idx="31"/>
          </p:cNvCxnSpPr>
          <p:nvPr/>
        </p:nvCxnSpPr>
        <p:spPr>
          <a:xfrm flipV="1">
            <a:off x="6091392" y="3054106"/>
            <a:ext cx="0" cy="1523338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7" name="Straight Connector 3186"/>
          <p:cNvCxnSpPr>
            <a:endCxn id="2185" idx="19"/>
          </p:cNvCxnSpPr>
          <p:nvPr/>
        </p:nvCxnSpPr>
        <p:spPr>
          <a:xfrm flipV="1">
            <a:off x="6091392" y="3054991"/>
            <a:ext cx="687502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8" name="Rectangle 3187"/>
          <p:cNvSpPr/>
          <p:nvPr/>
        </p:nvSpPr>
        <p:spPr>
          <a:xfrm>
            <a:off x="7025951" y="2718836"/>
            <a:ext cx="1884036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Bank DRC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mmercial Banking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ww.fbnbankdrc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89" name="Straight Connector 3188"/>
          <p:cNvCxnSpPr/>
          <p:nvPr/>
        </p:nvCxnSpPr>
        <p:spPr>
          <a:xfrm flipV="1">
            <a:off x="2425693" y="5341964"/>
            <a:ext cx="0" cy="939859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0" name="Rectangle 3189"/>
          <p:cNvSpPr/>
          <p:nvPr/>
        </p:nvSpPr>
        <p:spPr>
          <a:xfrm>
            <a:off x="1639325" y="4399998"/>
            <a:ext cx="1716698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 Bank of Nigeria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mmercial Banking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ww.firstbanknigeria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91" name="Rectangle 3190"/>
          <p:cNvSpPr/>
          <p:nvPr/>
        </p:nvSpPr>
        <p:spPr>
          <a:xfrm>
            <a:off x="-1" y="5043616"/>
            <a:ext cx="2342263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 Pension Custodian Nigeria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ension Fund Custodian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ww.firstpensioncustodian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92" name="Rectangle 3191"/>
          <p:cNvSpPr/>
          <p:nvPr/>
        </p:nvSpPr>
        <p:spPr>
          <a:xfrm>
            <a:off x="2797629" y="5043616"/>
            <a:ext cx="2107684" cy="685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 Nominees Nigeria Limit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on-Pension Asset Custodian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93" name="Straight Connector 3192"/>
          <p:cNvCxnSpPr>
            <a:stCxn id="3190" idx="1"/>
          </p:cNvCxnSpPr>
          <p:nvPr/>
        </p:nvCxnSpPr>
        <p:spPr>
          <a:xfrm flipH="1">
            <a:off x="870857" y="4742898"/>
            <a:ext cx="76846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4" name="Straight Connector 3193"/>
          <p:cNvCxnSpPr>
            <a:stCxn id="3190" idx="3"/>
          </p:cNvCxnSpPr>
          <p:nvPr/>
        </p:nvCxnSpPr>
        <p:spPr>
          <a:xfrm>
            <a:off x="3356023" y="4742898"/>
            <a:ext cx="768096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5" name="Straight Connector 3194"/>
          <p:cNvCxnSpPr/>
          <p:nvPr/>
        </p:nvCxnSpPr>
        <p:spPr>
          <a:xfrm>
            <a:off x="870857" y="4742470"/>
            <a:ext cx="0" cy="33244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6" name="Straight Connector 3195"/>
          <p:cNvCxnSpPr/>
          <p:nvPr/>
        </p:nvCxnSpPr>
        <p:spPr>
          <a:xfrm>
            <a:off x="4113233" y="4742470"/>
            <a:ext cx="0" cy="33244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97" name="Picture 2" descr="Nigeria - Simple English Wikipedia, the ...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287" y="5067551"/>
            <a:ext cx="372480" cy="36576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98" name="Slide Number Placeholder 4"/>
          <p:cNvSpPr txBox="1"/>
          <p:nvPr/>
        </p:nvSpPr>
        <p:spPr>
          <a:xfrm>
            <a:off x="11493710" y="6315964"/>
            <a:ext cx="59303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930B5CD-230D-41EA-8C44-E0031D6C1835}" type="slidenum">
              <a:rPr kumimoji="0" lang="en-ZA" sz="105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fld>
            <a:endParaRPr kumimoji="0" lang="en-ZA" sz="105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8255" imgH="8255" progId="TCLayout.ActiveDocument.1">
                  <p:embed/>
                </p:oleObj>
              </mc:Choice>
              <mc:Fallback>
                <p:oleObj name="think-cell Slide" r:id="rId2" imgW="8255" imgH="825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/>
          <p:nvPr/>
        </p:nvSpPr>
        <p:spPr>
          <a:xfrm>
            <a:off x="82445" y="252933"/>
            <a:ext cx="10295269" cy="82635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Frutiger LT 55 Roman" panose="020B0603030504020204" pitchFamily="34" charset="0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000" dirty="0">
                <a:solidFill>
                  <a:srgbClr val="000000"/>
                </a:solidFill>
                <a:latin typeface="Calibri Light" panose="020F0302020204030204" pitchFamily="34" charset="0"/>
              </a:rPr>
              <a:t>We are a leading and dominant Bank across key customer segments with strong commitment to innovation and customer experience…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Freeform: Shape 16"/>
          <p:cNvSpPr/>
          <p:nvPr/>
        </p:nvSpPr>
        <p:spPr>
          <a:xfrm>
            <a:off x="6140568" y="1662097"/>
            <a:ext cx="1784233" cy="2373332"/>
          </a:xfrm>
          <a:custGeom>
            <a:avLst/>
            <a:gdLst>
              <a:gd name="connsiteX0" fmla="*/ 0 w 1784233"/>
              <a:gd name="connsiteY0" fmla="*/ 0 h 2373332"/>
              <a:gd name="connsiteX1" fmla="*/ 142417 w 1784233"/>
              <a:gd name="connsiteY1" fmla="*/ 7191 h 2373332"/>
              <a:gd name="connsiteX2" fmla="*/ 1784233 w 1784233"/>
              <a:gd name="connsiteY2" fmla="*/ 1826549 h 2373332"/>
              <a:gd name="connsiteX3" fmla="*/ 1702014 w 1784233"/>
              <a:gd name="connsiteY3" fmla="*/ 2370378 h 2373332"/>
              <a:gd name="connsiteX4" fmla="*/ 1700933 w 1784233"/>
              <a:gd name="connsiteY4" fmla="*/ 2373332 h 2373332"/>
              <a:gd name="connsiteX5" fmla="*/ 842243 w 1784233"/>
              <a:gd name="connsiteY5" fmla="*/ 1885116 h 2373332"/>
              <a:gd name="connsiteX6" fmla="*/ 845120 w 1784233"/>
              <a:gd name="connsiteY6" fmla="*/ 1826549 h 2373332"/>
              <a:gd name="connsiteX7" fmla="*/ 46398 w 1784233"/>
              <a:gd name="connsiteY7" fmla="*/ 916870 h 2373332"/>
              <a:gd name="connsiteX8" fmla="*/ 0 w 1784233"/>
              <a:gd name="connsiteY8" fmla="*/ 914462 h 2373332"/>
              <a:gd name="connsiteX9" fmla="*/ 0 w 1784233"/>
              <a:gd name="connsiteY9" fmla="*/ 0 h 2373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84233" h="2373332">
                <a:moveTo>
                  <a:pt x="0" y="0"/>
                </a:moveTo>
                <a:lnTo>
                  <a:pt x="142417" y="7191"/>
                </a:lnTo>
                <a:cubicBezTo>
                  <a:pt x="1064602" y="100844"/>
                  <a:pt x="1784233" y="879656"/>
                  <a:pt x="1784233" y="1826549"/>
                </a:cubicBezTo>
                <a:cubicBezTo>
                  <a:pt x="1784233" y="2015928"/>
                  <a:pt x="1755448" y="2198583"/>
                  <a:pt x="1702014" y="2370378"/>
                </a:cubicBezTo>
                <a:lnTo>
                  <a:pt x="1700933" y="2373332"/>
                </a:lnTo>
                <a:lnTo>
                  <a:pt x="842243" y="1885116"/>
                </a:lnTo>
                <a:lnTo>
                  <a:pt x="845120" y="1826549"/>
                </a:lnTo>
                <a:cubicBezTo>
                  <a:pt x="845120" y="1353103"/>
                  <a:pt x="495029" y="963697"/>
                  <a:pt x="46398" y="916870"/>
                </a:cubicBezTo>
                <a:lnTo>
                  <a:pt x="0" y="9144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Freeform: Shape 17"/>
          <p:cNvSpPr/>
          <p:nvPr/>
        </p:nvSpPr>
        <p:spPr>
          <a:xfrm>
            <a:off x="4267201" y="1662213"/>
            <a:ext cx="1781927" cy="2373216"/>
          </a:xfrm>
          <a:custGeom>
            <a:avLst/>
            <a:gdLst>
              <a:gd name="connsiteX0" fmla="*/ 1781927 w 1781927"/>
              <a:gd name="connsiteY0" fmla="*/ 0 h 2373216"/>
              <a:gd name="connsiteX1" fmla="*/ 1781927 w 1781927"/>
              <a:gd name="connsiteY1" fmla="*/ 914466 h 2373216"/>
              <a:gd name="connsiteX2" fmla="*/ 1737835 w 1781927"/>
              <a:gd name="connsiteY2" fmla="*/ 916754 h 2373216"/>
              <a:gd name="connsiteX3" fmla="*/ 939114 w 1781927"/>
              <a:gd name="connsiteY3" fmla="*/ 1826433 h 2373216"/>
              <a:gd name="connsiteX4" fmla="*/ 941991 w 1781927"/>
              <a:gd name="connsiteY4" fmla="*/ 1885000 h 2373216"/>
              <a:gd name="connsiteX5" fmla="*/ 83300 w 1781927"/>
              <a:gd name="connsiteY5" fmla="*/ 2373216 h 2373216"/>
              <a:gd name="connsiteX6" fmla="*/ 82219 w 1781927"/>
              <a:gd name="connsiteY6" fmla="*/ 2370262 h 2373216"/>
              <a:gd name="connsiteX7" fmla="*/ 0 w 1781927"/>
              <a:gd name="connsiteY7" fmla="*/ 1826433 h 2373216"/>
              <a:gd name="connsiteX8" fmla="*/ 1641816 w 1781927"/>
              <a:gd name="connsiteY8" fmla="*/ 7075 h 2373216"/>
              <a:gd name="connsiteX9" fmla="*/ 1781927 w 1781927"/>
              <a:gd name="connsiteY9" fmla="*/ 0 h 2373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81927" h="2373216">
                <a:moveTo>
                  <a:pt x="1781927" y="0"/>
                </a:moveTo>
                <a:lnTo>
                  <a:pt x="1781927" y="914466"/>
                </a:lnTo>
                <a:lnTo>
                  <a:pt x="1737835" y="916754"/>
                </a:lnTo>
                <a:cubicBezTo>
                  <a:pt x="1289205" y="963581"/>
                  <a:pt x="939114" y="1352987"/>
                  <a:pt x="939114" y="1826433"/>
                </a:cubicBezTo>
                <a:lnTo>
                  <a:pt x="941991" y="1885000"/>
                </a:lnTo>
                <a:lnTo>
                  <a:pt x="83300" y="2373216"/>
                </a:lnTo>
                <a:lnTo>
                  <a:pt x="82219" y="2370262"/>
                </a:lnTo>
                <a:cubicBezTo>
                  <a:pt x="28786" y="2198467"/>
                  <a:pt x="0" y="2015812"/>
                  <a:pt x="0" y="1826433"/>
                </a:cubicBezTo>
                <a:cubicBezTo>
                  <a:pt x="0" y="879540"/>
                  <a:pt x="719633" y="100728"/>
                  <a:pt x="1641816" y="7075"/>
                </a:cubicBezTo>
                <a:lnTo>
                  <a:pt x="1781927" y="0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Freeform: Shape 18"/>
          <p:cNvSpPr/>
          <p:nvPr/>
        </p:nvSpPr>
        <p:spPr>
          <a:xfrm>
            <a:off x="4382367" y="3646030"/>
            <a:ext cx="3427266" cy="1671417"/>
          </a:xfrm>
          <a:custGeom>
            <a:avLst/>
            <a:gdLst>
              <a:gd name="connsiteX0" fmla="*/ 2589240 w 3427266"/>
              <a:gd name="connsiteY0" fmla="*/ 0 h 1671417"/>
              <a:gd name="connsiteX1" fmla="*/ 3427266 w 3427266"/>
              <a:gd name="connsiteY1" fmla="*/ 476467 h 1671417"/>
              <a:gd name="connsiteX2" fmla="*/ 3398717 w 3427266"/>
              <a:gd name="connsiteY2" fmla="*/ 554469 h 1671417"/>
              <a:gd name="connsiteX3" fmla="*/ 1713633 w 3427266"/>
              <a:gd name="connsiteY3" fmla="*/ 1671417 h 1671417"/>
              <a:gd name="connsiteX4" fmla="*/ 28549 w 3427266"/>
              <a:gd name="connsiteY4" fmla="*/ 554469 h 1671417"/>
              <a:gd name="connsiteX5" fmla="*/ 0 w 3427266"/>
              <a:gd name="connsiteY5" fmla="*/ 476468 h 1671417"/>
              <a:gd name="connsiteX6" fmla="*/ 838028 w 3427266"/>
              <a:gd name="connsiteY6" fmla="*/ 0 h 1671417"/>
              <a:gd name="connsiteX7" fmla="*/ 842022 w 3427266"/>
              <a:gd name="connsiteY7" fmla="*/ 26900 h 1671417"/>
              <a:gd name="connsiteX8" fmla="*/ 1713633 w 3427266"/>
              <a:gd name="connsiteY8" fmla="*/ 757017 h 1671417"/>
              <a:gd name="connsiteX9" fmla="*/ 2585245 w 3427266"/>
              <a:gd name="connsiteY9" fmla="*/ 26900 h 1671417"/>
              <a:gd name="connsiteX10" fmla="*/ 2589240 w 3427266"/>
              <a:gd name="connsiteY10" fmla="*/ 0 h 1671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27266" h="1671417">
                <a:moveTo>
                  <a:pt x="2589240" y="0"/>
                </a:moveTo>
                <a:lnTo>
                  <a:pt x="3427266" y="476467"/>
                </a:lnTo>
                <a:lnTo>
                  <a:pt x="3398717" y="554469"/>
                </a:lnTo>
                <a:cubicBezTo>
                  <a:pt x="3121090" y="1210853"/>
                  <a:pt x="2471147" y="1671417"/>
                  <a:pt x="1713633" y="1671417"/>
                </a:cubicBezTo>
                <a:cubicBezTo>
                  <a:pt x="956120" y="1671417"/>
                  <a:pt x="306176" y="1210853"/>
                  <a:pt x="28549" y="554469"/>
                </a:cubicBezTo>
                <a:lnTo>
                  <a:pt x="0" y="476468"/>
                </a:lnTo>
                <a:lnTo>
                  <a:pt x="838028" y="0"/>
                </a:lnTo>
                <a:lnTo>
                  <a:pt x="842022" y="26900"/>
                </a:lnTo>
                <a:cubicBezTo>
                  <a:pt x="924982" y="443577"/>
                  <a:pt x="1283693" y="757017"/>
                  <a:pt x="1713633" y="757017"/>
                </a:cubicBezTo>
                <a:cubicBezTo>
                  <a:pt x="2143574" y="757017"/>
                  <a:pt x="2502285" y="443577"/>
                  <a:pt x="2585245" y="26900"/>
                </a:cubicBezTo>
                <a:lnTo>
                  <a:pt x="258924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61737" y="1322391"/>
            <a:ext cx="3121691" cy="794641"/>
          </a:xfrm>
          <a:prstGeom prst="rect">
            <a:avLst/>
          </a:prstGeom>
          <a:noFill/>
          <a:ln>
            <a:solidFill>
              <a:srgbClr val="00206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etail Banking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rves SMEs, local governments, and individual customer segments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61737" y="2117032"/>
            <a:ext cx="3121691" cy="794641"/>
          </a:xfrm>
          <a:prstGeom prst="rect">
            <a:avLst/>
          </a:prstGeom>
          <a:noFill/>
          <a:ln>
            <a:solidFill>
              <a:srgbClr val="00206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mmercial Banking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rves the middle segment of the Nigerian corporate landscap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61737" y="2911673"/>
            <a:ext cx="3121691" cy="794641"/>
          </a:xfrm>
          <a:prstGeom prst="rect">
            <a:avLst/>
          </a:prstGeom>
          <a:noFill/>
          <a:ln>
            <a:solidFill>
              <a:srgbClr val="00206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rporate Banking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rves all high net worth / blue chip corporate customers, multinationals, and specialized industries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61737" y="3706314"/>
            <a:ext cx="3121691" cy="794641"/>
          </a:xfrm>
          <a:prstGeom prst="rect">
            <a:avLst/>
          </a:prstGeom>
          <a:noFill/>
          <a:ln>
            <a:solidFill>
              <a:srgbClr val="00206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ublic Sector Banking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rves Government, Government Agencies and foreign government institution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61737" y="4500955"/>
            <a:ext cx="3121691" cy="794641"/>
          </a:xfrm>
          <a:prstGeom prst="rect">
            <a:avLst/>
          </a:prstGeom>
          <a:noFill/>
          <a:ln>
            <a:solidFill>
              <a:srgbClr val="00206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ternational Banking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versees International Business Locations to drive profitability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61737" y="5295596"/>
            <a:ext cx="3121691" cy="794641"/>
          </a:xfrm>
          <a:prstGeom prst="rect">
            <a:avLst/>
          </a:prstGeom>
          <a:noFill/>
          <a:ln>
            <a:solidFill>
              <a:srgbClr val="00206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lobal Private Banking &amp; Wealth Management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aters to high net-worth and ultra-high net-worth individuals across the Bank’s operating jurisdictions.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656649" y="1436699"/>
            <a:ext cx="3121691" cy="794641"/>
          </a:xfrm>
          <a:prstGeom prst="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reasury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rves the banking needs of the Bank’s non-bank financial institutions’ customers.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656649" y="2367412"/>
            <a:ext cx="3121691" cy="794641"/>
          </a:xfrm>
          <a:prstGeom prst="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ransaction Banking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evelops and manages the Bank’s trade products and offerings for wholesale banking customers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656649" y="3298125"/>
            <a:ext cx="3121691" cy="794641"/>
          </a:xfrm>
          <a:prstGeom prst="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-Business and Retail Products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evelops and manages the Bank’s digital products and retail banking offerings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28" b="19076"/>
          <a:stretch>
            <a:fillRect/>
          </a:stretch>
        </p:blipFill>
        <p:spPr>
          <a:xfrm>
            <a:off x="5288974" y="3238525"/>
            <a:ext cx="1726916" cy="565762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 rot="18734274">
            <a:off x="4234313" y="2498583"/>
            <a:ext cx="16981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duct Group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 rot="2800157">
            <a:off x="6256227" y="2577509"/>
            <a:ext cx="1788312" cy="365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verage Group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288974" y="4643172"/>
            <a:ext cx="1603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sset Custody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3938934" y="1719712"/>
            <a:ext cx="0" cy="3973205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3940629" y="3299918"/>
            <a:ext cx="326572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stCxn id="25" idx="3"/>
          </p:cNvCxnSpPr>
          <p:nvPr/>
        </p:nvCxnSpPr>
        <p:spPr>
          <a:xfrm>
            <a:off x="3483428" y="5692917"/>
            <a:ext cx="455506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24" idx="3"/>
          </p:cNvCxnSpPr>
          <p:nvPr/>
        </p:nvCxnSpPr>
        <p:spPr>
          <a:xfrm>
            <a:off x="3483428" y="4898276"/>
            <a:ext cx="457058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23" idx="3"/>
          </p:cNvCxnSpPr>
          <p:nvPr/>
        </p:nvCxnSpPr>
        <p:spPr>
          <a:xfrm>
            <a:off x="3483428" y="4103635"/>
            <a:ext cx="457201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3483428" y="3299918"/>
            <a:ext cx="457201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3483428" y="2525256"/>
            <a:ext cx="457058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8196945" y="1752647"/>
            <a:ext cx="0" cy="1745372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7766402" y="2712086"/>
            <a:ext cx="435286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175600" y="2712086"/>
            <a:ext cx="435286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8196945" y="3498019"/>
            <a:ext cx="435286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6128658" y="5306561"/>
            <a:ext cx="0" cy="141516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7353458" y="5622821"/>
            <a:ext cx="2387318" cy="612520"/>
          </a:xfrm>
          <a:prstGeom prst="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 Nominees Nigeria Limited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vides safekeeping services for non-pension financial assets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4046100" y="5622820"/>
            <a:ext cx="2387317" cy="612521"/>
          </a:xfrm>
          <a:prstGeom prst="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 Pension Custodians Limited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ffers pension fund custody services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4963885" y="5448072"/>
            <a:ext cx="2960916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4963885" y="5448075"/>
            <a:ext cx="0" cy="141516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7924798" y="5448072"/>
            <a:ext cx="0" cy="141516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lide Number Placeholder 4"/>
          <p:cNvSpPr txBox="1"/>
          <p:nvPr/>
        </p:nvSpPr>
        <p:spPr>
          <a:xfrm>
            <a:off x="11493710" y="6265860"/>
            <a:ext cx="59303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930B5CD-230D-41EA-8C44-E0031D6C1835}" type="slidenum">
              <a:rPr kumimoji="0" lang="en-ZA" sz="105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fld>
            <a:endParaRPr kumimoji="0" lang="en-ZA" sz="105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" name="Straight Connector 1"/>
          <p:cNvCxnSpPr/>
          <p:nvPr/>
        </p:nvCxnSpPr>
        <p:spPr>
          <a:xfrm>
            <a:off x="3483428" y="1719712"/>
            <a:ext cx="455506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8196945" y="1752647"/>
            <a:ext cx="435286" cy="0"/>
          </a:xfrm>
          <a:prstGeom prst="line">
            <a:avLst/>
          </a:prstGeom>
          <a:ln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000" b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Our broad coverage and robust business model have resulted in remarkable performance results...</a:t>
            </a:r>
            <a:endParaRPr lang="en-US" sz="200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3452" y="1599413"/>
            <a:ext cx="2922384" cy="4669969"/>
          </a:xfrm>
          <a:prstGeom prst="rect">
            <a:avLst/>
          </a:prstGeom>
          <a:noFill/>
          <a:ln w="19050">
            <a:solidFill>
              <a:srgbClr val="EDA9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78930" y="1599409"/>
            <a:ext cx="2922384" cy="4669969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85989" y="1599411"/>
            <a:ext cx="2922384" cy="4669969"/>
          </a:xfrm>
          <a:prstGeom prst="rect">
            <a:avLst/>
          </a:prstGeom>
          <a:noFill/>
          <a:ln w="19050">
            <a:solidFill>
              <a:srgbClr val="AC004D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089135" y="1599407"/>
            <a:ext cx="2922384" cy="4669969"/>
          </a:xfrm>
          <a:prstGeom prst="rect">
            <a:avLst/>
          </a:prstGeom>
          <a:noFill/>
          <a:ln w="19050">
            <a:solidFill>
              <a:srgbClr val="A6A6A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444715" y="6229829"/>
            <a:ext cx="59303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930B5CD-230D-41EA-8C44-E0031D6C1835}" type="slidenum">
              <a:rPr kumimoji="0" lang="en-ZA" sz="105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fld>
            <a:endParaRPr kumimoji="0" lang="en-ZA" sz="105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05747" y="1370811"/>
            <a:ext cx="2057400" cy="422337"/>
          </a:xfrm>
          <a:prstGeom prst="rect">
            <a:avLst/>
          </a:prstGeom>
          <a:solidFill>
            <a:srgbClr val="EDA900"/>
          </a:solidFill>
          <a:ln>
            <a:solidFill>
              <a:srgbClr val="EDA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xtensive Coverage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511040" y="1388238"/>
            <a:ext cx="2057400" cy="422337"/>
          </a:xfrm>
          <a:prstGeom prst="rect">
            <a:avLst/>
          </a:prstGeom>
          <a:solidFill>
            <a:srgbClr val="002060"/>
          </a:solidFill>
          <a:ln>
            <a:solidFill>
              <a:srgbClr val="022D6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obust Financial Metric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516333" y="1388238"/>
            <a:ext cx="2057400" cy="422337"/>
          </a:xfrm>
          <a:prstGeom prst="rect">
            <a:avLst/>
          </a:prstGeom>
          <a:solidFill>
            <a:srgbClr val="AC004D"/>
          </a:solidFill>
          <a:ln>
            <a:solidFill>
              <a:srgbClr val="AC00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igital Innovation Leader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9521627" y="1388238"/>
            <a:ext cx="2057400" cy="4223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trong Competitive Stance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4" y="1921785"/>
            <a:ext cx="560206" cy="548640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914095" y="1903673"/>
            <a:ext cx="193119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17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usiness Locations across 9 countries</a:t>
            </a:r>
            <a:endParaRPr kumimoji="0" lang="en-US" sz="1000" b="0" i="0" u="none" strike="noStrike" kern="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4" y="2879655"/>
            <a:ext cx="696779" cy="550378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4037353" y="2130250"/>
            <a:ext cx="170701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dbl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20bn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rofit before Tax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pic>
        <p:nvPicPr>
          <p:cNvPr id="32" name="Graphic 31" descr="Money with solid fill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19040" y="1908417"/>
            <a:ext cx="801644" cy="801644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914095" y="5446671"/>
            <a:ext cx="171050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~ </a:t>
            </a: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3 million</a:t>
            </a: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        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ustomer Accounts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14095" y="4264672"/>
            <a:ext cx="183841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gt;280,000 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   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gent Banking Locations 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pic>
        <p:nvPicPr>
          <p:cNvPr id="41" name="Graphic 40" descr="Upward trend outlin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15936" y="3043630"/>
            <a:ext cx="786060" cy="786060"/>
          </a:xfrm>
          <a:prstGeom prst="rect">
            <a:avLst/>
          </a:prstGeom>
        </p:spPr>
      </p:pic>
      <p:pic>
        <p:nvPicPr>
          <p:cNvPr id="43" name="Graphic 42" descr="Users outlin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094" y="5321399"/>
            <a:ext cx="793797" cy="793797"/>
          </a:xfrm>
          <a:prstGeom prst="rect">
            <a:avLst/>
          </a:prstGeom>
        </p:spPr>
      </p:pic>
      <p:pic>
        <p:nvPicPr>
          <p:cNvPr id="45" name="Graphic 44" descr="Social network outlin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5094" y="4114502"/>
            <a:ext cx="795528" cy="795528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9661433" y="2956518"/>
            <a:ext cx="18453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gt;15 billion </a:t>
            </a:r>
            <a:endParaRPr kumimoji="0" lang="en-US" sz="3600" b="1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270354" y="4453663"/>
            <a:ext cx="25980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00" b="0" i="0" u="none" strike="noStrike" kern="0" cap="none" spc="-1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ast growing USSD</a:t>
            </a:r>
            <a:r>
              <a:rPr kumimoji="0" lang="en-US" sz="900" b="0" i="0" u="none" strike="noStrike" kern="0" cap="none" spc="-18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US" sz="900" b="0" i="0" u="none" strike="noStrike" kern="0" cap="none" spc="-1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banking service with over </a:t>
            </a:r>
            <a:r>
              <a:rPr kumimoji="0" lang="en-US" sz="1400" b="1" i="0" u="none" strike="noStrike" kern="0" cap="none" spc="-1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16m subscribers</a:t>
            </a:r>
            <a:endParaRPr kumimoji="0" lang="en-US" sz="900" b="1" i="0" u="none" strike="noStrike" kern="0" cap="none" spc="-18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9270354" y="2389232"/>
            <a:ext cx="2435923" cy="366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Market share of electronic banking transactions in the Banking Industry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688387" y="3975564"/>
            <a:ext cx="1536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894#</a:t>
            </a:r>
            <a:endParaRPr kumimoji="0" lang="en-US" sz="2800" b="1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9270354" y="3450184"/>
            <a:ext cx="2599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In annual transaction volumes on the core banking platform 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742488" y="1902201"/>
            <a:ext cx="10769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~20%</a:t>
            </a:r>
            <a:endParaRPr kumimoji="0" lang="en-US" sz="44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37353" y="4321482"/>
            <a:ext cx="18735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4.6%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re-Tax Return on Average Equity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037353" y="5431853"/>
            <a:ext cx="199002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dbl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5.4tn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otal Assets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7232" y="2121235"/>
            <a:ext cx="696779" cy="55037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6882498" y="3164961"/>
            <a:ext cx="1701905" cy="530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4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gt;25 million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184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igital Banking Users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7232" y="5309653"/>
            <a:ext cx="696779" cy="550378"/>
          </a:xfrm>
          <a:prstGeom prst="rect">
            <a:avLst/>
          </a:prstGeom>
        </p:spPr>
      </p:pic>
      <p:pic>
        <p:nvPicPr>
          <p:cNvPr id="66" name="Graphic 65" descr="Users outlin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37232" y="3010088"/>
            <a:ext cx="793797" cy="793797"/>
          </a:xfrm>
          <a:prstGeom prst="rect">
            <a:avLst/>
          </a:prstGeom>
        </p:spPr>
      </p:pic>
      <p:pic>
        <p:nvPicPr>
          <p:cNvPr id="76" name="Graphic 75" descr="Gold bars outlin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192752" y="4075553"/>
            <a:ext cx="804672" cy="804672"/>
          </a:xfrm>
          <a:prstGeom prst="rect">
            <a:avLst/>
          </a:prstGeom>
        </p:spPr>
      </p:pic>
      <p:pic>
        <p:nvPicPr>
          <p:cNvPr id="78" name="Graphic 77" descr="Coins outline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97324" y="5298935"/>
            <a:ext cx="804672" cy="804672"/>
          </a:xfrm>
          <a:prstGeom prst="rect">
            <a:avLst/>
          </a:prstGeom>
        </p:spPr>
      </p:pic>
      <p:pic>
        <p:nvPicPr>
          <p:cNvPr id="82" name="Graphic 81" descr="Credit card outline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137232" y="4235195"/>
            <a:ext cx="665489" cy="665489"/>
          </a:xfrm>
          <a:prstGeom prst="rect">
            <a:avLst/>
          </a:prstGeom>
        </p:spPr>
      </p:pic>
      <p:sp>
        <p:nvSpPr>
          <p:cNvPr id="85" name="TextBox 84"/>
          <p:cNvSpPr txBox="1"/>
          <p:nvPr/>
        </p:nvSpPr>
        <p:spPr>
          <a:xfrm>
            <a:off x="9270354" y="5591936"/>
            <a:ext cx="26064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-1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Only Bank to have carried out 100 million transaction per month on the main switch network in Nigeria</a:t>
            </a:r>
            <a:endParaRPr kumimoji="0" lang="en-US" sz="1000" b="0" i="0" u="none" strike="noStrike" kern="0" cap="none" spc="-18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979" y="5077606"/>
            <a:ext cx="714605" cy="47326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037353" y="3154844"/>
            <a:ext cx="170701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dbl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1tn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Gross Earnings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14095" y="2860832"/>
            <a:ext cx="1620145" cy="112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45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gt;3,000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Ms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1845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gt;290,000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OS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Largest distribution of alternative channels and touch points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882497" y="4369851"/>
            <a:ext cx="1924547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45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#2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Largest card issuer in Africa with over 12 million Issued Cards</a:t>
            </a:r>
            <a:endParaRPr kumimoji="0" lang="en-US" sz="1000" b="0" i="0" u="sng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882498" y="5466506"/>
            <a:ext cx="183190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45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gt;222 million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lectronic Banking Transactions </a:t>
            </a:r>
            <a:r>
              <a:rPr kumimoji="0" lang="en-US" sz="10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er Month</a:t>
            </a:r>
            <a:endParaRPr kumimoji="0" lang="en-US" sz="1000" b="0" i="0" u="sng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882498" y="2121235"/>
            <a:ext cx="170190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45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dbl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285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5.74tn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0285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lectronic Banking Transactions Value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8255" imgH="8255" progId="TCLayout.ActiveDocument.1">
                  <p:embed/>
                </p:oleObj>
              </mc:Choice>
              <mc:Fallback>
                <p:oleObj name="think-cell Slide" r:id="rId2" imgW="8255" imgH="825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/>
          <p:nvPr/>
        </p:nvSpPr>
        <p:spPr>
          <a:xfrm>
            <a:off x="82445" y="252933"/>
            <a:ext cx="10275757" cy="82635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Frutiger LT 55 Roman" panose="020B0603030504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FirstBank’s Partnership Advantage is built upon its experience, expertise, and a proven history of delivering value.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object 21"/>
          <p:cNvSpPr txBox="1"/>
          <p:nvPr/>
        </p:nvSpPr>
        <p:spPr>
          <a:xfrm>
            <a:off x="924274" y="3014998"/>
            <a:ext cx="2915459" cy="12352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430" marR="4445" lvl="0" indent="0" algn="l" defTabSz="843915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0" cap="none" spc="5" normalizeH="0" baseline="0" noProof="0">
                <a:ln>
                  <a:noFill/>
                </a:ln>
                <a:solidFill>
                  <a:srgbClr val="09375D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dustry Knowledge:  W</a:t>
            </a:r>
            <a:r>
              <a:rPr kumimoji="0" lang="en-US" sz="1600" b="0" i="0" u="none" strike="noStrike" kern="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 bring deep Industry expertise gained from countless hands-on experiences spanning functions, sectors, and geographies.</a:t>
            </a:r>
            <a:endParaRPr kumimoji="0" sz="1600" b="0" i="0" u="none" strike="noStrike" kern="0" cap="none" spc="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3" name="object 26"/>
          <p:cNvSpPr txBox="1"/>
          <p:nvPr/>
        </p:nvSpPr>
        <p:spPr>
          <a:xfrm>
            <a:off x="924275" y="1456344"/>
            <a:ext cx="2667934" cy="9866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430" marR="4445" lvl="0" indent="0" algn="l" defTabSz="843915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0" cap="none" spc="-5" normalizeH="0" baseline="0" noProof="0">
                <a:ln>
                  <a:noFill/>
                </a:ln>
                <a:solidFill>
                  <a:srgbClr val="09375D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novative Solutions: W</a:t>
            </a:r>
            <a:r>
              <a:rPr kumimoji="0" lang="en-US" sz="1600" b="0" i="0" u="none" strike="noStrike" kern="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 will collaborate with you to deliver bespoke solutions that cater to your needs.</a:t>
            </a:r>
            <a:endParaRPr kumimoji="0" lang="en-US" sz="1600" b="0" i="0" u="none" strike="noStrike" kern="0" cap="none" spc="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4" name="object 29"/>
          <p:cNvSpPr txBox="1"/>
          <p:nvPr/>
        </p:nvSpPr>
        <p:spPr>
          <a:xfrm>
            <a:off x="924297" y="4870995"/>
            <a:ext cx="2667911" cy="14839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430" marR="4445" lvl="0" indent="0" algn="l" defTabSz="843915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0" cap="none" spc="5" normalizeH="0" baseline="0" noProof="0">
                <a:ln>
                  <a:noFill/>
                </a:ln>
                <a:solidFill>
                  <a:srgbClr val="09375D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e Listen: W</a:t>
            </a:r>
            <a:r>
              <a:rPr kumimoji="0" lang="en-US" sz="1600" b="0" i="0" u="none" strike="noStrike" kern="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 put our Customers at the heart of everything we do. We listen and respond to their needs as we constantly strive to Improve our products and services</a:t>
            </a:r>
            <a:endParaRPr kumimoji="0" sz="1600" b="0" i="0" u="none" strike="noStrike" kern="0" cap="none" spc="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5" name="object 39"/>
          <p:cNvSpPr txBox="1"/>
          <p:nvPr/>
        </p:nvSpPr>
        <p:spPr>
          <a:xfrm>
            <a:off x="8599793" y="4813558"/>
            <a:ext cx="2710960" cy="12663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430" marR="4445" lvl="0" indent="0" algn="l" defTabSz="843915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0" cap="none" spc="-9" normalizeH="0" baseline="0" noProof="0">
                <a:ln>
                  <a:noFill/>
                </a:ln>
                <a:solidFill>
                  <a:srgbClr val="09375D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ong Term Commitment</a:t>
            </a:r>
            <a:r>
              <a:rPr kumimoji="0" lang="en-US" sz="1800" b="1" i="0" u="none" strike="noStrike" kern="0" cap="none" spc="-9" normalizeH="0" baseline="0" noProof="0">
                <a:ln>
                  <a:noFill/>
                </a:ln>
                <a:solidFill>
                  <a:srgbClr val="09375D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. W</a:t>
            </a:r>
            <a:r>
              <a:rPr kumimoji="0" lang="en-US" sz="1600" b="0" i="0" u="none" strike="noStrike" kern="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  play a leading role in the success of our clients’ businesses. It’s about what you need and how we respond.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4601718" y="4121457"/>
            <a:ext cx="278352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37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“</a:t>
            </a:r>
            <a:r>
              <a:rPr kumimoji="0" lang="en-US" sz="16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rstBank of Nigeria Limited has consistently put Clients at the heart of her Business for over 130 years”</a:t>
            </a:r>
            <a:endParaRPr kumimoji="0" lang="en-US" sz="16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7" name="object 42"/>
          <p:cNvSpPr txBox="1"/>
          <p:nvPr/>
        </p:nvSpPr>
        <p:spPr>
          <a:xfrm>
            <a:off x="8599790" y="1462323"/>
            <a:ext cx="271096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430" marR="4445" lvl="0" indent="0" algn="l" defTabSz="8439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0" cap="none" spc="-9" normalizeH="0" baseline="0" noProof="0">
                <a:ln>
                  <a:noFill/>
                </a:ln>
                <a:solidFill>
                  <a:srgbClr val="09375D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 trusted advisor. W</a:t>
            </a:r>
            <a:r>
              <a:rPr kumimoji="0" lang="en-US" sz="1600" b="0" i="0" u="none" strike="noStrike" kern="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 are more than just a bank; we aim to become your Trusted Advisor as we partner in accomplishing your goals.</a:t>
            </a:r>
            <a:endParaRPr kumimoji="0" sz="1600" b="0" i="0" u="none" strike="noStrike" kern="0" cap="none" spc="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object 39"/>
          <p:cNvSpPr txBox="1"/>
          <p:nvPr/>
        </p:nvSpPr>
        <p:spPr>
          <a:xfrm>
            <a:off x="8599790" y="3233306"/>
            <a:ext cx="2848347" cy="10177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430" marR="4445" lvl="0" indent="0" algn="l" defTabSz="843915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0" cap="none" spc="-9" normalizeH="0" baseline="0" noProof="0">
                <a:ln>
                  <a:noFill/>
                </a:ln>
                <a:solidFill>
                  <a:srgbClr val="09375D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ustomer Centric:</a:t>
            </a:r>
            <a:r>
              <a:rPr kumimoji="0" lang="en-US" sz="1800" b="1" i="0" u="none" strike="noStrike" kern="0" cap="none" spc="-9" normalizeH="0" baseline="0" noProof="0">
                <a:ln>
                  <a:noFill/>
                </a:ln>
                <a:solidFill>
                  <a:srgbClr val="09375D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W</a:t>
            </a:r>
            <a:r>
              <a:rPr kumimoji="0" lang="en-US" sz="1600" b="0" i="0" u="none" strike="noStrike" kern="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 continuously aim to provide a unique experience for every Customer.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3502268" y="1664482"/>
            <a:ext cx="5007585" cy="4306880"/>
            <a:chOff x="-1043456" y="1776650"/>
            <a:chExt cx="5007585" cy="4306880"/>
          </a:xfrm>
        </p:grpSpPr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043456" y="2985166"/>
              <a:ext cx="5007585" cy="1510404"/>
            </a:xfrm>
            <a:prstGeom prst="rect">
              <a:avLst/>
            </a:prstGeom>
          </p:spPr>
        </p:pic>
        <p:grpSp>
          <p:nvGrpSpPr>
            <p:cNvPr id="61" name="Group 60"/>
            <p:cNvGrpSpPr/>
            <p:nvPr/>
          </p:nvGrpSpPr>
          <p:grpSpPr>
            <a:xfrm>
              <a:off x="-776296" y="1776650"/>
              <a:ext cx="4497761" cy="4306880"/>
              <a:chOff x="-1082559" y="1641277"/>
              <a:chExt cx="5045255" cy="4831139"/>
            </a:xfrm>
          </p:grpSpPr>
          <p:sp>
            <p:nvSpPr>
              <p:cNvPr id="62" name="object 17"/>
              <p:cNvSpPr/>
              <p:nvPr/>
            </p:nvSpPr>
            <p:spPr>
              <a:xfrm>
                <a:off x="2058811" y="1641277"/>
                <a:ext cx="1561347" cy="1135255"/>
              </a:xfrm>
              <a:custGeom>
                <a:avLst/>
                <a:gdLst/>
                <a:ahLst/>
                <a:cxnLst/>
                <a:rect l="l" t="t" r="r" b="b"/>
                <a:pathLst>
                  <a:path w="1607820" h="1097280">
                    <a:moveTo>
                      <a:pt x="1607820" y="1097280"/>
                    </a:moveTo>
                    <a:lnTo>
                      <a:pt x="1581584" y="1053862"/>
                    </a:lnTo>
                    <a:lnTo>
                      <a:pt x="1554518" y="1011154"/>
                    </a:lnTo>
                    <a:lnTo>
                      <a:pt x="1526636" y="969164"/>
                    </a:lnTo>
                    <a:lnTo>
                      <a:pt x="1497950" y="927902"/>
                    </a:lnTo>
                    <a:lnTo>
                      <a:pt x="1468476" y="887378"/>
                    </a:lnTo>
                    <a:lnTo>
                      <a:pt x="1438227" y="847601"/>
                    </a:lnTo>
                    <a:lnTo>
                      <a:pt x="1407216" y="808580"/>
                    </a:lnTo>
                    <a:lnTo>
                      <a:pt x="1375459" y="770326"/>
                    </a:lnTo>
                    <a:lnTo>
                      <a:pt x="1342970" y="732847"/>
                    </a:lnTo>
                    <a:lnTo>
                      <a:pt x="1309761" y="696153"/>
                    </a:lnTo>
                    <a:lnTo>
                      <a:pt x="1275847" y="660254"/>
                    </a:lnTo>
                    <a:lnTo>
                      <a:pt x="1241242" y="625159"/>
                    </a:lnTo>
                    <a:lnTo>
                      <a:pt x="1205961" y="590877"/>
                    </a:lnTo>
                    <a:lnTo>
                      <a:pt x="1170016" y="557419"/>
                    </a:lnTo>
                    <a:lnTo>
                      <a:pt x="1133422" y="524794"/>
                    </a:lnTo>
                    <a:lnTo>
                      <a:pt x="1096194" y="493010"/>
                    </a:lnTo>
                    <a:lnTo>
                      <a:pt x="1058344" y="462079"/>
                    </a:lnTo>
                    <a:lnTo>
                      <a:pt x="1019887" y="432009"/>
                    </a:lnTo>
                    <a:lnTo>
                      <a:pt x="980837" y="402809"/>
                    </a:lnTo>
                    <a:lnTo>
                      <a:pt x="941209" y="374490"/>
                    </a:lnTo>
                    <a:lnTo>
                      <a:pt x="901015" y="347061"/>
                    </a:lnTo>
                    <a:lnTo>
                      <a:pt x="860269" y="320531"/>
                    </a:lnTo>
                    <a:lnTo>
                      <a:pt x="818987" y="294910"/>
                    </a:lnTo>
                    <a:lnTo>
                      <a:pt x="777182" y="270207"/>
                    </a:lnTo>
                    <a:lnTo>
                      <a:pt x="734867" y="246432"/>
                    </a:lnTo>
                    <a:lnTo>
                      <a:pt x="692058" y="223595"/>
                    </a:lnTo>
                    <a:lnTo>
                      <a:pt x="648767" y="201705"/>
                    </a:lnTo>
                    <a:lnTo>
                      <a:pt x="605009" y="180771"/>
                    </a:lnTo>
                    <a:lnTo>
                      <a:pt x="560797" y="160803"/>
                    </a:lnTo>
                    <a:lnTo>
                      <a:pt x="516147" y="141810"/>
                    </a:lnTo>
                    <a:lnTo>
                      <a:pt x="471071" y="123803"/>
                    </a:lnTo>
                    <a:lnTo>
                      <a:pt x="425584" y="106790"/>
                    </a:lnTo>
                    <a:lnTo>
                      <a:pt x="379699" y="90781"/>
                    </a:lnTo>
                    <a:lnTo>
                      <a:pt x="333432" y="75786"/>
                    </a:lnTo>
                    <a:lnTo>
                      <a:pt x="286794" y="61814"/>
                    </a:lnTo>
                    <a:lnTo>
                      <a:pt x="239802" y="48874"/>
                    </a:lnTo>
                    <a:lnTo>
                      <a:pt x="192468" y="36977"/>
                    </a:lnTo>
                    <a:lnTo>
                      <a:pt x="144807" y="26131"/>
                    </a:lnTo>
                    <a:lnTo>
                      <a:pt x="96833" y="16347"/>
                    </a:lnTo>
                    <a:lnTo>
                      <a:pt x="48559" y="7633"/>
                    </a:lnTo>
                    <a:lnTo>
                      <a:pt x="0" y="0"/>
                    </a:lnTo>
                  </a:path>
                </a:pathLst>
              </a:custGeom>
              <a:ln w="76199">
                <a:solidFill>
                  <a:srgbClr val="09375D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8439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</a:endParaRPr>
              </a:p>
            </p:txBody>
          </p:sp>
          <p:sp>
            <p:nvSpPr>
              <p:cNvPr id="63" name="object 18"/>
              <p:cNvSpPr/>
              <p:nvPr/>
            </p:nvSpPr>
            <p:spPr>
              <a:xfrm>
                <a:off x="2058811" y="5337161"/>
                <a:ext cx="1561347" cy="1135255"/>
              </a:xfrm>
              <a:custGeom>
                <a:avLst/>
                <a:gdLst/>
                <a:ahLst/>
                <a:cxnLst/>
                <a:rect l="l" t="t" r="r" b="b"/>
                <a:pathLst>
                  <a:path w="1607820" h="1097279">
                    <a:moveTo>
                      <a:pt x="1607820" y="0"/>
                    </a:moveTo>
                    <a:lnTo>
                      <a:pt x="1581584" y="43412"/>
                    </a:lnTo>
                    <a:lnTo>
                      <a:pt x="1554518" y="86117"/>
                    </a:lnTo>
                    <a:lnTo>
                      <a:pt x="1526636" y="128104"/>
                    </a:lnTo>
                    <a:lnTo>
                      <a:pt x="1497950" y="169363"/>
                    </a:lnTo>
                    <a:lnTo>
                      <a:pt x="1468476" y="209885"/>
                    </a:lnTo>
                    <a:lnTo>
                      <a:pt x="1438227" y="249660"/>
                    </a:lnTo>
                    <a:lnTo>
                      <a:pt x="1407216" y="288680"/>
                    </a:lnTo>
                    <a:lnTo>
                      <a:pt x="1375459" y="326934"/>
                    </a:lnTo>
                    <a:lnTo>
                      <a:pt x="1342970" y="364412"/>
                    </a:lnTo>
                    <a:lnTo>
                      <a:pt x="1309761" y="401106"/>
                    </a:lnTo>
                    <a:lnTo>
                      <a:pt x="1275847" y="437006"/>
                    </a:lnTo>
                    <a:lnTo>
                      <a:pt x="1241242" y="472102"/>
                    </a:lnTo>
                    <a:lnTo>
                      <a:pt x="1205961" y="506384"/>
                    </a:lnTo>
                    <a:lnTo>
                      <a:pt x="1170016" y="539843"/>
                    </a:lnTo>
                    <a:lnTo>
                      <a:pt x="1133422" y="572470"/>
                    </a:lnTo>
                    <a:lnTo>
                      <a:pt x="1096194" y="604255"/>
                    </a:lnTo>
                    <a:lnTo>
                      <a:pt x="1058344" y="635188"/>
                    </a:lnTo>
                    <a:lnTo>
                      <a:pt x="1019887" y="665261"/>
                    </a:lnTo>
                    <a:lnTo>
                      <a:pt x="980837" y="694462"/>
                    </a:lnTo>
                    <a:lnTo>
                      <a:pt x="941209" y="722783"/>
                    </a:lnTo>
                    <a:lnTo>
                      <a:pt x="901015" y="750214"/>
                    </a:lnTo>
                    <a:lnTo>
                      <a:pt x="860269" y="776747"/>
                    </a:lnTo>
                    <a:lnTo>
                      <a:pt x="818987" y="802370"/>
                    </a:lnTo>
                    <a:lnTo>
                      <a:pt x="777182" y="827074"/>
                    </a:lnTo>
                    <a:lnTo>
                      <a:pt x="734867" y="850851"/>
                    </a:lnTo>
                    <a:lnTo>
                      <a:pt x="692058" y="873690"/>
                    </a:lnTo>
                    <a:lnTo>
                      <a:pt x="648767" y="895582"/>
                    </a:lnTo>
                    <a:lnTo>
                      <a:pt x="605009" y="916518"/>
                    </a:lnTo>
                    <a:lnTo>
                      <a:pt x="560797" y="936487"/>
                    </a:lnTo>
                    <a:lnTo>
                      <a:pt x="516147" y="955480"/>
                    </a:lnTo>
                    <a:lnTo>
                      <a:pt x="471071" y="973489"/>
                    </a:lnTo>
                    <a:lnTo>
                      <a:pt x="425584" y="990502"/>
                    </a:lnTo>
                    <a:lnTo>
                      <a:pt x="379699" y="1006511"/>
                    </a:lnTo>
                    <a:lnTo>
                      <a:pt x="333432" y="1021506"/>
                    </a:lnTo>
                    <a:lnTo>
                      <a:pt x="286794" y="1035478"/>
                    </a:lnTo>
                    <a:lnTo>
                      <a:pt x="239802" y="1048416"/>
                    </a:lnTo>
                    <a:lnTo>
                      <a:pt x="192468" y="1060312"/>
                    </a:lnTo>
                    <a:lnTo>
                      <a:pt x="144807" y="1071156"/>
                    </a:lnTo>
                    <a:lnTo>
                      <a:pt x="96833" y="1080938"/>
                    </a:lnTo>
                    <a:lnTo>
                      <a:pt x="48559" y="1089649"/>
                    </a:lnTo>
                    <a:lnTo>
                      <a:pt x="0" y="1097279"/>
                    </a:lnTo>
                  </a:path>
                </a:pathLst>
              </a:custGeom>
              <a:ln w="76199">
                <a:solidFill>
                  <a:srgbClr val="09375D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8439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</a:endParaRPr>
              </a:p>
            </p:txBody>
          </p:sp>
          <p:sp>
            <p:nvSpPr>
              <p:cNvPr id="3136" name="object 19"/>
              <p:cNvSpPr/>
              <p:nvPr/>
            </p:nvSpPr>
            <p:spPr>
              <a:xfrm>
                <a:off x="3801135" y="3151536"/>
                <a:ext cx="161561" cy="1826394"/>
              </a:xfrm>
              <a:custGeom>
                <a:avLst/>
                <a:gdLst/>
                <a:ahLst/>
                <a:cxnLst/>
                <a:rect l="l" t="t" r="r" b="b"/>
                <a:pathLst>
                  <a:path w="166369" h="1765300">
                    <a:moveTo>
                      <a:pt x="0" y="0"/>
                    </a:moveTo>
                    <a:lnTo>
                      <a:pt x="17784" y="47259"/>
                    </a:lnTo>
                    <a:lnTo>
                      <a:pt x="34562" y="94814"/>
                    </a:lnTo>
                    <a:lnTo>
                      <a:pt x="50334" y="142647"/>
                    </a:lnTo>
                    <a:lnTo>
                      <a:pt x="65098" y="190740"/>
                    </a:lnTo>
                    <a:lnTo>
                      <a:pt x="78856" y="239077"/>
                    </a:lnTo>
                    <a:lnTo>
                      <a:pt x="91607" y="287640"/>
                    </a:lnTo>
                    <a:lnTo>
                      <a:pt x="103351" y="336413"/>
                    </a:lnTo>
                    <a:lnTo>
                      <a:pt x="114088" y="385378"/>
                    </a:lnTo>
                    <a:lnTo>
                      <a:pt x="123819" y="434518"/>
                    </a:lnTo>
                    <a:lnTo>
                      <a:pt x="132542" y="483816"/>
                    </a:lnTo>
                    <a:lnTo>
                      <a:pt x="140258" y="533254"/>
                    </a:lnTo>
                    <a:lnTo>
                      <a:pt x="146967" y="582817"/>
                    </a:lnTo>
                    <a:lnTo>
                      <a:pt x="152668" y="632485"/>
                    </a:lnTo>
                    <a:lnTo>
                      <a:pt x="157363" y="682243"/>
                    </a:lnTo>
                    <a:lnTo>
                      <a:pt x="161050" y="732073"/>
                    </a:lnTo>
                    <a:lnTo>
                      <a:pt x="163730" y="781958"/>
                    </a:lnTo>
                    <a:lnTo>
                      <a:pt x="165403" y="831881"/>
                    </a:lnTo>
                    <a:lnTo>
                      <a:pt x="166068" y="881824"/>
                    </a:lnTo>
                    <a:lnTo>
                      <a:pt x="165726" y="931771"/>
                    </a:lnTo>
                    <a:lnTo>
                      <a:pt x="164376" y="981704"/>
                    </a:lnTo>
                    <a:lnTo>
                      <a:pt x="162018" y="1031607"/>
                    </a:lnTo>
                    <a:lnTo>
                      <a:pt x="158653" y="1081461"/>
                    </a:lnTo>
                    <a:lnTo>
                      <a:pt x="154280" y="1131251"/>
                    </a:lnTo>
                    <a:lnTo>
                      <a:pt x="148900" y="1180958"/>
                    </a:lnTo>
                    <a:lnTo>
                      <a:pt x="142512" y="1230566"/>
                    </a:lnTo>
                    <a:lnTo>
                      <a:pt x="135116" y="1280058"/>
                    </a:lnTo>
                    <a:lnTo>
                      <a:pt x="126712" y="1329416"/>
                    </a:lnTo>
                    <a:lnTo>
                      <a:pt x="117300" y="1378623"/>
                    </a:lnTo>
                    <a:lnTo>
                      <a:pt x="106880" y="1427662"/>
                    </a:lnTo>
                    <a:lnTo>
                      <a:pt x="95452" y="1476516"/>
                    </a:lnTo>
                    <a:lnTo>
                      <a:pt x="83016" y="1525167"/>
                    </a:lnTo>
                    <a:lnTo>
                      <a:pt x="69573" y="1573600"/>
                    </a:lnTo>
                    <a:lnTo>
                      <a:pt x="55120" y="1621795"/>
                    </a:lnTo>
                    <a:lnTo>
                      <a:pt x="39660" y="1669737"/>
                    </a:lnTo>
                    <a:lnTo>
                      <a:pt x="23191" y="1717408"/>
                    </a:lnTo>
                    <a:lnTo>
                      <a:pt x="5715" y="1764792"/>
                    </a:lnTo>
                  </a:path>
                </a:pathLst>
              </a:custGeom>
              <a:ln w="76199">
                <a:solidFill>
                  <a:srgbClr val="09375D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8439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</a:endParaRPr>
              </a:p>
            </p:txBody>
          </p:sp>
          <p:grpSp>
            <p:nvGrpSpPr>
              <p:cNvPr id="3137" name="Group 3136"/>
              <p:cNvGrpSpPr/>
              <p:nvPr/>
            </p:nvGrpSpPr>
            <p:grpSpPr>
              <a:xfrm flipH="1">
                <a:off x="-1082559" y="1641277"/>
                <a:ext cx="1903885" cy="4831139"/>
                <a:chOff x="2211211" y="1793677"/>
                <a:chExt cx="1903885" cy="4831139"/>
              </a:xfrm>
            </p:grpSpPr>
            <p:sp>
              <p:nvSpPr>
                <p:cNvPr id="3138" name="object 17"/>
                <p:cNvSpPr/>
                <p:nvPr/>
              </p:nvSpPr>
              <p:spPr>
                <a:xfrm>
                  <a:off x="2211211" y="1793677"/>
                  <a:ext cx="1561347" cy="113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7820" h="1097280">
                      <a:moveTo>
                        <a:pt x="1607820" y="1097280"/>
                      </a:moveTo>
                      <a:lnTo>
                        <a:pt x="1581584" y="1053862"/>
                      </a:lnTo>
                      <a:lnTo>
                        <a:pt x="1554518" y="1011154"/>
                      </a:lnTo>
                      <a:lnTo>
                        <a:pt x="1526636" y="969164"/>
                      </a:lnTo>
                      <a:lnTo>
                        <a:pt x="1497950" y="927902"/>
                      </a:lnTo>
                      <a:lnTo>
                        <a:pt x="1468476" y="887378"/>
                      </a:lnTo>
                      <a:lnTo>
                        <a:pt x="1438227" y="847601"/>
                      </a:lnTo>
                      <a:lnTo>
                        <a:pt x="1407216" y="808580"/>
                      </a:lnTo>
                      <a:lnTo>
                        <a:pt x="1375459" y="770326"/>
                      </a:lnTo>
                      <a:lnTo>
                        <a:pt x="1342970" y="732847"/>
                      </a:lnTo>
                      <a:lnTo>
                        <a:pt x="1309761" y="696153"/>
                      </a:lnTo>
                      <a:lnTo>
                        <a:pt x="1275847" y="660254"/>
                      </a:lnTo>
                      <a:lnTo>
                        <a:pt x="1241242" y="625159"/>
                      </a:lnTo>
                      <a:lnTo>
                        <a:pt x="1205961" y="590877"/>
                      </a:lnTo>
                      <a:lnTo>
                        <a:pt x="1170016" y="557419"/>
                      </a:lnTo>
                      <a:lnTo>
                        <a:pt x="1133422" y="524794"/>
                      </a:lnTo>
                      <a:lnTo>
                        <a:pt x="1096194" y="493010"/>
                      </a:lnTo>
                      <a:lnTo>
                        <a:pt x="1058344" y="462079"/>
                      </a:lnTo>
                      <a:lnTo>
                        <a:pt x="1019887" y="432009"/>
                      </a:lnTo>
                      <a:lnTo>
                        <a:pt x="980837" y="402809"/>
                      </a:lnTo>
                      <a:lnTo>
                        <a:pt x="941209" y="374490"/>
                      </a:lnTo>
                      <a:lnTo>
                        <a:pt x="901015" y="347061"/>
                      </a:lnTo>
                      <a:lnTo>
                        <a:pt x="860269" y="320531"/>
                      </a:lnTo>
                      <a:lnTo>
                        <a:pt x="818987" y="294910"/>
                      </a:lnTo>
                      <a:lnTo>
                        <a:pt x="777182" y="270207"/>
                      </a:lnTo>
                      <a:lnTo>
                        <a:pt x="734867" y="246432"/>
                      </a:lnTo>
                      <a:lnTo>
                        <a:pt x="692058" y="223595"/>
                      </a:lnTo>
                      <a:lnTo>
                        <a:pt x="648767" y="201705"/>
                      </a:lnTo>
                      <a:lnTo>
                        <a:pt x="605009" y="180771"/>
                      </a:lnTo>
                      <a:lnTo>
                        <a:pt x="560797" y="160803"/>
                      </a:lnTo>
                      <a:lnTo>
                        <a:pt x="516147" y="141810"/>
                      </a:lnTo>
                      <a:lnTo>
                        <a:pt x="471071" y="123803"/>
                      </a:lnTo>
                      <a:lnTo>
                        <a:pt x="425584" y="106790"/>
                      </a:lnTo>
                      <a:lnTo>
                        <a:pt x="379699" y="90781"/>
                      </a:lnTo>
                      <a:lnTo>
                        <a:pt x="333432" y="75786"/>
                      </a:lnTo>
                      <a:lnTo>
                        <a:pt x="286794" y="61814"/>
                      </a:lnTo>
                      <a:lnTo>
                        <a:pt x="239802" y="48874"/>
                      </a:lnTo>
                      <a:lnTo>
                        <a:pt x="192468" y="36977"/>
                      </a:lnTo>
                      <a:lnTo>
                        <a:pt x="144807" y="26131"/>
                      </a:lnTo>
                      <a:lnTo>
                        <a:pt x="96833" y="16347"/>
                      </a:lnTo>
                      <a:lnTo>
                        <a:pt x="48559" y="7633"/>
                      </a:lnTo>
                      <a:lnTo>
                        <a:pt x="0" y="0"/>
                      </a:lnTo>
                    </a:path>
                  </a:pathLst>
                </a:custGeom>
                <a:ln w="76199">
                  <a:solidFill>
                    <a:srgbClr val="09375D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84391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3139" name="object 18"/>
                <p:cNvSpPr/>
                <p:nvPr/>
              </p:nvSpPr>
              <p:spPr>
                <a:xfrm>
                  <a:off x="2211211" y="5489561"/>
                  <a:ext cx="1561347" cy="113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7820" h="1097279">
                      <a:moveTo>
                        <a:pt x="1607820" y="0"/>
                      </a:moveTo>
                      <a:lnTo>
                        <a:pt x="1581584" y="43412"/>
                      </a:lnTo>
                      <a:lnTo>
                        <a:pt x="1554518" y="86117"/>
                      </a:lnTo>
                      <a:lnTo>
                        <a:pt x="1526636" y="128104"/>
                      </a:lnTo>
                      <a:lnTo>
                        <a:pt x="1497950" y="169363"/>
                      </a:lnTo>
                      <a:lnTo>
                        <a:pt x="1468476" y="209885"/>
                      </a:lnTo>
                      <a:lnTo>
                        <a:pt x="1438227" y="249660"/>
                      </a:lnTo>
                      <a:lnTo>
                        <a:pt x="1407216" y="288680"/>
                      </a:lnTo>
                      <a:lnTo>
                        <a:pt x="1375459" y="326934"/>
                      </a:lnTo>
                      <a:lnTo>
                        <a:pt x="1342970" y="364412"/>
                      </a:lnTo>
                      <a:lnTo>
                        <a:pt x="1309761" y="401106"/>
                      </a:lnTo>
                      <a:lnTo>
                        <a:pt x="1275847" y="437006"/>
                      </a:lnTo>
                      <a:lnTo>
                        <a:pt x="1241242" y="472102"/>
                      </a:lnTo>
                      <a:lnTo>
                        <a:pt x="1205961" y="506384"/>
                      </a:lnTo>
                      <a:lnTo>
                        <a:pt x="1170016" y="539843"/>
                      </a:lnTo>
                      <a:lnTo>
                        <a:pt x="1133422" y="572470"/>
                      </a:lnTo>
                      <a:lnTo>
                        <a:pt x="1096194" y="604255"/>
                      </a:lnTo>
                      <a:lnTo>
                        <a:pt x="1058344" y="635188"/>
                      </a:lnTo>
                      <a:lnTo>
                        <a:pt x="1019887" y="665261"/>
                      </a:lnTo>
                      <a:lnTo>
                        <a:pt x="980837" y="694462"/>
                      </a:lnTo>
                      <a:lnTo>
                        <a:pt x="941209" y="722783"/>
                      </a:lnTo>
                      <a:lnTo>
                        <a:pt x="901015" y="750214"/>
                      </a:lnTo>
                      <a:lnTo>
                        <a:pt x="860269" y="776747"/>
                      </a:lnTo>
                      <a:lnTo>
                        <a:pt x="818987" y="802370"/>
                      </a:lnTo>
                      <a:lnTo>
                        <a:pt x="777182" y="827074"/>
                      </a:lnTo>
                      <a:lnTo>
                        <a:pt x="734867" y="850851"/>
                      </a:lnTo>
                      <a:lnTo>
                        <a:pt x="692058" y="873690"/>
                      </a:lnTo>
                      <a:lnTo>
                        <a:pt x="648767" y="895582"/>
                      </a:lnTo>
                      <a:lnTo>
                        <a:pt x="605009" y="916518"/>
                      </a:lnTo>
                      <a:lnTo>
                        <a:pt x="560797" y="936487"/>
                      </a:lnTo>
                      <a:lnTo>
                        <a:pt x="516147" y="955480"/>
                      </a:lnTo>
                      <a:lnTo>
                        <a:pt x="471071" y="973489"/>
                      </a:lnTo>
                      <a:lnTo>
                        <a:pt x="425584" y="990502"/>
                      </a:lnTo>
                      <a:lnTo>
                        <a:pt x="379699" y="1006511"/>
                      </a:lnTo>
                      <a:lnTo>
                        <a:pt x="333432" y="1021506"/>
                      </a:lnTo>
                      <a:lnTo>
                        <a:pt x="286794" y="1035478"/>
                      </a:lnTo>
                      <a:lnTo>
                        <a:pt x="239802" y="1048416"/>
                      </a:lnTo>
                      <a:lnTo>
                        <a:pt x="192468" y="1060312"/>
                      </a:lnTo>
                      <a:lnTo>
                        <a:pt x="144807" y="1071156"/>
                      </a:lnTo>
                      <a:lnTo>
                        <a:pt x="96833" y="1080938"/>
                      </a:lnTo>
                      <a:lnTo>
                        <a:pt x="48559" y="1089649"/>
                      </a:lnTo>
                      <a:lnTo>
                        <a:pt x="0" y="1097279"/>
                      </a:lnTo>
                    </a:path>
                  </a:pathLst>
                </a:custGeom>
                <a:ln w="76199">
                  <a:solidFill>
                    <a:srgbClr val="09375D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84391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3140" name="object 19"/>
                <p:cNvSpPr/>
                <p:nvPr/>
              </p:nvSpPr>
              <p:spPr>
                <a:xfrm>
                  <a:off x="3953535" y="3303936"/>
                  <a:ext cx="161561" cy="18263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369" h="1765300">
                      <a:moveTo>
                        <a:pt x="0" y="0"/>
                      </a:moveTo>
                      <a:lnTo>
                        <a:pt x="17784" y="47259"/>
                      </a:lnTo>
                      <a:lnTo>
                        <a:pt x="34562" y="94814"/>
                      </a:lnTo>
                      <a:lnTo>
                        <a:pt x="50334" y="142647"/>
                      </a:lnTo>
                      <a:lnTo>
                        <a:pt x="65098" y="190740"/>
                      </a:lnTo>
                      <a:lnTo>
                        <a:pt x="78856" y="239077"/>
                      </a:lnTo>
                      <a:lnTo>
                        <a:pt x="91607" y="287640"/>
                      </a:lnTo>
                      <a:lnTo>
                        <a:pt x="103351" y="336413"/>
                      </a:lnTo>
                      <a:lnTo>
                        <a:pt x="114088" y="385378"/>
                      </a:lnTo>
                      <a:lnTo>
                        <a:pt x="123819" y="434518"/>
                      </a:lnTo>
                      <a:lnTo>
                        <a:pt x="132542" y="483816"/>
                      </a:lnTo>
                      <a:lnTo>
                        <a:pt x="140258" y="533254"/>
                      </a:lnTo>
                      <a:lnTo>
                        <a:pt x="146967" y="582817"/>
                      </a:lnTo>
                      <a:lnTo>
                        <a:pt x="152668" y="632485"/>
                      </a:lnTo>
                      <a:lnTo>
                        <a:pt x="157363" y="682243"/>
                      </a:lnTo>
                      <a:lnTo>
                        <a:pt x="161050" y="732073"/>
                      </a:lnTo>
                      <a:lnTo>
                        <a:pt x="163730" y="781958"/>
                      </a:lnTo>
                      <a:lnTo>
                        <a:pt x="165403" y="831881"/>
                      </a:lnTo>
                      <a:lnTo>
                        <a:pt x="166068" y="881824"/>
                      </a:lnTo>
                      <a:lnTo>
                        <a:pt x="165726" y="931771"/>
                      </a:lnTo>
                      <a:lnTo>
                        <a:pt x="164376" y="981704"/>
                      </a:lnTo>
                      <a:lnTo>
                        <a:pt x="162018" y="1031607"/>
                      </a:lnTo>
                      <a:lnTo>
                        <a:pt x="158653" y="1081461"/>
                      </a:lnTo>
                      <a:lnTo>
                        <a:pt x="154280" y="1131251"/>
                      </a:lnTo>
                      <a:lnTo>
                        <a:pt x="148900" y="1180958"/>
                      </a:lnTo>
                      <a:lnTo>
                        <a:pt x="142512" y="1230566"/>
                      </a:lnTo>
                      <a:lnTo>
                        <a:pt x="135116" y="1280058"/>
                      </a:lnTo>
                      <a:lnTo>
                        <a:pt x="126712" y="1329416"/>
                      </a:lnTo>
                      <a:lnTo>
                        <a:pt x="117300" y="1378623"/>
                      </a:lnTo>
                      <a:lnTo>
                        <a:pt x="106880" y="1427662"/>
                      </a:lnTo>
                      <a:lnTo>
                        <a:pt x="95452" y="1476516"/>
                      </a:lnTo>
                      <a:lnTo>
                        <a:pt x="83016" y="1525167"/>
                      </a:lnTo>
                      <a:lnTo>
                        <a:pt x="69573" y="1573600"/>
                      </a:lnTo>
                      <a:lnTo>
                        <a:pt x="55120" y="1621795"/>
                      </a:lnTo>
                      <a:lnTo>
                        <a:pt x="39660" y="1669737"/>
                      </a:lnTo>
                      <a:lnTo>
                        <a:pt x="23191" y="1717408"/>
                      </a:lnTo>
                      <a:lnTo>
                        <a:pt x="5715" y="1764792"/>
                      </a:lnTo>
                    </a:path>
                  </a:pathLst>
                </a:custGeom>
                <a:ln w="76199">
                  <a:solidFill>
                    <a:srgbClr val="09375D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84391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endParaRPr>
                </a:p>
              </p:txBody>
            </p:sp>
          </p:grpSp>
        </p:grpSp>
      </p:grpSp>
      <p:pic>
        <p:nvPicPr>
          <p:cNvPr id="3141" name="Picture 2" descr="Idea 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334" y="1497185"/>
            <a:ext cx="558547" cy="558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2" name="Picture 4" descr="Industry 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576" y="3307235"/>
            <a:ext cx="558547" cy="558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3" name="Picture 6" descr="Ear 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576" y="5322416"/>
            <a:ext cx="558547" cy="558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4" name="Picture 8" descr="Influencer 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5477" y="1497540"/>
            <a:ext cx="558547" cy="558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5" name="Picture 10" descr="Community 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8632" y="3261703"/>
            <a:ext cx="558547" cy="558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6" name="Picture 12" descr="Deal 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5476" y="5207433"/>
            <a:ext cx="558547" cy="558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66" y="1418933"/>
            <a:ext cx="1080000" cy="1080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705" y="2583799"/>
            <a:ext cx="1080000" cy="1080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705" y="3886878"/>
            <a:ext cx="1080000" cy="1080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705" y="5189958"/>
            <a:ext cx="1080000" cy="108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utline</a:t>
            </a:r>
            <a:endParaRPr lang="en-US" sz="2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9219" y="2887219"/>
            <a:ext cx="468000" cy="468000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7354378" y="1192772"/>
            <a:ext cx="4719546" cy="5203290"/>
            <a:chOff x="868363" y="935038"/>
            <a:chExt cx="3403600" cy="3905583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19" name="Freeform 7"/>
            <p:cNvSpPr/>
            <p:nvPr/>
          </p:nvSpPr>
          <p:spPr bwMode="auto">
            <a:xfrm>
              <a:off x="2566988" y="4839033"/>
              <a:ext cx="3175" cy="158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" name="Freeform 8"/>
            <p:cNvSpPr/>
            <p:nvPr/>
          </p:nvSpPr>
          <p:spPr bwMode="auto">
            <a:xfrm>
              <a:off x="2590801" y="4834270"/>
              <a:ext cx="3175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" name="Freeform 9"/>
            <p:cNvSpPr/>
            <p:nvPr/>
          </p:nvSpPr>
          <p:spPr bwMode="auto">
            <a:xfrm>
              <a:off x="2565401" y="4839033"/>
              <a:ext cx="1588" cy="158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" name="Freeform 5"/>
            <p:cNvSpPr/>
            <p:nvPr/>
          </p:nvSpPr>
          <p:spPr bwMode="auto">
            <a:xfrm>
              <a:off x="2098675" y="935038"/>
              <a:ext cx="207963" cy="361950"/>
            </a:xfrm>
            <a:custGeom>
              <a:avLst/>
              <a:gdLst/>
              <a:ahLst/>
              <a:cxnLst>
                <a:cxn ang="0">
                  <a:pos x="196" y="96"/>
                </a:cxn>
                <a:cxn ang="0">
                  <a:pos x="208" y="92"/>
                </a:cxn>
                <a:cxn ang="0">
                  <a:pos x="128" y="156"/>
                </a:cxn>
                <a:cxn ang="0">
                  <a:pos x="160" y="172"/>
                </a:cxn>
                <a:cxn ang="0">
                  <a:pos x="142" y="276"/>
                </a:cxn>
                <a:cxn ang="0">
                  <a:pos x="159" y="388"/>
                </a:cxn>
                <a:cxn ang="0">
                  <a:pos x="148" y="468"/>
                </a:cxn>
                <a:cxn ang="0">
                  <a:pos x="136" y="472"/>
                </a:cxn>
                <a:cxn ang="0">
                  <a:pos x="77" y="517"/>
                </a:cxn>
                <a:cxn ang="0">
                  <a:pos x="58" y="546"/>
                </a:cxn>
                <a:cxn ang="0">
                  <a:pos x="18" y="644"/>
                </a:cxn>
                <a:cxn ang="0">
                  <a:pos x="44" y="692"/>
                </a:cxn>
                <a:cxn ang="0">
                  <a:pos x="59" y="736"/>
                </a:cxn>
                <a:cxn ang="0">
                  <a:pos x="134" y="780"/>
                </a:cxn>
                <a:cxn ang="0">
                  <a:pos x="165" y="859"/>
                </a:cxn>
                <a:cxn ang="0">
                  <a:pos x="267" y="930"/>
                </a:cxn>
                <a:cxn ang="0">
                  <a:pos x="324" y="1100"/>
                </a:cxn>
                <a:cxn ang="0">
                  <a:pos x="323" y="1264"/>
                </a:cxn>
                <a:cxn ang="0">
                  <a:pos x="500" y="1136"/>
                </a:cxn>
                <a:cxn ang="0">
                  <a:pos x="497" y="1005"/>
                </a:cxn>
                <a:cxn ang="0">
                  <a:pos x="539" y="989"/>
                </a:cxn>
                <a:cxn ang="0">
                  <a:pos x="636" y="907"/>
                </a:cxn>
                <a:cxn ang="0">
                  <a:pos x="732" y="848"/>
                </a:cxn>
                <a:cxn ang="0">
                  <a:pos x="724" y="752"/>
                </a:cxn>
                <a:cxn ang="0">
                  <a:pos x="657" y="728"/>
                </a:cxn>
                <a:cxn ang="0">
                  <a:pos x="639" y="665"/>
                </a:cxn>
                <a:cxn ang="0">
                  <a:pos x="604" y="676"/>
                </a:cxn>
                <a:cxn ang="0">
                  <a:pos x="568" y="680"/>
                </a:cxn>
                <a:cxn ang="0">
                  <a:pos x="570" y="650"/>
                </a:cxn>
                <a:cxn ang="0">
                  <a:pos x="527" y="651"/>
                </a:cxn>
                <a:cxn ang="0">
                  <a:pos x="466" y="552"/>
                </a:cxn>
                <a:cxn ang="0">
                  <a:pos x="508" y="528"/>
                </a:cxn>
                <a:cxn ang="0">
                  <a:pos x="556" y="504"/>
                </a:cxn>
                <a:cxn ang="0">
                  <a:pos x="552" y="496"/>
                </a:cxn>
                <a:cxn ang="0">
                  <a:pos x="652" y="384"/>
                </a:cxn>
                <a:cxn ang="0">
                  <a:pos x="652" y="380"/>
                </a:cxn>
                <a:cxn ang="0">
                  <a:pos x="628" y="313"/>
                </a:cxn>
                <a:cxn ang="0">
                  <a:pos x="539" y="204"/>
                </a:cxn>
                <a:cxn ang="0">
                  <a:pos x="586" y="172"/>
                </a:cxn>
                <a:cxn ang="0">
                  <a:pos x="632" y="56"/>
                </a:cxn>
                <a:cxn ang="0">
                  <a:pos x="500" y="116"/>
                </a:cxn>
                <a:cxn ang="0">
                  <a:pos x="512" y="92"/>
                </a:cxn>
                <a:cxn ang="0">
                  <a:pos x="488" y="76"/>
                </a:cxn>
                <a:cxn ang="0">
                  <a:pos x="484" y="76"/>
                </a:cxn>
                <a:cxn ang="0">
                  <a:pos x="464" y="84"/>
                </a:cxn>
                <a:cxn ang="0">
                  <a:pos x="464" y="80"/>
                </a:cxn>
                <a:cxn ang="0">
                  <a:pos x="500" y="48"/>
                </a:cxn>
                <a:cxn ang="0">
                  <a:pos x="500" y="44"/>
                </a:cxn>
                <a:cxn ang="0">
                  <a:pos x="416" y="48"/>
                </a:cxn>
                <a:cxn ang="0">
                  <a:pos x="432" y="20"/>
                </a:cxn>
                <a:cxn ang="0">
                  <a:pos x="248" y="72"/>
                </a:cxn>
                <a:cxn ang="0">
                  <a:pos x="196" y="96"/>
                </a:cxn>
              </a:cxnLst>
              <a:rect l="0" t="0" r="r" b="b"/>
              <a:pathLst>
                <a:path w="732" h="1264">
                  <a:moveTo>
                    <a:pt x="196" y="96"/>
                  </a:moveTo>
                  <a:cubicBezTo>
                    <a:pt x="208" y="92"/>
                    <a:pt x="208" y="92"/>
                    <a:pt x="208" y="92"/>
                  </a:cubicBezTo>
                  <a:cubicBezTo>
                    <a:pt x="192" y="123"/>
                    <a:pt x="157" y="139"/>
                    <a:pt x="128" y="156"/>
                  </a:cubicBezTo>
                  <a:cubicBezTo>
                    <a:pt x="136" y="170"/>
                    <a:pt x="144" y="171"/>
                    <a:pt x="160" y="1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59" y="388"/>
                    <a:pt x="159" y="388"/>
                    <a:pt x="159" y="388"/>
                  </a:cubicBezTo>
                  <a:cubicBezTo>
                    <a:pt x="148" y="468"/>
                    <a:pt x="148" y="468"/>
                    <a:pt x="148" y="468"/>
                  </a:cubicBezTo>
                  <a:cubicBezTo>
                    <a:pt x="136" y="472"/>
                    <a:pt x="136" y="472"/>
                    <a:pt x="136" y="472"/>
                  </a:cubicBezTo>
                  <a:cubicBezTo>
                    <a:pt x="132" y="504"/>
                    <a:pt x="99" y="502"/>
                    <a:pt x="77" y="517"/>
                  </a:cubicBezTo>
                  <a:cubicBezTo>
                    <a:pt x="67" y="524"/>
                    <a:pt x="66" y="537"/>
                    <a:pt x="58" y="546"/>
                  </a:cubicBezTo>
                  <a:cubicBezTo>
                    <a:pt x="26" y="579"/>
                    <a:pt x="0" y="591"/>
                    <a:pt x="18" y="644"/>
                  </a:cubicBezTo>
                  <a:cubicBezTo>
                    <a:pt x="24" y="661"/>
                    <a:pt x="37" y="674"/>
                    <a:pt x="44" y="692"/>
                  </a:cubicBezTo>
                  <a:cubicBezTo>
                    <a:pt x="49" y="706"/>
                    <a:pt x="46" y="725"/>
                    <a:pt x="59" y="736"/>
                  </a:cubicBezTo>
                  <a:cubicBezTo>
                    <a:pt x="81" y="757"/>
                    <a:pt x="113" y="753"/>
                    <a:pt x="134" y="780"/>
                  </a:cubicBezTo>
                  <a:cubicBezTo>
                    <a:pt x="151" y="802"/>
                    <a:pt x="146" y="842"/>
                    <a:pt x="165" y="859"/>
                  </a:cubicBezTo>
                  <a:cubicBezTo>
                    <a:pt x="198" y="888"/>
                    <a:pt x="242" y="893"/>
                    <a:pt x="267" y="930"/>
                  </a:cubicBezTo>
                  <a:cubicBezTo>
                    <a:pt x="298" y="972"/>
                    <a:pt x="309" y="1050"/>
                    <a:pt x="324" y="1100"/>
                  </a:cubicBezTo>
                  <a:cubicBezTo>
                    <a:pt x="304" y="1143"/>
                    <a:pt x="336" y="1220"/>
                    <a:pt x="323" y="1264"/>
                  </a:cubicBezTo>
                  <a:cubicBezTo>
                    <a:pt x="375" y="1252"/>
                    <a:pt x="497" y="1200"/>
                    <a:pt x="500" y="1136"/>
                  </a:cubicBezTo>
                  <a:cubicBezTo>
                    <a:pt x="502" y="1089"/>
                    <a:pt x="451" y="1043"/>
                    <a:pt x="497" y="1005"/>
                  </a:cubicBezTo>
                  <a:cubicBezTo>
                    <a:pt x="509" y="994"/>
                    <a:pt x="526" y="998"/>
                    <a:pt x="539" y="989"/>
                  </a:cubicBezTo>
                  <a:cubicBezTo>
                    <a:pt x="574" y="965"/>
                    <a:pt x="596" y="925"/>
                    <a:pt x="636" y="907"/>
                  </a:cubicBezTo>
                  <a:cubicBezTo>
                    <a:pt x="669" y="892"/>
                    <a:pt x="721" y="888"/>
                    <a:pt x="732" y="848"/>
                  </a:cubicBezTo>
                  <a:cubicBezTo>
                    <a:pt x="699" y="828"/>
                    <a:pt x="698" y="779"/>
                    <a:pt x="724" y="752"/>
                  </a:cubicBezTo>
                  <a:cubicBezTo>
                    <a:pt x="708" y="721"/>
                    <a:pt x="680" y="746"/>
                    <a:pt x="657" y="728"/>
                  </a:cubicBezTo>
                  <a:cubicBezTo>
                    <a:pt x="638" y="712"/>
                    <a:pt x="656" y="682"/>
                    <a:pt x="639" y="665"/>
                  </a:cubicBezTo>
                  <a:cubicBezTo>
                    <a:pt x="624" y="651"/>
                    <a:pt x="605" y="656"/>
                    <a:pt x="604" y="676"/>
                  </a:cubicBezTo>
                  <a:cubicBezTo>
                    <a:pt x="568" y="680"/>
                    <a:pt x="568" y="680"/>
                    <a:pt x="568" y="680"/>
                  </a:cubicBezTo>
                  <a:cubicBezTo>
                    <a:pt x="574" y="671"/>
                    <a:pt x="581" y="659"/>
                    <a:pt x="570" y="650"/>
                  </a:cubicBezTo>
                  <a:cubicBezTo>
                    <a:pt x="559" y="641"/>
                    <a:pt x="540" y="654"/>
                    <a:pt x="527" y="651"/>
                  </a:cubicBezTo>
                  <a:cubicBezTo>
                    <a:pt x="495" y="644"/>
                    <a:pt x="429" y="586"/>
                    <a:pt x="466" y="552"/>
                  </a:cubicBezTo>
                  <a:cubicBezTo>
                    <a:pt x="477" y="541"/>
                    <a:pt x="494" y="537"/>
                    <a:pt x="508" y="528"/>
                  </a:cubicBezTo>
                  <a:cubicBezTo>
                    <a:pt x="524" y="518"/>
                    <a:pt x="538" y="510"/>
                    <a:pt x="556" y="504"/>
                  </a:cubicBezTo>
                  <a:cubicBezTo>
                    <a:pt x="552" y="496"/>
                    <a:pt x="552" y="496"/>
                    <a:pt x="552" y="496"/>
                  </a:cubicBezTo>
                  <a:cubicBezTo>
                    <a:pt x="602" y="476"/>
                    <a:pt x="618" y="420"/>
                    <a:pt x="652" y="384"/>
                  </a:cubicBezTo>
                  <a:cubicBezTo>
                    <a:pt x="652" y="380"/>
                    <a:pt x="652" y="380"/>
                    <a:pt x="652" y="380"/>
                  </a:cubicBezTo>
                  <a:cubicBezTo>
                    <a:pt x="627" y="357"/>
                    <a:pt x="643" y="336"/>
                    <a:pt x="628" y="313"/>
                  </a:cubicBezTo>
                  <a:cubicBezTo>
                    <a:pt x="603" y="274"/>
                    <a:pt x="511" y="275"/>
                    <a:pt x="539" y="204"/>
                  </a:cubicBezTo>
                  <a:cubicBezTo>
                    <a:pt x="548" y="180"/>
                    <a:pt x="569" y="184"/>
                    <a:pt x="586" y="172"/>
                  </a:cubicBezTo>
                  <a:cubicBezTo>
                    <a:pt x="620" y="149"/>
                    <a:pt x="645" y="93"/>
                    <a:pt x="632" y="56"/>
                  </a:cubicBezTo>
                  <a:cubicBezTo>
                    <a:pt x="586" y="66"/>
                    <a:pt x="548" y="123"/>
                    <a:pt x="500" y="116"/>
                  </a:cubicBezTo>
                  <a:cubicBezTo>
                    <a:pt x="512" y="92"/>
                    <a:pt x="512" y="92"/>
                    <a:pt x="512" y="92"/>
                  </a:cubicBezTo>
                  <a:cubicBezTo>
                    <a:pt x="488" y="76"/>
                    <a:pt x="488" y="76"/>
                    <a:pt x="488" y="76"/>
                  </a:cubicBezTo>
                  <a:cubicBezTo>
                    <a:pt x="484" y="76"/>
                    <a:pt x="484" y="76"/>
                    <a:pt x="484" y="76"/>
                  </a:cubicBezTo>
                  <a:cubicBezTo>
                    <a:pt x="464" y="84"/>
                    <a:pt x="464" y="84"/>
                    <a:pt x="464" y="84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500" y="48"/>
                    <a:pt x="500" y="48"/>
                    <a:pt x="500" y="48"/>
                  </a:cubicBezTo>
                  <a:cubicBezTo>
                    <a:pt x="500" y="44"/>
                    <a:pt x="500" y="44"/>
                    <a:pt x="500" y="44"/>
                  </a:cubicBezTo>
                  <a:cubicBezTo>
                    <a:pt x="464" y="26"/>
                    <a:pt x="449" y="31"/>
                    <a:pt x="416" y="48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373" y="0"/>
                    <a:pt x="295" y="42"/>
                    <a:pt x="248" y="72"/>
                  </a:cubicBezTo>
                  <a:cubicBezTo>
                    <a:pt x="230" y="82"/>
                    <a:pt x="211" y="79"/>
                    <a:pt x="196" y="9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" name="Freeform 6"/>
            <p:cNvSpPr/>
            <p:nvPr/>
          </p:nvSpPr>
          <p:spPr bwMode="auto">
            <a:xfrm>
              <a:off x="877888" y="1008063"/>
              <a:ext cx="800100" cy="738188"/>
            </a:xfrm>
            <a:custGeom>
              <a:avLst/>
              <a:gdLst/>
              <a:ahLst/>
              <a:cxnLst>
                <a:cxn ang="0">
                  <a:pos x="1683" y="384"/>
                </a:cxn>
                <a:cxn ang="0">
                  <a:pos x="1484" y="473"/>
                </a:cxn>
                <a:cxn ang="0">
                  <a:pos x="1360" y="590"/>
                </a:cxn>
                <a:cxn ang="0">
                  <a:pos x="1265" y="785"/>
                </a:cxn>
                <a:cxn ang="0">
                  <a:pos x="1259" y="920"/>
                </a:cxn>
                <a:cxn ang="0">
                  <a:pos x="1227" y="1042"/>
                </a:cxn>
                <a:cxn ang="0">
                  <a:pos x="1044" y="1200"/>
                </a:cxn>
                <a:cxn ang="0">
                  <a:pos x="799" y="1327"/>
                </a:cxn>
                <a:cxn ang="0">
                  <a:pos x="643" y="1469"/>
                </a:cxn>
                <a:cxn ang="0">
                  <a:pos x="459" y="1641"/>
                </a:cxn>
                <a:cxn ang="0">
                  <a:pos x="395" y="1793"/>
                </a:cxn>
                <a:cxn ang="0">
                  <a:pos x="191" y="2085"/>
                </a:cxn>
                <a:cxn ang="0">
                  <a:pos x="211" y="2065"/>
                </a:cxn>
                <a:cxn ang="0">
                  <a:pos x="171" y="2153"/>
                </a:cxn>
                <a:cxn ang="0">
                  <a:pos x="69" y="2323"/>
                </a:cxn>
                <a:cxn ang="0">
                  <a:pos x="4" y="2549"/>
                </a:cxn>
                <a:cxn ang="0">
                  <a:pos x="47" y="2489"/>
                </a:cxn>
                <a:cxn ang="0">
                  <a:pos x="671" y="2489"/>
                </a:cxn>
                <a:cxn ang="0">
                  <a:pos x="710" y="2289"/>
                </a:cxn>
                <a:cxn ang="0">
                  <a:pos x="847" y="2134"/>
                </a:cxn>
                <a:cxn ang="0">
                  <a:pos x="895" y="2001"/>
                </a:cxn>
                <a:cxn ang="0">
                  <a:pos x="1479" y="1685"/>
                </a:cxn>
                <a:cxn ang="0">
                  <a:pos x="1543" y="1160"/>
                </a:cxn>
                <a:cxn ang="0">
                  <a:pos x="1686" y="1088"/>
                </a:cxn>
                <a:cxn ang="0">
                  <a:pos x="1827" y="1059"/>
                </a:cxn>
                <a:cxn ang="0">
                  <a:pos x="2011" y="1002"/>
                </a:cxn>
                <a:cxn ang="0">
                  <a:pos x="2155" y="935"/>
                </a:cxn>
                <a:cxn ang="0">
                  <a:pos x="2283" y="880"/>
                </a:cxn>
                <a:cxn ang="0">
                  <a:pos x="2350" y="847"/>
                </a:cxn>
                <a:cxn ang="0">
                  <a:pos x="2320" y="745"/>
                </a:cxn>
                <a:cxn ang="0">
                  <a:pos x="2439" y="725"/>
                </a:cxn>
                <a:cxn ang="0">
                  <a:pos x="2571" y="663"/>
                </a:cxn>
                <a:cxn ang="0">
                  <a:pos x="2755" y="657"/>
                </a:cxn>
                <a:cxn ang="0">
                  <a:pos x="2707" y="525"/>
                </a:cxn>
                <a:cxn ang="0">
                  <a:pos x="2696" y="421"/>
                </a:cxn>
                <a:cxn ang="0">
                  <a:pos x="2691" y="325"/>
                </a:cxn>
                <a:cxn ang="0">
                  <a:pos x="2679" y="253"/>
                </a:cxn>
                <a:cxn ang="0">
                  <a:pos x="2575" y="148"/>
                </a:cxn>
                <a:cxn ang="0">
                  <a:pos x="2455" y="97"/>
                </a:cxn>
                <a:cxn ang="0">
                  <a:pos x="2279" y="122"/>
                </a:cxn>
                <a:cxn ang="0">
                  <a:pos x="2055" y="13"/>
                </a:cxn>
                <a:cxn ang="0">
                  <a:pos x="1941" y="32"/>
                </a:cxn>
                <a:cxn ang="0">
                  <a:pos x="1840" y="245"/>
                </a:cxn>
              </a:cxnLst>
              <a:rect l="0" t="0" r="r" b="b"/>
              <a:pathLst>
                <a:path w="2799" h="2585">
                  <a:moveTo>
                    <a:pt x="1787" y="313"/>
                  </a:moveTo>
                  <a:cubicBezTo>
                    <a:pt x="1770" y="359"/>
                    <a:pt x="1724" y="369"/>
                    <a:pt x="1683" y="384"/>
                  </a:cubicBezTo>
                  <a:cubicBezTo>
                    <a:pt x="1662" y="391"/>
                    <a:pt x="1646" y="406"/>
                    <a:pt x="1626" y="414"/>
                  </a:cubicBezTo>
                  <a:cubicBezTo>
                    <a:pt x="1578" y="433"/>
                    <a:pt x="1528" y="443"/>
                    <a:pt x="1484" y="473"/>
                  </a:cubicBezTo>
                  <a:cubicBezTo>
                    <a:pt x="1468" y="484"/>
                    <a:pt x="1457" y="503"/>
                    <a:pt x="1443" y="516"/>
                  </a:cubicBezTo>
                  <a:cubicBezTo>
                    <a:pt x="1419" y="537"/>
                    <a:pt x="1374" y="561"/>
                    <a:pt x="1360" y="590"/>
                  </a:cubicBezTo>
                  <a:cubicBezTo>
                    <a:pt x="1350" y="611"/>
                    <a:pt x="1366" y="636"/>
                    <a:pt x="1351" y="657"/>
                  </a:cubicBezTo>
                  <a:cubicBezTo>
                    <a:pt x="1343" y="703"/>
                    <a:pt x="1278" y="734"/>
                    <a:pt x="1265" y="785"/>
                  </a:cubicBezTo>
                  <a:cubicBezTo>
                    <a:pt x="1257" y="815"/>
                    <a:pt x="1265" y="850"/>
                    <a:pt x="1263" y="881"/>
                  </a:cubicBezTo>
                  <a:cubicBezTo>
                    <a:pt x="1262" y="893"/>
                    <a:pt x="1255" y="907"/>
                    <a:pt x="1259" y="920"/>
                  </a:cubicBezTo>
                  <a:cubicBezTo>
                    <a:pt x="1265" y="938"/>
                    <a:pt x="1298" y="947"/>
                    <a:pt x="1293" y="969"/>
                  </a:cubicBezTo>
                  <a:cubicBezTo>
                    <a:pt x="1286" y="1000"/>
                    <a:pt x="1244" y="1018"/>
                    <a:pt x="1227" y="1042"/>
                  </a:cubicBezTo>
                  <a:cubicBezTo>
                    <a:pt x="1200" y="1080"/>
                    <a:pt x="1177" y="1121"/>
                    <a:pt x="1139" y="1150"/>
                  </a:cubicBezTo>
                  <a:cubicBezTo>
                    <a:pt x="1111" y="1172"/>
                    <a:pt x="1072" y="1178"/>
                    <a:pt x="1044" y="1200"/>
                  </a:cubicBezTo>
                  <a:cubicBezTo>
                    <a:pt x="1017" y="1221"/>
                    <a:pt x="1000" y="1255"/>
                    <a:pt x="971" y="1273"/>
                  </a:cubicBezTo>
                  <a:cubicBezTo>
                    <a:pt x="922" y="1303"/>
                    <a:pt x="855" y="1317"/>
                    <a:pt x="799" y="1327"/>
                  </a:cubicBezTo>
                  <a:cubicBezTo>
                    <a:pt x="776" y="1331"/>
                    <a:pt x="740" y="1324"/>
                    <a:pt x="722" y="1340"/>
                  </a:cubicBezTo>
                  <a:cubicBezTo>
                    <a:pt x="689" y="1369"/>
                    <a:pt x="659" y="1428"/>
                    <a:pt x="643" y="1469"/>
                  </a:cubicBezTo>
                  <a:cubicBezTo>
                    <a:pt x="632" y="1495"/>
                    <a:pt x="632" y="1524"/>
                    <a:pt x="611" y="1546"/>
                  </a:cubicBezTo>
                  <a:cubicBezTo>
                    <a:pt x="573" y="1587"/>
                    <a:pt x="486" y="1592"/>
                    <a:pt x="459" y="1641"/>
                  </a:cubicBezTo>
                  <a:cubicBezTo>
                    <a:pt x="452" y="1654"/>
                    <a:pt x="454" y="1671"/>
                    <a:pt x="447" y="1685"/>
                  </a:cubicBezTo>
                  <a:cubicBezTo>
                    <a:pt x="430" y="1720"/>
                    <a:pt x="403" y="1754"/>
                    <a:pt x="395" y="1793"/>
                  </a:cubicBezTo>
                  <a:cubicBezTo>
                    <a:pt x="388" y="1827"/>
                    <a:pt x="405" y="1862"/>
                    <a:pt x="386" y="1893"/>
                  </a:cubicBezTo>
                  <a:cubicBezTo>
                    <a:pt x="339" y="1967"/>
                    <a:pt x="222" y="2000"/>
                    <a:pt x="191" y="2085"/>
                  </a:cubicBezTo>
                  <a:cubicBezTo>
                    <a:pt x="195" y="2089"/>
                    <a:pt x="195" y="2089"/>
                    <a:pt x="195" y="2089"/>
                  </a:cubicBezTo>
                  <a:cubicBezTo>
                    <a:pt x="211" y="2065"/>
                    <a:pt x="211" y="2065"/>
                    <a:pt x="211" y="2065"/>
                  </a:cubicBezTo>
                  <a:cubicBezTo>
                    <a:pt x="235" y="2045"/>
                    <a:pt x="235" y="2045"/>
                    <a:pt x="235" y="2045"/>
                  </a:cubicBezTo>
                  <a:cubicBezTo>
                    <a:pt x="223" y="2083"/>
                    <a:pt x="189" y="2117"/>
                    <a:pt x="171" y="2153"/>
                  </a:cubicBezTo>
                  <a:cubicBezTo>
                    <a:pt x="147" y="2200"/>
                    <a:pt x="138" y="2259"/>
                    <a:pt x="107" y="2304"/>
                  </a:cubicBezTo>
                  <a:cubicBezTo>
                    <a:pt x="97" y="2317"/>
                    <a:pt x="81" y="2314"/>
                    <a:pt x="69" y="2323"/>
                  </a:cubicBezTo>
                  <a:cubicBezTo>
                    <a:pt x="38" y="2347"/>
                    <a:pt x="25" y="2388"/>
                    <a:pt x="23" y="2425"/>
                  </a:cubicBezTo>
                  <a:cubicBezTo>
                    <a:pt x="21" y="2466"/>
                    <a:pt x="11" y="2508"/>
                    <a:pt x="4" y="2549"/>
                  </a:cubicBezTo>
                  <a:cubicBezTo>
                    <a:pt x="0" y="2567"/>
                    <a:pt x="1" y="2585"/>
                    <a:pt x="23" y="2585"/>
                  </a:cubicBezTo>
                  <a:cubicBezTo>
                    <a:pt x="47" y="2489"/>
                    <a:pt x="47" y="2489"/>
                    <a:pt x="47" y="2489"/>
                  </a:cubicBezTo>
                  <a:cubicBezTo>
                    <a:pt x="543" y="2489"/>
                    <a:pt x="543" y="2489"/>
                    <a:pt x="543" y="2489"/>
                  </a:cubicBezTo>
                  <a:cubicBezTo>
                    <a:pt x="671" y="2489"/>
                    <a:pt x="671" y="2489"/>
                    <a:pt x="671" y="2489"/>
                  </a:cubicBezTo>
                  <a:cubicBezTo>
                    <a:pt x="683" y="2489"/>
                    <a:pt x="710" y="2493"/>
                    <a:pt x="720" y="2485"/>
                  </a:cubicBezTo>
                  <a:cubicBezTo>
                    <a:pt x="719" y="2464"/>
                    <a:pt x="716" y="2333"/>
                    <a:pt x="710" y="2289"/>
                  </a:cubicBezTo>
                  <a:cubicBezTo>
                    <a:pt x="707" y="2266"/>
                    <a:pt x="691" y="2246"/>
                    <a:pt x="700" y="2223"/>
                  </a:cubicBezTo>
                  <a:cubicBezTo>
                    <a:pt x="721" y="2166"/>
                    <a:pt x="800" y="2156"/>
                    <a:pt x="847" y="2134"/>
                  </a:cubicBezTo>
                  <a:cubicBezTo>
                    <a:pt x="859" y="2128"/>
                    <a:pt x="882" y="2126"/>
                    <a:pt x="891" y="2114"/>
                  </a:cubicBezTo>
                  <a:cubicBezTo>
                    <a:pt x="907" y="2093"/>
                    <a:pt x="895" y="2027"/>
                    <a:pt x="895" y="2001"/>
                  </a:cubicBezTo>
                  <a:cubicBezTo>
                    <a:pt x="895" y="1685"/>
                    <a:pt x="895" y="1685"/>
                    <a:pt x="895" y="1685"/>
                  </a:cubicBezTo>
                  <a:cubicBezTo>
                    <a:pt x="1479" y="1685"/>
                    <a:pt x="1479" y="1685"/>
                    <a:pt x="1479" y="1685"/>
                  </a:cubicBezTo>
                  <a:cubicBezTo>
                    <a:pt x="1479" y="1201"/>
                    <a:pt x="1479" y="1201"/>
                    <a:pt x="1479" y="1201"/>
                  </a:cubicBezTo>
                  <a:cubicBezTo>
                    <a:pt x="1506" y="1195"/>
                    <a:pt x="1520" y="1173"/>
                    <a:pt x="1543" y="1160"/>
                  </a:cubicBezTo>
                  <a:cubicBezTo>
                    <a:pt x="1576" y="1140"/>
                    <a:pt x="1612" y="1114"/>
                    <a:pt x="1647" y="1097"/>
                  </a:cubicBezTo>
                  <a:cubicBezTo>
                    <a:pt x="1659" y="1091"/>
                    <a:pt x="1673" y="1094"/>
                    <a:pt x="1686" y="1088"/>
                  </a:cubicBezTo>
                  <a:cubicBezTo>
                    <a:pt x="1704" y="1079"/>
                    <a:pt x="1714" y="1059"/>
                    <a:pt x="1735" y="1052"/>
                  </a:cubicBezTo>
                  <a:cubicBezTo>
                    <a:pt x="1767" y="1041"/>
                    <a:pt x="1796" y="1067"/>
                    <a:pt x="1827" y="1059"/>
                  </a:cubicBezTo>
                  <a:cubicBezTo>
                    <a:pt x="1846" y="1054"/>
                    <a:pt x="1848" y="1030"/>
                    <a:pt x="1867" y="1023"/>
                  </a:cubicBezTo>
                  <a:cubicBezTo>
                    <a:pt x="1911" y="1006"/>
                    <a:pt x="1965" y="1015"/>
                    <a:pt x="2011" y="1002"/>
                  </a:cubicBezTo>
                  <a:cubicBezTo>
                    <a:pt x="2036" y="994"/>
                    <a:pt x="2077" y="987"/>
                    <a:pt x="2099" y="974"/>
                  </a:cubicBezTo>
                  <a:cubicBezTo>
                    <a:pt x="2120" y="961"/>
                    <a:pt x="2130" y="944"/>
                    <a:pt x="2155" y="935"/>
                  </a:cubicBezTo>
                  <a:cubicBezTo>
                    <a:pt x="2173" y="929"/>
                    <a:pt x="2193" y="932"/>
                    <a:pt x="2211" y="925"/>
                  </a:cubicBezTo>
                  <a:cubicBezTo>
                    <a:pt x="2237" y="914"/>
                    <a:pt x="2257" y="890"/>
                    <a:pt x="2283" y="880"/>
                  </a:cubicBezTo>
                  <a:cubicBezTo>
                    <a:pt x="2303" y="873"/>
                    <a:pt x="2328" y="882"/>
                    <a:pt x="2345" y="866"/>
                  </a:cubicBezTo>
                  <a:cubicBezTo>
                    <a:pt x="2351" y="861"/>
                    <a:pt x="2354" y="854"/>
                    <a:pt x="2350" y="847"/>
                  </a:cubicBezTo>
                  <a:cubicBezTo>
                    <a:pt x="2344" y="835"/>
                    <a:pt x="2326" y="836"/>
                    <a:pt x="2317" y="826"/>
                  </a:cubicBezTo>
                  <a:cubicBezTo>
                    <a:pt x="2307" y="815"/>
                    <a:pt x="2306" y="753"/>
                    <a:pt x="2320" y="745"/>
                  </a:cubicBezTo>
                  <a:cubicBezTo>
                    <a:pt x="2332" y="738"/>
                    <a:pt x="2349" y="749"/>
                    <a:pt x="2363" y="748"/>
                  </a:cubicBezTo>
                  <a:cubicBezTo>
                    <a:pt x="2386" y="745"/>
                    <a:pt x="2416" y="733"/>
                    <a:pt x="2439" y="725"/>
                  </a:cubicBezTo>
                  <a:cubicBezTo>
                    <a:pt x="2466" y="716"/>
                    <a:pt x="2458" y="694"/>
                    <a:pt x="2476" y="680"/>
                  </a:cubicBezTo>
                  <a:cubicBezTo>
                    <a:pt x="2493" y="666"/>
                    <a:pt x="2549" y="663"/>
                    <a:pt x="2571" y="663"/>
                  </a:cubicBezTo>
                  <a:cubicBezTo>
                    <a:pt x="2630" y="662"/>
                    <a:pt x="2718" y="696"/>
                    <a:pt x="2775" y="669"/>
                  </a:cubicBezTo>
                  <a:cubicBezTo>
                    <a:pt x="2755" y="657"/>
                    <a:pt x="2755" y="657"/>
                    <a:pt x="2755" y="657"/>
                  </a:cubicBezTo>
                  <a:cubicBezTo>
                    <a:pt x="2763" y="630"/>
                    <a:pt x="2775" y="620"/>
                    <a:pt x="2799" y="605"/>
                  </a:cubicBezTo>
                  <a:cubicBezTo>
                    <a:pt x="2707" y="525"/>
                    <a:pt x="2707" y="525"/>
                    <a:pt x="2707" y="525"/>
                  </a:cubicBezTo>
                  <a:cubicBezTo>
                    <a:pt x="2735" y="506"/>
                    <a:pt x="2692" y="488"/>
                    <a:pt x="2687" y="467"/>
                  </a:cubicBezTo>
                  <a:cubicBezTo>
                    <a:pt x="2684" y="451"/>
                    <a:pt x="2697" y="436"/>
                    <a:pt x="2696" y="421"/>
                  </a:cubicBezTo>
                  <a:cubicBezTo>
                    <a:pt x="2694" y="385"/>
                    <a:pt x="2668" y="367"/>
                    <a:pt x="2691" y="329"/>
                  </a:cubicBezTo>
                  <a:cubicBezTo>
                    <a:pt x="2691" y="325"/>
                    <a:pt x="2691" y="325"/>
                    <a:pt x="2691" y="325"/>
                  </a:cubicBezTo>
                  <a:cubicBezTo>
                    <a:pt x="2663" y="273"/>
                    <a:pt x="2663" y="273"/>
                    <a:pt x="2663" y="273"/>
                  </a:cubicBezTo>
                  <a:cubicBezTo>
                    <a:pt x="2679" y="253"/>
                    <a:pt x="2679" y="253"/>
                    <a:pt x="2679" y="253"/>
                  </a:cubicBezTo>
                  <a:cubicBezTo>
                    <a:pt x="2657" y="241"/>
                    <a:pt x="2663" y="229"/>
                    <a:pt x="2671" y="209"/>
                  </a:cubicBezTo>
                  <a:cubicBezTo>
                    <a:pt x="2639" y="192"/>
                    <a:pt x="2608" y="159"/>
                    <a:pt x="2575" y="148"/>
                  </a:cubicBezTo>
                  <a:cubicBezTo>
                    <a:pt x="2556" y="141"/>
                    <a:pt x="2538" y="149"/>
                    <a:pt x="2519" y="147"/>
                  </a:cubicBezTo>
                  <a:cubicBezTo>
                    <a:pt x="2490" y="144"/>
                    <a:pt x="2471" y="118"/>
                    <a:pt x="2455" y="97"/>
                  </a:cubicBezTo>
                  <a:cubicBezTo>
                    <a:pt x="2440" y="104"/>
                    <a:pt x="2430" y="117"/>
                    <a:pt x="2415" y="122"/>
                  </a:cubicBezTo>
                  <a:cubicBezTo>
                    <a:pt x="2370" y="135"/>
                    <a:pt x="2324" y="119"/>
                    <a:pt x="2279" y="122"/>
                  </a:cubicBezTo>
                  <a:cubicBezTo>
                    <a:pt x="2226" y="125"/>
                    <a:pt x="2192" y="147"/>
                    <a:pt x="2139" y="119"/>
                  </a:cubicBezTo>
                  <a:cubicBezTo>
                    <a:pt x="2099" y="98"/>
                    <a:pt x="2041" y="64"/>
                    <a:pt x="2055" y="13"/>
                  </a:cubicBezTo>
                  <a:cubicBezTo>
                    <a:pt x="2028" y="0"/>
                    <a:pt x="2016" y="15"/>
                    <a:pt x="1991" y="22"/>
                  </a:cubicBezTo>
                  <a:cubicBezTo>
                    <a:pt x="1975" y="27"/>
                    <a:pt x="1954" y="21"/>
                    <a:pt x="1941" y="32"/>
                  </a:cubicBezTo>
                  <a:cubicBezTo>
                    <a:pt x="1928" y="43"/>
                    <a:pt x="1922" y="74"/>
                    <a:pt x="1915" y="89"/>
                  </a:cubicBezTo>
                  <a:cubicBezTo>
                    <a:pt x="1890" y="141"/>
                    <a:pt x="1873" y="196"/>
                    <a:pt x="1840" y="245"/>
                  </a:cubicBezTo>
                  <a:cubicBezTo>
                    <a:pt x="1827" y="264"/>
                    <a:pt x="1809" y="305"/>
                    <a:pt x="1787" y="3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" name="Freeform 7"/>
            <p:cNvSpPr/>
            <p:nvPr/>
          </p:nvSpPr>
          <p:spPr bwMode="auto">
            <a:xfrm>
              <a:off x="1250950" y="1211263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" name="Freeform 8"/>
            <p:cNvSpPr/>
            <p:nvPr/>
          </p:nvSpPr>
          <p:spPr bwMode="auto">
            <a:xfrm>
              <a:off x="1295400" y="949325"/>
              <a:ext cx="1028700" cy="885825"/>
            </a:xfrm>
            <a:custGeom>
              <a:avLst/>
              <a:gdLst/>
              <a:ahLst/>
              <a:cxnLst>
                <a:cxn ang="0">
                  <a:pos x="2505" y="56"/>
                </a:cxn>
                <a:cxn ang="0">
                  <a:pos x="2409" y="63"/>
                </a:cxn>
                <a:cxn ang="0">
                  <a:pos x="2113" y="63"/>
                </a:cxn>
                <a:cxn ang="0">
                  <a:pos x="2030" y="40"/>
                </a:cxn>
                <a:cxn ang="0">
                  <a:pos x="1965" y="93"/>
                </a:cxn>
                <a:cxn ang="0">
                  <a:pos x="1701" y="114"/>
                </a:cxn>
                <a:cxn ang="0">
                  <a:pos x="1473" y="231"/>
                </a:cxn>
                <a:cxn ang="0">
                  <a:pos x="1369" y="245"/>
                </a:cxn>
                <a:cxn ang="0">
                  <a:pos x="1125" y="355"/>
                </a:cxn>
                <a:cxn ang="0">
                  <a:pos x="1193" y="435"/>
                </a:cxn>
                <a:cxn ang="0">
                  <a:pos x="1205" y="487"/>
                </a:cxn>
                <a:cxn ang="0">
                  <a:pos x="1235" y="627"/>
                </a:cxn>
                <a:cxn ang="0">
                  <a:pos x="1249" y="727"/>
                </a:cxn>
                <a:cxn ang="0">
                  <a:pos x="1289" y="867"/>
                </a:cxn>
                <a:cxn ang="0">
                  <a:pos x="1313" y="875"/>
                </a:cxn>
                <a:cxn ang="0">
                  <a:pos x="985" y="924"/>
                </a:cxn>
                <a:cxn ang="0">
                  <a:pos x="855" y="947"/>
                </a:cxn>
                <a:cxn ang="0">
                  <a:pos x="885" y="1065"/>
                </a:cxn>
                <a:cxn ang="0">
                  <a:pos x="749" y="1126"/>
                </a:cxn>
                <a:cxn ang="0">
                  <a:pos x="629" y="1173"/>
                </a:cxn>
                <a:cxn ang="0">
                  <a:pos x="409" y="1222"/>
                </a:cxn>
                <a:cxn ang="0">
                  <a:pos x="285" y="1250"/>
                </a:cxn>
                <a:cxn ang="0">
                  <a:pos x="193" y="1294"/>
                </a:cxn>
                <a:cxn ang="0">
                  <a:pos x="49" y="1389"/>
                </a:cxn>
                <a:cxn ang="0">
                  <a:pos x="13" y="1531"/>
                </a:cxn>
                <a:cxn ang="0">
                  <a:pos x="73" y="1693"/>
                </a:cxn>
                <a:cxn ang="0">
                  <a:pos x="649" y="2037"/>
                </a:cxn>
                <a:cxn ang="0">
                  <a:pos x="1561" y="2637"/>
                </a:cxn>
                <a:cxn ang="0">
                  <a:pos x="1723" y="2795"/>
                </a:cxn>
                <a:cxn ang="0">
                  <a:pos x="1841" y="2879"/>
                </a:cxn>
                <a:cxn ang="0">
                  <a:pos x="1946" y="2921"/>
                </a:cxn>
                <a:cxn ang="0">
                  <a:pos x="2085" y="3023"/>
                </a:cxn>
                <a:cxn ang="0">
                  <a:pos x="2101" y="3100"/>
                </a:cxn>
                <a:cxn ang="0">
                  <a:pos x="2261" y="3071"/>
                </a:cxn>
                <a:cxn ang="0">
                  <a:pos x="2529" y="3019"/>
                </a:cxn>
                <a:cxn ang="0">
                  <a:pos x="2809" y="2782"/>
                </a:cxn>
                <a:cxn ang="0">
                  <a:pos x="3601" y="2315"/>
                </a:cxn>
                <a:cxn ang="0">
                  <a:pos x="3393" y="2134"/>
                </a:cxn>
                <a:cxn ang="0">
                  <a:pos x="3240" y="1967"/>
                </a:cxn>
                <a:cxn ang="0">
                  <a:pos x="3227" y="1799"/>
                </a:cxn>
                <a:cxn ang="0">
                  <a:pos x="3241" y="1603"/>
                </a:cxn>
                <a:cxn ang="0">
                  <a:pos x="3224" y="1471"/>
                </a:cxn>
                <a:cxn ang="0">
                  <a:pos x="3171" y="1203"/>
                </a:cxn>
                <a:cxn ang="0">
                  <a:pos x="3110" y="947"/>
                </a:cxn>
                <a:cxn ang="0">
                  <a:pos x="2982" y="807"/>
                </a:cxn>
                <a:cxn ang="0">
                  <a:pos x="2938" y="715"/>
                </a:cxn>
                <a:cxn ang="0">
                  <a:pos x="2858" y="639"/>
                </a:cxn>
                <a:cxn ang="0">
                  <a:pos x="2953" y="423"/>
                </a:cxn>
                <a:cxn ang="0">
                  <a:pos x="2978" y="340"/>
                </a:cxn>
                <a:cxn ang="0">
                  <a:pos x="2971" y="259"/>
                </a:cxn>
                <a:cxn ang="0">
                  <a:pos x="2945" y="115"/>
                </a:cxn>
                <a:cxn ang="0">
                  <a:pos x="3025" y="55"/>
                </a:cxn>
                <a:cxn ang="0">
                  <a:pos x="2941" y="34"/>
                </a:cxn>
                <a:cxn ang="0">
                  <a:pos x="2761" y="15"/>
                </a:cxn>
                <a:cxn ang="0">
                  <a:pos x="2773" y="23"/>
                </a:cxn>
                <a:cxn ang="0">
                  <a:pos x="2673" y="30"/>
                </a:cxn>
                <a:cxn ang="0">
                  <a:pos x="2601" y="39"/>
                </a:cxn>
              </a:cxnLst>
              <a:rect l="0" t="0" r="r" b="b"/>
              <a:pathLst>
                <a:path w="3601" h="3102">
                  <a:moveTo>
                    <a:pt x="2601" y="39"/>
                  </a:moveTo>
                  <a:cubicBezTo>
                    <a:pt x="2569" y="49"/>
                    <a:pt x="2535" y="46"/>
                    <a:pt x="2505" y="56"/>
                  </a:cubicBezTo>
                  <a:cubicBezTo>
                    <a:pt x="2484" y="63"/>
                    <a:pt x="2471" y="84"/>
                    <a:pt x="2449" y="86"/>
                  </a:cubicBezTo>
                  <a:cubicBezTo>
                    <a:pt x="2430" y="88"/>
                    <a:pt x="2414" y="80"/>
                    <a:pt x="2409" y="63"/>
                  </a:cubicBezTo>
                  <a:cubicBezTo>
                    <a:pt x="2335" y="47"/>
                    <a:pt x="2261" y="29"/>
                    <a:pt x="2185" y="40"/>
                  </a:cubicBezTo>
                  <a:cubicBezTo>
                    <a:pt x="2160" y="44"/>
                    <a:pt x="2139" y="61"/>
                    <a:pt x="2113" y="63"/>
                  </a:cubicBezTo>
                  <a:cubicBezTo>
                    <a:pt x="2101" y="63"/>
                    <a:pt x="2075" y="70"/>
                    <a:pt x="2064" y="65"/>
                  </a:cubicBezTo>
                  <a:cubicBezTo>
                    <a:pt x="2052" y="59"/>
                    <a:pt x="2046" y="35"/>
                    <a:pt x="2030" y="40"/>
                  </a:cubicBezTo>
                  <a:cubicBezTo>
                    <a:pt x="2020" y="43"/>
                    <a:pt x="2017" y="59"/>
                    <a:pt x="2011" y="67"/>
                  </a:cubicBezTo>
                  <a:cubicBezTo>
                    <a:pt x="2001" y="80"/>
                    <a:pt x="1982" y="90"/>
                    <a:pt x="1965" y="93"/>
                  </a:cubicBezTo>
                  <a:cubicBezTo>
                    <a:pt x="1950" y="96"/>
                    <a:pt x="1936" y="88"/>
                    <a:pt x="1921" y="89"/>
                  </a:cubicBezTo>
                  <a:cubicBezTo>
                    <a:pt x="1852" y="94"/>
                    <a:pt x="1767" y="96"/>
                    <a:pt x="1701" y="114"/>
                  </a:cubicBezTo>
                  <a:cubicBezTo>
                    <a:pt x="1655" y="127"/>
                    <a:pt x="1589" y="152"/>
                    <a:pt x="1549" y="181"/>
                  </a:cubicBezTo>
                  <a:cubicBezTo>
                    <a:pt x="1518" y="203"/>
                    <a:pt x="1522" y="236"/>
                    <a:pt x="1473" y="231"/>
                  </a:cubicBezTo>
                  <a:cubicBezTo>
                    <a:pt x="1464" y="191"/>
                    <a:pt x="1423" y="240"/>
                    <a:pt x="1409" y="244"/>
                  </a:cubicBezTo>
                  <a:cubicBezTo>
                    <a:pt x="1396" y="248"/>
                    <a:pt x="1382" y="242"/>
                    <a:pt x="1369" y="245"/>
                  </a:cubicBezTo>
                  <a:cubicBezTo>
                    <a:pt x="1322" y="254"/>
                    <a:pt x="1315" y="289"/>
                    <a:pt x="1281" y="313"/>
                  </a:cubicBezTo>
                  <a:cubicBezTo>
                    <a:pt x="1232" y="346"/>
                    <a:pt x="1182" y="355"/>
                    <a:pt x="1125" y="355"/>
                  </a:cubicBezTo>
                  <a:cubicBezTo>
                    <a:pt x="1138" y="381"/>
                    <a:pt x="1185" y="411"/>
                    <a:pt x="1213" y="419"/>
                  </a:cubicBezTo>
                  <a:cubicBezTo>
                    <a:pt x="1193" y="435"/>
                    <a:pt x="1193" y="435"/>
                    <a:pt x="1193" y="435"/>
                  </a:cubicBezTo>
                  <a:cubicBezTo>
                    <a:pt x="1193" y="447"/>
                    <a:pt x="1193" y="447"/>
                    <a:pt x="1193" y="447"/>
                  </a:cubicBezTo>
                  <a:cubicBezTo>
                    <a:pt x="1211" y="460"/>
                    <a:pt x="1212" y="467"/>
                    <a:pt x="1205" y="487"/>
                  </a:cubicBezTo>
                  <a:cubicBezTo>
                    <a:pt x="1236" y="516"/>
                    <a:pt x="1219" y="544"/>
                    <a:pt x="1217" y="579"/>
                  </a:cubicBezTo>
                  <a:cubicBezTo>
                    <a:pt x="1216" y="600"/>
                    <a:pt x="1233" y="609"/>
                    <a:pt x="1235" y="627"/>
                  </a:cubicBezTo>
                  <a:cubicBezTo>
                    <a:pt x="1236" y="642"/>
                    <a:pt x="1224" y="655"/>
                    <a:pt x="1226" y="671"/>
                  </a:cubicBezTo>
                  <a:cubicBezTo>
                    <a:pt x="1229" y="691"/>
                    <a:pt x="1260" y="708"/>
                    <a:pt x="1249" y="727"/>
                  </a:cubicBezTo>
                  <a:cubicBezTo>
                    <a:pt x="1266" y="764"/>
                    <a:pt x="1300" y="787"/>
                    <a:pt x="1337" y="803"/>
                  </a:cubicBezTo>
                  <a:cubicBezTo>
                    <a:pt x="1311" y="825"/>
                    <a:pt x="1302" y="836"/>
                    <a:pt x="1289" y="867"/>
                  </a:cubicBezTo>
                  <a:cubicBezTo>
                    <a:pt x="1313" y="867"/>
                    <a:pt x="1313" y="867"/>
                    <a:pt x="1313" y="867"/>
                  </a:cubicBezTo>
                  <a:cubicBezTo>
                    <a:pt x="1313" y="875"/>
                    <a:pt x="1313" y="875"/>
                    <a:pt x="1313" y="875"/>
                  </a:cubicBezTo>
                  <a:cubicBezTo>
                    <a:pt x="1225" y="868"/>
                    <a:pt x="1105" y="845"/>
                    <a:pt x="1021" y="877"/>
                  </a:cubicBezTo>
                  <a:cubicBezTo>
                    <a:pt x="999" y="886"/>
                    <a:pt x="1007" y="914"/>
                    <a:pt x="985" y="924"/>
                  </a:cubicBezTo>
                  <a:cubicBezTo>
                    <a:pt x="965" y="934"/>
                    <a:pt x="927" y="946"/>
                    <a:pt x="905" y="945"/>
                  </a:cubicBezTo>
                  <a:cubicBezTo>
                    <a:pt x="888" y="945"/>
                    <a:pt x="870" y="935"/>
                    <a:pt x="855" y="947"/>
                  </a:cubicBezTo>
                  <a:cubicBezTo>
                    <a:pt x="841" y="960"/>
                    <a:pt x="853" y="1029"/>
                    <a:pt x="857" y="1047"/>
                  </a:cubicBezTo>
                  <a:cubicBezTo>
                    <a:pt x="865" y="1047"/>
                    <a:pt x="894" y="1050"/>
                    <a:pt x="885" y="1065"/>
                  </a:cubicBezTo>
                  <a:cubicBezTo>
                    <a:pt x="876" y="1082"/>
                    <a:pt x="834" y="1075"/>
                    <a:pt x="817" y="1083"/>
                  </a:cubicBezTo>
                  <a:cubicBezTo>
                    <a:pt x="793" y="1096"/>
                    <a:pt x="775" y="1115"/>
                    <a:pt x="749" y="1126"/>
                  </a:cubicBezTo>
                  <a:cubicBezTo>
                    <a:pt x="725" y="1136"/>
                    <a:pt x="698" y="1135"/>
                    <a:pt x="673" y="1146"/>
                  </a:cubicBezTo>
                  <a:cubicBezTo>
                    <a:pt x="657" y="1153"/>
                    <a:pt x="646" y="1167"/>
                    <a:pt x="629" y="1173"/>
                  </a:cubicBezTo>
                  <a:cubicBezTo>
                    <a:pt x="585" y="1189"/>
                    <a:pt x="543" y="1204"/>
                    <a:pt x="497" y="1211"/>
                  </a:cubicBezTo>
                  <a:cubicBezTo>
                    <a:pt x="469" y="1215"/>
                    <a:pt x="436" y="1211"/>
                    <a:pt x="409" y="1222"/>
                  </a:cubicBezTo>
                  <a:cubicBezTo>
                    <a:pt x="393" y="1229"/>
                    <a:pt x="389" y="1250"/>
                    <a:pt x="373" y="1256"/>
                  </a:cubicBezTo>
                  <a:cubicBezTo>
                    <a:pt x="347" y="1264"/>
                    <a:pt x="313" y="1245"/>
                    <a:pt x="285" y="1250"/>
                  </a:cubicBezTo>
                  <a:cubicBezTo>
                    <a:pt x="259" y="1255"/>
                    <a:pt x="250" y="1276"/>
                    <a:pt x="229" y="1287"/>
                  </a:cubicBezTo>
                  <a:cubicBezTo>
                    <a:pt x="218" y="1293"/>
                    <a:pt x="204" y="1290"/>
                    <a:pt x="193" y="1294"/>
                  </a:cubicBezTo>
                  <a:cubicBezTo>
                    <a:pt x="175" y="1302"/>
                    <a:pt x="161" y="1319"/>
                    <a:pt x="145" y="1329"/>
                  </a:cubicBezTo>
                  <a:cubicBezTo>
                    <a:pt x="112" y="1351"/>
                    <a:pt x="80" y="1365"/>
                    <a:pt x="49" y="1389"/>
                  </a:cubicBezTo>
                  <a:cubicBezTo>
                    <a:pt x="39" y="1397"/>
                    <a:pt x="21" y="1401"/>
                    <a:pt x="15" y="1413"/>
                  </a:cubicBezTo>
                  <a:cubicBezTo>
                    <a:pt x="2" y="1441"/>
                    <a:pt x="13" y="1499"/>
                    <a:pt x="13" y="1531"/>
                  </a:cubicBezTo>
                  <a:cubicBezTo>
                    <a:pt x="13" y="1562"/>
                    <a:pt x="0" y="1631"/>
                    <a:pt x="17" y="1657"/>
                  </a:cubicBezTo>
                  <a:cubicBezTo>
                    <a:pt x="28" y="1674"/>
                    <a:pt x="56" y="1684"/>
                    <a:pt x="73" y="1693"/>
                  </a:cubicBezTo>
                  <a:cubicBezTo>
                    <a:pt x="119" y="1721"/>
                    <a:pt x="166" y="1749"/>
                    <a:pt x="213" y="1775"/>
                  </a:cubicBezTo>
                  <a:cubicBezTo>
                    <a:pt x="361" y="1857"/>
                    <a:pt x="505" y="1948"/>
                    <a:pt x="649" y="2037"/>
                  </a:cubicBezTo>
                  <a:cubicBezTo>
                    <a:pt x="902" y="2192"/>
                    <a:pt x="1148" y="2359"/>
                    <a:pt x="1393" y="2526"/>
                  </a:cubicBezTo>
                  <a:cubicBezTo>
                    <a:pt x="1448" y="2563"/>
                    <a:pt x="1503" y="2604"/>
                    <a:pt x="1561" y="2637"/>
                  </a:cubicBezTo>
                  <a:cubicBezTo>
                    <a:pt x="1609" y="2665"/>
                    <a:pt x="1667" y="2691"/>
                    <a:pt x="1708" y="2729"/>
                  </a:cubicBezTo>
                  <a:cubicBezTo>
                    <a:pt x="1729" y="2749"/>
                    <a:pt x="1706" y="2779"/>
                    <a:pt x="1723" y="2795"/>
                  </a:cubicBezTo>
                  <a:cubicBezTo>
                    <a:pt x="1741" y="2811"/>
                    <a:pt x="1773" y="2810"/>
                    <a:pt x="1792" y="2826"/>
                  </a:cubicBezTo>
                  <a:cubicBezTo>
                    <a:pt x="1813" y="2843"/>
                    <a:pt x="1812" y="2867"/>
                    <a:pt x="1841" y="2879"/>
                  </a:cubicBezTo>
                  <a:cubicBezTo>
                    <a:pt x="1862" y="2887"/>
                    <a:pt x="1888" y="2877"/>
                    <a:pt x="1907" y="2885"/>
                  </a:cubicBezTo>
                  <a:cubicBezTo>
                    <a:pt x="1924" y="2892"/>
                    <a:pt x="1929" y="2914"/>
                    <a:pt x="1946" y="2921"/>
                  </a:cubicBezTo>
                  <a:cubicBezTo>
                    <a:pt x="1984" y="2936"/>
                    <a:pt x="2029" y="2924"/>
                    <a:pt x="2064" y="2951"/>
                  </a:cubicBezTo>
                  <a:cubicBezTo>
                    <a:pt x="2088" y="2969"/>
                    <a:pt x="2062" y="3004"/>
                    <a:pt x="2085" y="3023"/>
                  </a:cubicBezTo>
                  <a:cubicBezTo>
                    <a:pt x="2085" y="3027"/>
                    <a:pt x="2085" y="3027"/>
                    <a:pt x="2085" y="3027"/>
                  </a:cubicBezTo>
                  <a:cubicBezTo>
                    <a:pt x="2060" y="3055"/>
                    <a:pt x="2046" y="3098"/>
                    <a:pt x="2101" y="3100"/>
                  </a:cubicBezTo>
                  <a:cubicBezTo>
                    <a:pt x="2157" y="3102"/>
                    <a:pt x="2206" y="3070"/>
                    <a:pt x="2261" y="3087"/>
                  </a:cubicBezTo>
                  <a:cubicBezTo>
                    <a:pt x="2261" y="3071"/>
                    <a:pt x="2261" y="3071"/>
                    <a:pt x="2261" y="3071"/>
                  </a:cubicBezTo>
                  <a:cubicBezTo>
                    <a:pt x="2315" y="3067"/>
                    <a:pt x="2367" y="3049"/>
                    <a:pt x="2421" y="3041"/>
                  </a:cubicBezTo>
                  <a:cubicBezTo>
                    <a:pt x="2454" y="3035"/>
                    <a:pt x="2499" y="3034"/>
                    <a:pt x="2529" y="3019"/>
                  </a:cubicBezTo>
                  <a:cubicBezTo>
                    <a:pt x="2556" y="3005"/>
                    <a:pt x="2578" y="2978"/>
                    <a:pt x="2601" y="2959"/>
                  </a:cubicBezTo>
                  <a:cubicBezTo>
                    <a:pt x="2671" y="2902"/>
                    <a:pt x="2735" y="2834"/>
                    <a:pt x="2809" y="2782"/>
                  </a:cubicBezTo>
                  <a:cubicBezTo>
                    <a:pt x="2954" y="2679"/>
                    <a:pt x="3115" y="2595"/>
                    <a:pt x="3269" y="2506"/>
                  </a:cubicBezTo>
                  <a:cubicBezTo>
                    <a:pt x="3378" y="2442"/>
                    <a:pt x="3486" y="2368"/>
                    <a:pt x="3601" y="2315"/>
                  </a:cubicBezTo>
                  <a:cubicBezTo>
                    <a:pt x="3587" y="2276"/>
                    <a:pt x="3555" y="2201"/>
                    <a:pt x="3522" y="2174"/>
                  </a:cubicBezTo>
                  <a:cubicBezTo>
                    <a:pt x="3497" y="2154"/>
                    <a:pt x="3426" y="2142"/>
                    <a:pt x="3393" y="2134"/>
                  </a:cubicBezTo>
                  <a:cubicBezTo>
                    <a:pt x="3368" y="2128"/>
                    <a:pt x="3339" y="2149"/>
                    <a:pt x="3317" y="2133"/>
                  </a:cubicBezTo>
                  <a:cubicBezTo>
                    <a:pt x="3260" y="2092"/>
                    <a:pt x="3278" y="2020"/>
                    <a:pt x="3240" y="1967"/>
                  </a:cubicBezTo>
                  <a:cubicBezTo>
                    <a:pt x="3219" y="1937"/>
                    <a:pt x="3160" y="1891"/>
                    <a:pt x="3157" y="1854"/>
                  </a:cubicBezTo>
                  <a:cubicBezTo>
                    <a:pt x="3153" y="1812"/>
                    <a:pt x="3206" y="1817"/>
                    <a:pt x="3227" y="1799"/>
                  </a:cubicBezTo>
                  <a:cubicBezTo>
                    <a:pt x="3242" y="1785"/>
                    <a:pt x="3242" y="1750"/>
                    <a:pt x="3245" y="1731"/>
                  </a:cubicBezTo>
                  <a:cubicBezTo>
                    <a:pt x="3207" y="1699"/>
                    <a:pt x="3202" y="1635"/>
                    <a:pt x="3241" y="1603"/>
                  </a:cubicBezTo>
                  <a:cubicBezTo>
                    <a:pt x="3241" y="1587"/>
                    <a:pt x="3249" y="1571"/>
                    <a:pt x="3246" y="1555"/>
                  </a:cubicBezTo>
                  <a:cubicBezTo>
                    <a:pt x="3241" y="1525"/>
                    <a:pt x="3223" y="1502"/>
                    <a:pt x="3224" y="1471"/>
                  </a:cubicBezTo>
                  <a:cubicBezTo>
                    <a:pt x="3225" y="1430"/>
                    <a:pt x="3244" y="1393"/>
                    <a:pt x="3235" y="1351"/>
                  </a:cubicBezTo>
                  <a:cubicBezTo>
                    <a:pt x="3224" y="1296"/>
                    <a:pt x="3189" y="1254"/>
                    <a:pt x="3171" y="1203"/>
                  </a:cubicBezTo>
                  <a:cubicBezTo>
                    <a:pt x="3162" y="1177"/>
                    <a:pt x="3159" y="1142"/>
                    <a:pt x="3153" y="1115"/>
                  </a:cubicBezTo>
                  <a:cubicBezTo>
                    <a:pt x="3138" y="1059"/>
                    <a:pt x="3125" y="1003"/>
                    <a:pt x="3110" y="947"/>
                  </a:cubicBezTo>
                  <a:cubicBezTo>
                    <a:pt x="3103" y="925"/>
                    <a:pt x="3102" y="895"/>
                    <a:pt x="3089" y="876"/>
                  </a:cubicBezTo>
                  <a:cubicBezTo>
                    <a:pt x="3067" y="842"/>
                    <a:pt x="3013" y="832"/>
                    <a:pt x="2982" y="807"/>
                  </a:cubicBezTo>
                  <a:cubicBezTo>
                    <a:pt x="2964" y="793"/>
                    <a:pt x="2971" y="778"/>
                    <a:pt x="2966" y="759"/>
                  </a:cubicBezTo>
                  <a:cubicBezTo>
                    <a:pt x="2962" y="743"/>
                    <a:pt x="2948" y="727"/>
                    <a:pt x="2938" y="715"/>
                  </a:cubicBezTo>
                  <a:cubicBezTo>
                    <a:pt x="2920" y="694"/>
                    <a:pt x="2889" y="700"/>
                    <a:pt x="2871" y="679"/>
                  </a:cubicBezTo>
                  <a:cubicBezTo>
                    <a:pt x="2862" y="668"/>
                    <a:pt x="2864" y="652"/>
                    <a:pt x="2858" y="639"/>
                  </a:cubicBezTo>
                  <a:cubicBezTo>
                    <a:pt x="2831" y="587"/>
                    <a:pt x="2803" y="533"/>
                    <a:pt x="2877" y="507"/>
                  </a:cubicBezTo>
                  <a:cubicBezTo>
                    <a:pt x="2883" y="457"/>
                    <a:pt x="2951" y="470"/>
                    <a:pt x="2953" y="423"/>
                  </a:cubicBezTo>
                  <a:cubicBezTo>
                    <a:pt x="2965" y="419"/>
                    <a:pt x="2965" y="419"/>
                    <a:pt x="2965" y="419"/>
                  </a:cubicBezTo>
                  <a:cubicBezTo>
                    <a:pt x="2953" y="383"/>
                    <a:pt x="2978" y="371"/>
                    <a:pt x="2978" y="340"/>
                  </a:cubicBezTo>
                  <a:cubicBezTo>
                    <a:pt x="2977" y="329"/>
                    <a:pt x="2968" y="318"/>
                    <a:pt x="2967" y="307"/>
                  </a:cubicBezTo>
                  <a:cubicBezTo>
                    <a:pt x="2965" y="291"/>
                    <a:pt x="2974" y="275"/>
                    <a:pt x="2971" y="259"/>
                  </a:cubicBezTo>
                  <a:cubicBezTo>
                    <a:pt x="2967" y="242"/>
                    <a:pt x="2957" y="230"/>
                    <a:pt x="2960" y="212"/>
                  </a:cubicBezTo>
                  <a:cubicBezTo>
                    <a:pt x="2965" y="177"/>
                    <a:pt x="2993" y="119"/>
                    <a:pt x="2945" y="115"/>
                  </a:cubicBezTo>
                  <a:cubicBezTo>
                    <a:pt x="2993" y="87"/>
                    <a:pt x="2993" y="87"/>
                    <a:pt x="2993" y="87"/>
                  </a:cubicBezTo>
                  <a:cubicBezTo>
                    <a:pt x="3025" y="55"/>
                    <a:pt x="3025" y="55"/>
                    <a:pt x="3025" y="55"/>
                  </a:cubicBezTo>
                  <a:cubicBezTo>
                    <a:pt x="3017" y="35"/>
                    <a:pt x="3017" y="35"/>
                    <a:pt x="3017" y="35"/>
                  </a:cubicBezTo>
                  <a:cubicBezTo>
                    <a:pt x="2991" y="40"/>
                    <a:pt x="2965" y="30"/>
                    <a:pt x="2941" y="34"/>
                  </a:cubicBezTo>
                  <a:cubicBezTo>
                    <a:pt x="2924" y="38"/>
                    <a:pt x="2908" y="53"/>
                    <a:pt x="2889" y="49"/>
                  </a:cubicBezTo>
                  <a:cubicBezTo>
                    <a:pt x="2846" y="41"/>
                    <a:pt x="2812" y="0"/>
                    <a:pt x="2761" y="15"/>
                  </a:cubicBezTo>
                  <a:cubicBezTo>
                    <a:pt x="2761" y="19"/>
                    <a:pt x="2761" y="19"/>
                    <a:pt x="2761" y="19"/>
                  </a:cubicBezTo>
                  <a:cubicBezTo>
                    <a:pt x="2773" y="23"/>
                    <a:pt x="2773" y="23"/>
                    <a:pt x="2773" y="23"/>
                  </a:cubicBezTo>
                  <a:cubicBezTo>
                    <a:pt x="2773" y="31"/>
                    <a:pt x="2773" y="31"/>
                    <a:pt x="2773" y="31"/>
                  </a:cubicBezTo>
                  <a:cubicBezTo>
                    <a:pt x="2740" y="45"/>
                    <a:pt x="2706" y="47"/>
                    <a:pt x="2673" y="30"/>
                  </a:cubicBezTo>
                  <a:cubicBezTo>
                    <a:pt x="2662" y="24"/>
                    <a:pt x="2654" y="11"/>
                    <a:pt x="2641" y="9"/>
                  </a:cubicBezTo>
                  <a:cubicBezTo>
                    <a:pt x="2620" y="5"/>
                    <a:pt x="2600" y="19"/>
                    <a:pt x="2601" y="3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" name="Freeform 9"/>
            <p:cNvSpPr/>
            <p:nvPr/>
          </p:nvSpPr>
          <p:spPr bwMode="auto">
            <a:xfrm>
              <a:off x="2189163" y="1133475"/>
              <a:ext cx="792163" cy="677863"/>
            </a:xfrm>
            <a:custGeom>
              <a:avLst/>
              <a:gdLst/>
              <a:ahLst/>
              <a:cxnLst>
                <a:cxn ang="0">
                  <a:pos x="392" y="128"/>
                </a:cxn>
                <a:cxn ang="0">
                  <a:pos x="212" y="239"/>
                </a:cxn>
                <a:cxn ang="0">
                  <a:pos x="167" y="380"/>
                </a:cxn>
                <a:cxn ang="0">
                  <a:pos x="0" y="524"/>
                </a:cxn>
                <a:cxn ang="0">
                  <a:pos x="85" y="852"/>
                </a:cxn>
                <a:cxn ang="0">
                  <a:pos x="74" y="1016"/>
                </a:cxn>
                <a:cxn ang="0">
                  <a:pos x="19" y="1220"/>
                </a:cxn>
                <a:cxn ang="0">
                  <a:pos x="128" y="1436"/>
                </a:cxn>
                <a:cxn ang="0">
                  <a:pos x="248" y="1500"/>
                </a:cxn>
                <a:cxn ang="0">
                  <a:pos x="466" y="1672"/>
                </a:cxn>
                <a:cxn ang="0">
                  <a:pos x="736" y="1740"/>
                </a:cxn>
                <a:cxn ang="0">
                  <a:pos x="896" y="1816"/>
                </a:cxn>
                <a:cxn ang="0">
                  <a:pos x="1116" y="1710"/>
                </a:cxn>
                <a:cxn ang="0">
                  <a:pos x="1260" y="1735"/>
                </a:cxn>
                <a:cxn ang="0">
                  <a:pos x="2236" y="2209"/>
                </a:cxn>
                <a:cxn ang="0">
                  <a:pos x="2560" y="2372"/>
                </a:cxn>
                <a:cxn ang="0">
                  <a:pos x="2732" y="2288"/>
                </a:cxn>
                <a:cxn ang="0">
                  <a:pos x="2730" y="684"/>
                </a:cxn>
                <a:cxn ang="0">
                  <a:pos x="2708" y="480"/>
                </a:cxn>
                <a:cxn ang="0">
                  <a:pos x="2720" y="464"/>
                </a:cxn>
                <a:cxn ang="0">
                  <a:pos x="2736" y="412"/>
                </a:cxn>
                <a:cxn ang="0">
                  <a:pos x="2728" y="211"/>
                </a:cxn>
                <a:cxn ang="0">
                  <a:pos x="2568" y="198"/>
                </a:cxn>
                <a:cxn ang="0">
                  <a:pos x="2404" y="92"/>
                </a:cxn>
                <a:cxn ang="0">
                  <a:pos x="2088" y="64"/>
                </a:cxn>
                <a:cxn ang="0">
                  <a:pos x="1852" y="304"/>
                </a:cxn>
                <a:cxn ang="0">
                  <a:pos x="1712" y="500"/>
                </a:cxn>
                <a:cxn ang="0">
                  <a:pos x="1288" y="333"/>
                </a:cxn>
                <a:cxn ang="0">
                  <a:pos x="1061" y="217"/>
                </a:cxn>
                <a:cxn ang="0">
                  <a:pos x="908" y="110"/>
                </a:cxn>
                <a:cxn ang="0">
                  <a:pos x="748" y="61"/>
                </a:cxn>
                <a:cxn ang="0">
                  <a:pos x="548" y="60"/>
                </a:cxn>
                <a:cxn ang="0">
                  <a:pos x="384" y="0"/>
                </a:cxn>
              </a:cxnLst>
              <a:rect l="0" t="0" r="r" b="b"/>
              <a:pathLst>
                <a:path w="2775" h="2372">
                  <a:moveTo>
                    <a:pt x="384" y="0"/>
                  </a:moveTo>
                  <a:cubicBezTo>
                    <a:pt x="371" y="50"/>
                    <a:pt x="376" y="82"/>
                    <a:pt x="392" y="128"/>
                  </a:cubicBezTo>
                  <a:cubicBezTo>
                    <a:pt x="357" y="139"/>
                    <a:pt x="311" y="153"/>
                    <a:pt x="281" y="173"/>
                  </a:cubicBezTo>
                  <a:cubicBezTo>
                    <a:pt x="255" y="191"/>
                    <a:pt x="237" y="220"/>
                    <a:pt x="212" y="239"/>
                  </a:cubicBezTo>
                  <a:cubicBezTo>
                    <a:pt x="188" y="257"/>
                    <a:pt x="166" y="250"/>
                    <a:pt x="149" y="280"/>
                  </a:cubicBezTo>
                  <a:cubicBezTo>
                    <a:pt x="130" y="314"/>
                    <a:pt x="164" y="346"/>
                    <a:pt x="167" y="380"/>
                  </a:cubicBezTo>
                  <a:cubicBezTo>
                    <a:pt x="172" y="437"/>
                    <a:pt x="92" y="498"/>
                    <a:pt x="40" y="500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2" y="569"/>
                    <a:pt x="61" y="606"/>
                    <a:pt x="79" y="652"/>
                  </a:cubicBezTo>
                  <a:cubicBezTo>
                    <a:pt x="107" y="723"/>
                    <a:pt x="79" y="783"/>
                    <a:pt x="85" y="852"/>
                  </a:cubicBezTo>
                  <a:cubicBezTo>
                    <a:pt x="87" y="878"/>
                    <a:pt x="111" y="898"/>
                    <a:pt x="110" y="924"/>
                  </a:cubicBezTo>
                  <a:cubicBezTo>
                    <a:pt x="109" y="958"/>
                    <a:pt x="73" y="982"/>
                    <a:pt x="74" y="1016"/>
                  </a:cubicBezTo>
                  <a:cubicBezTo>
                    <a:pt x="75" y="1061"/>
                    <a:pt x="114" y="1095"/>
                    <a:pt x="99" y="1141"/>
                  </a:cubicBezTo>
                  <a:cubicBezTo>
                    <a:pt x="87" y="1176"/>
                    <a:pt x="4" y="1165"/>
                    <a:pt x="19" y="1220"/>
                  </a:cubicBezTo>
                  <a:cubicBezTo>
                    <a:pt x="32" y="1270"/>
                    <a:pt x="95" y="1311"/>
                    <a:pt x="120" y="1356"/>
                  </a:cubicBezTo>
                  <a:cubicBezTo>
                    <a:pt x="134" y="1381"/>
                    <a:pt x="124" y="1410"/>
                    <a:pt x="128" y="1436"/>
                  </a:cubicBezTo>
                  <a:cubicBezTo>
                    <a:pt x="131" y="1454"/>
                    <a:pt x="174" y="1501"/>
                    <a:pt x="192" y="1508"/>
                  </a:cubicBezTo>
                  <a:cubicBezTo>
                    <a:pt x="211" y="1517"/>
                    <a:pt x="228" y="1500"/>
                    <a:pt x="248" y="1500"/>
                  </a:cubicBezTo>
                  <a:cubicBezTo>
                    <a:pt x="282" y="1501"/>
                    <a:pt x="354" y="1523"/>
                    <a:pt x="383" y="1540"/>
                  </a:cubicBezTo>
                  <a:cubicBezTo>
                    <a:pt x="429" y="1567"/>
                    <a:pt x="425" y="1642"/>
                    <a:pt x="466" y="1672"/>
                  </a:cubicBezTo>
                  <a:cubicBezTo>
                    <a:pt x="480" y="1683"/>
                    <a:pt x="503" y="1683"/>
                    <a:pt x="520" y="1688"/>
                  </a:cubicBezTo>
                  <a:cubicBezTo>
                    <a:pt x="589" y="1709"/>
                    <a:pt x="671" y="1707"/>
                    <a:pt x="736" y="1740"/>
                  </a:cubicBezTo>
                  <a:cubicBezTo>
                    <a:pt x="774" y="1760"/>
                    <a:pt x="813" y="1826"/>
                    <a:pt x="856" y="1832"/>
                  </a:cubicBezTo>
                  <a:cubicBezTo>
                    <a:pt x="870" y="1834"/>
                    <a:pt x="884" y="1822"/>
                    <a:pt x="896" y="1816"/>
                  </a:cubicBezTo>
                  <a:cubicBezTo>
                    <a:pt x="924" y="1802"/>
                    <a:pt x="960" y="1778"/>
                    <a:pt x="992" y="1776"/>
                  </a:cubicBezTo>
                  <a:cubicBezTo>
                    <a:pt x="1022" y="1743"/>
                    <a:pt x="1075" y="1728"/>
                    <a:pt x="1116" y="1710"/>
                  </a:cubicBezTo>
                  <a:cubicBezTo>
                    <a:pt x="1131" y="1703"/>
                    <a:pt x="1151" y="1690"/>
                    <a:pt x="1168" y="1692"/>
                  </a:cubicBezTo>
                  <a:cubicBezTo>
                    <a:pt x="1198" y="1696"/>
                    <a:pt x="1233" y="1722"/>
                    <a:pt x="1260" y="1735"/>
                  </a:cubicBezTo>
                  <a:cubicBezTo>
                    <a:pt x="1321" y="1766"/>
                    <a:pt x="1385" y="1795"/>
                    <a:pt x="1448" y="1823"/>
                  </a:cubicBezTo>
                  <a:cubicBezTo>
                    <a:pt x="1715" y="1939"/>
                    <a:pt x="1974" y="2079"/>
                    <a:pt x="2236" y="2209"/>
                  </a:cubicBezTo>
                  <a:cubicBezTo>
                    <a:pt x="2313" y="2248"/>
                    <a:pt x="2387" y="2291"/>
                    <a:pt x="2464" y="2329"/>
                  </a:cubicBezTo>
                  <a:cubicBezTo>
                    <a:pt x="2494" y="2345"/>
                    <a:pt x="2525" y="2369"/>
                    <a:pt x="2560" y="2372"/>
                  </a:cubicBezTo>
                  <a:cubicBezTo>
                    <a:pt x="2560" y="2288"/>
                    <a:pt x="2560" y="2288"/>
                    <a:pt x="2560" y="2288"/>
                  </a:cubicBezTo>
                  <a:cubicBezTo>
                    <a:pt x="2732" y="2288"/>
                    <a:pt x="2732" y="2288"/>
                    <a:pt x="2732" y="2288"/>
                  </a:cubicBezTo>
                  <a:cubicBezTo>
                    <a:pt x="2732" y="916"/>
                    <a:pt x="2732" y="916"/>
                    <a:pt x="2732" y="916"/>
                  </a:cubicBezTo>
                  <a:cubicBezTo>
                    <a:pt x="2732" y="845"/>
                    <a:pt x="2747" y="753"/>
                    <a:pt x="2730" y="684"/>
                  </a:cubicBezTo>
                  <a:cubicBezTo>
                    <a:pt x="2720" y="645"/>
                    <a:pt x="2707" y="609"/>
                    <a:pt x="2700" y="568"/>
                  </a:cubicBezTo>
                  <a:cubicBezTo>
                    <a:pt x="2692" y="527"/>
                    <a:pt x="2668" y="515"/>
                    <a:pt x="2708" y="480"/>
                  </a:cubicBezTo>
                  <a:cubicBezTo>
                    <a:pt x="2704" y="472"/>
                    <a:pt x="2704" y="472"/>
                    <a:pt x="2704" y="472"/>
                  </a:cubicBezTo>
                  <a:cubicBezTo>
                    <a:pt x="2720" y="464"/>
                    <a:pt x="2720" y="464"/>
                    <a:pt x="2720" y="464"/>
                  </a:cubicBezTo>
                  <a:cubicBezTo>
                    <a:pt x="2736" y="416"/>
                    <a:pt x="2736" y="416"/>
                    <a:pt x="2736" y="416"/>
                  </a:cubicBezTo>
                  <a:cubicBezTo>
                    <a:pt x="2736" y="412"/>
                    <a:pt x="2736" y="412"/>
                    <a:pt x="2736" y="412"/>
                  </a:cubicBezTo>
                  <a:cubicBezTo>
                    <a:pt x="2716" y="385"/>
                    <a:pt x="2698" y="351"/>
                    <a:pt x="2710" y="317"/>
                  </a:cubicBezTo>
                  <a:cubicBezTo>
                    <a:pt x="2724" y="277"/>
                    <a:pt x="2775" y="258"/>
                    <a:pt x="2728" y="211"/>
                  </a:cubicBezTo>
                  <a:cubicBezTo>
                    <a:pt x="2708" y="190"/>
                    <a:pt x="2661" y="200"/>
                    <a:pt x="2636" y="200"/>
                  </a:cubicBezTo>
                  <a:cubicBezTo>
                    <a:pt x="2615" y="201"/>
                    <a:pt x="2588" y="204"/>
                    <a:pt x="2568" y="198"/>
                  </a:cubicBezTo>
                  <a:cubicBezTo>
                    <a:pt x="2547" y="192"/>
                    <a:pt x="2531" y="176"/>
                    <a:pt x="2508" y="170"/>
                  </a:cubicBezTo>
                  <a:cubicBezTo>
                    <a:pt x="2453" y="158"/>
                    <a:pt x="2388" y="175"/>
                    <a:pt x="2404" y="92"/>
                  </a:cubicBezTo>
                  <a:cubicBezTo>
                    <a:pt x="2327" y="66"/>
                    <a:pt x="2225" y="27"/>
                    <a:pt x="2144" y="37"/>
                  </a:cubicBezTo>
                  <a:cubicBezTo>
                    <a:pt x="2122" y="40"/>
                    <a:pt x="2110" y="61"/>
                    <a:pt x="2088" y="64"/>
                  </a:cubicBezTo>
                  <a:cubicBezTo>
                    <a:pt x="2010" y="73"/>
                    <a:pt x="1902" y="109"/>
                    <a:pt x="1858" y="181"/>
                  </a:cubicBezTo>
                  <a:cubicBezTo>
                    <a:pt x="1835" y="217"/>
                    <a:pt x="1835" y="266"/>
                    <a:pt x="1852" y="304"/>
                  </a:cubicBezTo>
                  <a:cubicBezTo>
                    <a:pt x="1860" y="322"/>
                    <a:pt x="1876" y="332"/>
                    <a:pt x="1878" y="352"/>
                  </a:cubicBezTo>
                  <a:cubicBezTo>
                    <a:pt x="1885" y="420"/>
                    <a:pt x="1772" y="500"/>
                    <a:pt x="1712" y="500"/>
                  </a:cubicBezTo>
                  <a:cubicBezTo>
                    <a:pt x="1638" y="501"/>
                    <a:pt x="1603" y="438"/>
                    <a:pt x="1544" y="411"/>
                  </a:cubicBezTo>
                  <a:cubicBezTo>
                    <a:pt x="1466" y="377"/>
                    <a:pt x="1372" y="345"/>
                    <a:pt x="1288" y="333"/>
                  </a:cubicBezTo>
                  <a:cubicBezTo>
                    <a:pt x="1222" y="324"/>
                    <a:pt x="1171" y="339"/>
                    <a:pt x="1112" y="296"/>
                  </a:cubicBezTo>
                  <a:cubicBezTo>
                    <a:pt x="1088" y="279"/>
                    <a:pt x="1068" y="246"/>
                    <a:pt x="1061" y="217"/>
                  </a:cubicBezTo>
                  <a:cubicBezTo>
                    <a:pt x="1052" y="186"/>
                    <a:pt x="1060" y="152"/>
                    <a:pt x="1024" y="134"/>
                  </a:cubicBezTo>
                  <a:cubicBezTo>
                    <a:pt x="990" y="117"/>
                    <a:pt x="944" y="123"/>
                    <a:pt x="908" y="110"/>
                  </a:cubicBezTo>
                  <a:cubicBezTo>
                    <a:pt x="887" y="102"/>
                    <a:pt x="872" y="85"/>
                    <a:pt x="852" y="78"/>
                  </a:cubicBezTo>
                  <a:cubicBezTo>
                    <a:pt x="817" y="66"/>
                    <a:pt x="781" y="70"/>
                    <a:pt x="748" y="61"/>
                  </a:cubicBezTo>
                  <a:cubicBezTo>
                    <a:pt x="726" y="55"/>
                    <a:pt x="707" y="41"/>
                    <a:pt x="684" y="41"/>
                  </a:cubicBezTo>
                  <a:cubicBezTo>
                    <a:pt x="638" y="40"/>
                    <a:pt x="597" y="66"/>
                    <a:pt x="548" y="60"/>
                  </a:cubicBezTo>
                  <a:cubicBezTo>
                    <a:pt x="515" y="56"/>
                    <a:pt x="492" y="35"/>
                    <a:pt x="464" y="21"/>
                  </a:cubicBezTo>
                  <a:cubicBezTo>
                    <a:pt x="441" y="11"/>
                    <a:pt x="408" y="5"/>
                    <a:pt x="38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" name="Freeform 10"/>
            <p:cNvSpPr>
              <a:spLocks noEditPoints="1"/>
            </p:cNvSpPr>
            <p:nvPr/>
          </p:nvSpPr>
          <p:spPr bwMode="auto">
            <a:xfrm>
              <a:off x="2951163" y="1171575"/>
              <a:ext cx="606425" cy="520700"/>
            </a:xfrm>
            <a:custGeom>
              <a:avLst/>
              <a:gdLst/>
              <a:ahLst/>
              <a:cxnLst>
                <a:cxn ang="0">
                  <a:pos x="1872" y="4"/>
                </a:cxn>
                <a:cxn ang="0">
                  <a:pos x="1836" y="88"/>
                </a:cxn>
                <a:cxn ang="0">
                  <a:pos x="1836" y="88"/>
                </a:cxn>
                <a:cxn ang="0">
                  <a:pos x="28" y="228"/>
                </a:cxn>
                <a:cxn ang="0">
                  <a:pos x="2" y="392"/>
                </a:cxn>
                <a:cxn ang="0">
                  <a:pos x="27" y="496"/>
                </a:cxn>
                <a:cxn ang="0">
                  <a:pos x="56" y="1808"/>
                </a:cxn>
                <a:cxn ang="0">
                  <a:pos x="1028" y="1808"/>
                </a:cxn>
                <a:cxn ang="0">
                  <a:pos x="1180" y="1772"/>
                </a:cxn>
                <a:cxn ang="0">
                  <a:pos x="1384" y="1808"/>
                </a:cxn>
                <a:cxn ang="0">
                  <a:pos x="2024" y="1808"/>
                </a:cxn>
                <a:cxn ang="0">
                  <a:pos x="2045" y="1739"/>
                </a:cxn>
                <a:cxn ang="0">
                  <a:pos x="1928" y="1656"/>
                </a:cxn>
                <a:cxn ang="0">
                  <a:pos x="1880" y="1468"/>
                </a:cxn>
                <a:cxn ang="0">
                  <a:pos x="1888" y="1436"/>
                </a:cxn>
                <a:cxn ang="0">
                  <a:pos x="1775" y="1264"/>
                </a:cxn>
                <a:cxn ang="0">
                  <a:pos x="1612" y="992"/>
                </a:cxn>
                <a:cxn ang="0">
                  <a:pos x="1588" y="912"/>
                </a:cxn>
                <a:cxn ang="0">
                  <a:pos x="1571" y="875"/>
                </a:cxn>
                <a:cxn ang="0">
                  <a:pos x="1552" y="800"/>
                </a:cxn>
                <a:cxn ang="0">
                  <a:pos x="1417" y="637"/>
                </a:cxn>
                <a:cxn ang="0">
                  <a:pos x="1368" y="436"/>
                </a:cxn>
                <a:cxn ang="0">
                  <a:pos x="1478" y="664"/>
                </a:cxn>
                <a:cxn ang="0">
                  <a:pos x="1655" y="811"/>
                </a:cxn>
                <a:cxn ang="0">
                  <a:pos x="1704" y="772"/>
                </a:cxn>
                <a:cxn ang="0">
                  <a:pos x="1728" y="636"/>
                </a:cxn>
                <a:cxn ang="0">
                  <a:pos x="1784" y="476"/>
                </a:cxn>
                <a:cxn ang="0">
                  <a:pos x="1664" y="208"/>
                </a:cxn>
                <a:cxn ang="0">
                  <a:pos x="1696" y="136"/>
                </a:cxn>
                <a:cxn ang="0">
                  <a:pos x="1432" y="212"/>
                </a:cxn>
                <a:cxn ang="0">
                  <a:pos x="1328" y="194"/>
                </a:cxn>
                <a:cxn ang="0">
                  <a:pos x="1260" y="150"/>
                </a:cxn>
                <a:cxn ang="0">
                  <a:pos x="1116" y="136"/>
                </a:cxn>
                <a:cxn ang="0">
                  <a:pos x="984" y="152"/>
                </a:cxn>
                <a:cxn ang="0">
                  <a:pos x="916" y="188"/>
                </a:cxn>
                <a:cxn ang="0">
                  <a:pos x="656" y="231"/>
                </a:cxn>
                <a:cxn ang="0">
                  <a:pos x="488" y="204"/>
                </a:cxn>
                <a:cxn ang="0">
                  <a:pos x="308" y="155"/>
                </a:cxn>
                <a:cxn ang="0">
                  <a:pos x="84" y="148"/>
                </a:cxn>
                <a:cxn ang="0">
                  <a:pos x="76" y="124"/>
                </a:cxn>
              </a:cxnLst>
              <a:rect l="0" t="0" r="r" b="b"/>
              <a:pathLst>
                <a:path w="2124" h="1823">
                  <a:moveTo>
                    <a:pt x="1868" y="0"/>
                  </a:moveTo>
                  <a:cubicBezTo>
                    <a:pt x="1872" y="4"/>
                    <a:pt x="1872" y="4"/>
                    <a:pt x="1872" y="4"/>
                  </a:cubicBezTo>
                  <a:cubicBezTo>
                    <a:pt x="1868" y="0"/>
                    <a:pt x="1868" y="0"/>
                    <a:pt x="1868" y="0"/>
                  </a:cubicBezTo>
                  <a:moveTo>
                    <a:pt x="1836" y="88"/>
                  </a:moveTo>
                  <a:cubicBezTo>
                    <a:pt x="1840" y="92"/>
                    <a:pt x="1840" y="92"/>
                    <a:pt x="1840" y="92"/>
                  </a:cubicBezTo>
                  <a:cubicBezTo>
                    <a:pt x="1836" y="88"/>
                    <a:pt x="1836" y="88"/>
                    <a:pt x="1836" y="88"/>
                  </a:cubicBezTo>
                  <a:moveTo>
                    <a:pt x="76" y="124"/>
                  </a:moveTo>
                  <a:cubicBezTo>
                    <a:pt x="51" y="163"/>
                    <a:pt x="23" y="178"/>
                    <a:pt x="28" y="228"/>
                  </a:cubicBezTo>
                  <a:cubicBezTo>
                    <a:pt x="31" y="253"/>
                    <a:pt x="60" y="272"/>
                    <a:pt x="53" y="299"/>
                  </a:cubicBezTo>
                  <a:cubicBezTo>
                    <a:pt x="44" y="332"/>
                    <a:pt x="0" y="357"/>
                    <a:pt x="2" y="392"/>
                  </a:cubicBezTo>
                  <a:cubicBezTo>
                    <a:pt x="2" y="409"/>
                    <a:pt x="16" y="420"/>
                    <a:pt x="20" y="436"/>
                  </a:cubicBezTo>
                  <a:cubicBezTo>
                    <a:pt x="24" y="456"/>
                    <a:pt x="22" y="477"/>
                    <a:pt x="27" y="496"/>
                  </a:cubicBezTo>
                  <a:cubicBezTo>
                    <a:pt x="39" y="542"/>
                    <a:pt x="56" y="571"/>
                    <a:pt x="56" y="620"/>
                  </a:cubicBezTo>
                  <a:cubicBezTo>
                    <a:pt x="56" y="1808"/>
                    <a:pt x="56" y="1808"/>
                    <a:pt x="56" y="1808"/>
                  </a:cubicBezTo>
                  <a:cubicBezTo>
                    <a:pt x="784" y="1808"/>
                    <a:pt x="784" y="1808"/>
                    <a:pt x="784" y="1808"/>
                  </a:cubicBezTo>
                  <a:cubicBezTo>
                    <a:pt x="1028" y="1808"/>
                    <a:pt x="1028" y="1808"/>
                    <a:pt x="1028" y="1808"/>
                  </a:cubicBezTo>
                  <a:cubicBezTo>
                    <a:pt x="1139" y="1807"/>
                    <a:pt x="1139" y="1807"/>
                    <a:pt x="1139" y="1807"/>
                  </a:cubicBezTo>
                  <a:cubicBezTo>
                    <a:pt x="1180" y="1772"/>
                    <a:pt x="1180" y="1772"/>
                    <a:pt x="1180" y="1772"/>
                  </a:cubicBezTo>
                  <a:cubicBezTo>
                    <a:pt x="1172" y="1804"/>
                    <a:pt x="1172" y="1804"/>
                    <a:pt x="1172" y="1804"/>
                  </a:cubicBezTo>
                  <a:cubicBezTo>
                    <a:pt x="1234" y="1823"/>
                    <a:pt x="1319" y="1808"/>
                    <a:pt x="1384" y="1808"/>
                  </a:cubicBezTo>
                  <a:cubicBezTo>
                    <a:pt x="1836" y="1808"/>
                    <a:pt x="1836" y="1808"/>
                    <a:pt x="1836" y="1808"/>
                  </a:cubicBezTo>
                  <a:cubicBezTo>
                    <a:pt x="2024" y="1808"/>
                    <a:pt x="2024" y="1808"/>
                    <a:pt x="2024" y="1808"/>
                  </a:cubicBezTo>
                  <a:cubicBezTo>
                    <a:pt x="2056" y="1808"/>
                    <a:pt x="2093" y="1813"/>
                    <a:pt x="2124" y="1804"/>
                  </a:cubicBezTo>
                  <a:cubicBezTo>
                    <a:pt x="2045" y="1739"/>
                    <a:pt x="2045" y="1739"/>
                    <a:pt x="2045" y="1739"/>
                  </a:cubicBezTo>
                  <a:cubicBezTo>
                    <a:pt x="1999" y="1691"/>
                    <a:pt x="1999" y="1691"/>
                    <a:pt x="1999" y="1691"/>
                  </a:cubicBezTo>
                  <a:cubicBezTo>
                    <a:pt x="1928" y="1656"/>
                    <a:pt x="1928" y="1656"/>
                    <a:pt x="1928" y="1656"/>
                  </a:cubicBezTo>
                  <a:cubicBezTo>
                    <a:pt x="1880" y="1556"/>
                    <a:pt x="1880" y="1556"/>
                    <a:pt x="1880" y="1556"/>
                  </a:cubicBezTo>
                  <a:cubicBezTo>
                    <a:pt x="1880" y="1468"/>
                    <a:pt x="1880" y="1468"/>
                    <a:pt x="1880" y="1468"/>
                  </a:cubicBezTo>
                  <a:cubicBezTo>
                    <a:pt x="1936" y="1480"/>
                    <a:pt x="1936" y="1480"/>
                    <a:pt x="1936" y="1480"/>
                  </a:cubicBezTo>
                  <a:cubicBezTo>
                    <a:pt x="1888" y="1436"/>
                    <a:pt x="1888" y="1436"/>
                    <a:pt x="1888" y="1436"/>
                  </a:cubicBezTo>
                  <a:cubicBezTo>
                    <a:pt x="1819" y="1364"/>
                    <a:pt x="1819" y="1364"/>
                    <a:pt x="1819" y="1364"/>
                  </a:cubicBezTo>
                  <a:cubicBezTo>
                    <a:pt x="1775" y="1264"/>
                    <a:pt x="1775" y="1264"/>
                    <a:pt x="1775" y="1264"/>
                  </a:cubicBezTo>
                  <a:cubicBezTo>
                    <a:pt x="1685" y="1120"/>
                    <a:pt x="1685" y="1120"/>
                    <a:pt x="1685" y="1120"/>
                  </a:cubicBezTo>
                  <a:cubicBezTo>
                    <a:pt x="1612" y="992"/>
                    <a:pt x="1612" y="992"/>
                    <a:pt x="1612" y="992"/>
                  </a:cubicBezTo>
                  <a:cubicBezTo>
                    <a:pt x="1624" y="988"/>
                    <a:pt x="1624" y="988"/>
                    <a:pt x="1624" y="988"/>
                  </a:cubicBezTo>
                  <a:cubicBezTo>
                    <a:pt x="1588" y="912"/>
                    <a:pt x="1588" y="912"/>
                    <a:pt x="1588" y="912"/>
                  </a:cubicBezTo>
                  <a:cubicBezTo>
                    <a:pt x="1588" y="908"/>
                    <a:pt x="1588" y="908"/>
                    <a:pt x="1588" y="908"/>
                  </a:cubicBezTo>
                  <a:cubicBezTo>
                    <a:pt x="1596" y="893"/>
                    <a:pt x="1580" y="887"/>
                    <a:pt x="1571" y="875"/>
                  </a:cubicBezTo>
                  <a:cubicBezTo>
                    <a:pt x="1555" y="855"/>
                    <a:pt x="1530" y="826"/>
                    <a:pt x="1528" y="800"/>
                  </a:cubicBezTo>
                  <a:cubicBezTo>
                    <a:pt x="1552" y="800"/>
                    <a:pt x="1552" y="800"/>
                    <a:pt x="1552" y="800"/>
                  </a:cubicBezTo>
                  <a:cubicBezTo>
                    <a:pt x="1539" y="769"/>
                    <a:pt x="1515" y="758"/>
                    <a:pt x="1492" y="736"/>
                  </a:cubicBezTo>
                  <a:cubicBezTo>
                    <a:pt x="1463" y="708"/>
                    <a:pt x="1434" y="672"/>
                    <a:pt x="1417" y="637"/>
                  </a:cubicBezTo>
                  <a:cubicBezTo>
                    <a:pt x="1408" y="619"/>
                    <a:pt x="1365" y="599"/>
                    <a:pt x="1396" y="580"/>
                  </a:cubicBezTo>
                  <a:cubicBezTo>
                    <a:pt x="1381" y="518"/>
                    <a:pt x="1307" y="493"/>
                    <a:pt x="1368" y="436"/>
                  </a:cubicBezTo>
                  <a:cubicBezTo>
                    <a:pt x="1379" y="507"/>
                    <a:pt x="1425" y="538"/>
                    <a:pt x="1462" y="593"/>
                  </a:cubicBezTo>
                  <a:cubicBezTo>
                    <a:pt x="1475" y="614"/>
                    <a:pt x="1467" y="642"/>
                    <a:pt x="1478" y="664"/>
                  </a:cubicBezTo>
                  <a:cubicBezTo>
                    <a:pt x="1491" y="690"/>
                    <a:pt x="1515" y="703"/>
                    <a:pt x="1535" y="722"/>
                  </a:cubicBezTo>
                  <a:cubicBezTo>
                    <a:pt x="1568" y="753"/>
                    <a:pt x="1604" y="804"/>
                    <a:pt x="1655" y="811"/>
                  </a:cubicBezTo>
                  <a:cubicBezTo>
                    <a:pt x="1669" y="813"/>
                    <a:pt x="1682" y="780"/>
                    <a:pt x="1700" y="776"/>
                  </a:cubicBezTo>
                  <a:cubicBezTo>
                    <a:pt x="1704" y="772"/>
                    <a:pt x="1704" y="772"/>
                    <a:pt x="1704" y="772"/>
                  </a:cubicBezTo>
                  <a:cubicBezTo>
                    <a:pt x="1693" y="708"/>
                    <a:pt x="1693" y="708"/>
                    <a:pt x="1693" y="708"/>
                  </a:cubicBezTo>
                  <a:cubicBezTo>
                    <a:pt x="1728" y="636"/>
                    <a:pt x="1728" y="636"/>
                    <a:pt x="1728" y="636"/>
                  </a:cubicBezTo>
                  <a:cubicBezTo>
                    <a:pt x="1746" y="548"/>
                    <a:pt x="1746" y="548"/>
                    <a:pt x="1746" y="548"/>
                  </a:cubicBezTo>
                  <a:cubicBezTo>
                    <a:pt x="1784" y="476"/>
                    <a:pt x="1784" y="476"/>
                    <a:pt x="1784" y="476"/>
                  </a:cubicBezTo>
                  <a:cubicBezTo>
                    <a:pt x="1757" y="462"/>
                    <a:pt x="1750" y="423"/>
                    <a:pt x="1740" y="396"/>
                  </a:cubicBezTo>
                  <a:cubicBezTo>
                    <a:pt x="1716" y="333"/>
                    <a:pt x="1691" y="270"/>
                    <a:pt x="1664" y="208"/>
                  </a:cubicBezTo>
                  <a:cubicBezTo>
                    <a:pt x="1720" y="148"/>
                    <a:pt x="1720" y="148"/>
                    <a:pt x="1720" y="148"/>
                  </a:cubicBezTo>
                  <a:cubicBezTo>
                    <a:pt x="1696" y="136"/>
                    <a:pt x="1696" y="136"/>
                    <a:pt x="1696" y="136"/>
                  </a:cubicBezTo>
                  <a:cubicBezTo>
                    <a:pt x="1663" y="181"/>
                    <a:pt x="1607" y="223"/>
                    <a:pt x="1548" y="220"/>
                  </a:cubicBezTo>
                  <a:cubicBezTo>
                    <a:pt x="1502" y="218"/>
                    <a:pt x="1480" y="195"/>
                    <a:pt x="1432" y="212"/>
                  </a:cubicBezTo>
                  <a:cubicBezTo>
                    <a:pt x="1432" y="235"/>
                    <a:pt x="1384" y="237"/>
                    <a:pt x="1369" y="227"/>
                  </a:cubicBezTo>
                  <a:cubicBezTo>
                    <a:pt x="1354" y="217"/>
                    <a:pt x="1344" y="201"/>
                    <a:pt x="1328" y="194"/>
                  </a:cubicBezTo>
                  <a:cubicBezTo>
                    <a:pt x="1312" y="187"/>
                    <a:pt x="1296" y="188"/>
                    <a:pt x="1281" y="175"/>
                  </a:cubicBezTo>
                  <a:cubicBezTo>
                    <a:pt x="1273" y="168"/>
                    <a:pt x="1270" y="155"/>
                    <a:pt x="1260" y="150"/>
                  </a:cubicBezTo>
                  <a:cubicBezTo>
                    <a:pt x="1242" y="140"/>
                    <a:pt x="1212" y="166"/>
                    <a:pt x="1192" y="164"/>
                  </a:cubicBezTo>
                  <a:cubicBezTo>
                    <a:pt x="1166" y="162"/>
                    <a:pt x="1143" y="139"/>
                    <a:pt x="1116" y="136"/>
                  </a:cubicBezTo>
                  <a:cubicBezTo>
                    <a:pt x="1081" y="133"/>
                    <a:pt x="1050" y="160"/>
                    <a:pt x="1016" y="163"/>
                  </a:cubicBezTo>
                  <a:cubicBezTo>
                    <a:pt x="1004" y="164"/>
                    <a:pt x="995" y="155"/>
                    <a:pt x="984" y="152"/>
                  </a:cubicBezTo>
                  <a:cubicBezTo>
                    <a:pt x="980" y="156"/>
                    <a:pt x="980" y="156"/>
                    <a:pt x="980" y="156"/>
                  </a:cubicBezTo>
                  <a:cubicBezTo>
                    <a:pt x="980" y="211"/>
                    <a:pt x="951" y="191"/>
                    <a:pt x="916" y="188"/>
                  </a:cubicBezTo>
                  <a:cubicBezTo>
                    <a:pt x="896" y="226"/>
                    <a:pt x="800" y="280"/>
                    <a:pt x="756" y="271"/>
                  </a:cubicBezTo>
                  <a:cubicBezTo>
                    <a:pt x="723" y="264"/>
                    <a:pt x="691" y="239"/>
                    <a:pt x="656" y="231"/>
                  </a:cubicBezTo>
                  <a:cubicBezTo>
                    <a:pt x="617" y="221"/>
                    <a:pt x="578" y="243"/>
                    <a:pt x="556" y="200"/>
                  </a:cubicBezTo>
                  <a:cubicBezTo>
                    <a:pt x="534" y="206"/>
                    <a:pt x="510" y="217"/>
                    <a:pt x="488" y="204"/>
                  </a:cubicBezTo>
                  <a:cubicBezTo>
                    <a:pt x="476" y="197"/>
                    <a:pt x="473" y="181"/>
                    <a:pt x="459" y="177"/>
                  </a:cubicBezTo>
                  <a:cubicBezTo>
                    <a:pt x="412" y="164"/>
                    <a:pt x="357" y="162"/>
                    <a:pt x="308" y="155"/>
                  </a:cubicBezTo>
                  <a:cubicBezTo>
                    <a:pt x="278" y="151"/>
                    <a:pt x="250" y="137"/>
                    <a:pt x="220" y="134"/>
                  </a:cubicBezTo>
                  <a:cubicBezTo>
                    <a:pt x="174" y="128"/>
                    <a:pt x="133" y="157"/>
                    <a:pt x="84" y="148"/>
                  </a:cubicBezTo>
                  <a:cubicBezTo>
                    <a:pt x="84" y="124"/>
                    <a:pt x="84" y="124"/>
                    <a:pt x="84" y="124"/>
                  </a:cubicBezTo>
                  <a:lnTo>
                    <a:pt x="76" y="1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" name="Freeform 11"/>
            <p:cNvSpPr/>
            <p:nvPr/>
          </p:nvSpPr>
          <p:spPr bwMode="auto">
            <a:xfrm>
              <a:off x="3368675" y="1336675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" name="Freeform 12"/>
            <p:cNvSpPr/>
            <p:nvPr/>
          </p:nvSpPr>
          <p:spPr bwMode="auto">
            <a:xfrm>
              <a:off x="3406775" y="1409700"/>
              <a:ext cx="9525" cy="9525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28" y="29"/>
                </a:cxn>
                <a:cxn ang="0">
                  <a:pos x="32" y="25"/>
                </a:cxn>
                <a:cxn ang="0">
                  <a:pos x="0" y="17"/>
                </a:cxn>
              </a:cxnLst>
              <a:rect l="0" t="0" r="r" b="b"/>
              <a:pathLst>
                <a:path w="32" h="29">
                  <a:moveTo>
                    <a:pt x="0" y="17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25" y="8"/>
                    <a:pt x="12" y="0"/>
                    <a:pt x="0" y="1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" name="Freeform 13"/>
            <p:cNvSpPr/>
            <p:nvPr/>
          </p:nvSpPr>
          <p:spPr bwMode="auto">
            <a:xfrm>
              <a:off x="2809875" y="1676400"/>
              <a:ext cx="833438" cy="930275"/>
            </a:xfrm>
            <a:custGeom>
              <a:avLst/>
              <a:gdLst/>
              <a:ahLst/>
              <a:cxnLst>
                <a:cxn ang="0">
                  <a:pos x="552" y="291"/>
                </a:cxn>
                <a:cxn ang="0">
                  <a:pos x="500" y="387"/>
                </a:cxn>
                <a:cxn ang="0">
                  <a:pos x="376" y="1131"/>
                </a:cxn>
                <a:cxn ang="0">
                  <a:pos x="192" y="1157"/>
                </a:cxn>
                <a:cxn ang="0">
                  <a:pos x="148" y="1311"/>
                </a:cxn>
                <a:cxn ang="0">
                  <a:pos x="117" y="1409"/>
                </a:cxn>
                <a:cxn ang="0">
                  <a:pos x="73" y="1543"/>
                </a:cxn>
                <a:cxn ang="0">
                  <a:pos x="68" y="1663"/>
                </a:cxn>
                <a:cxn ang="0">
                  <a:pos x="68" y="1651"/>
                </a:cxn>
                <a:cxn ang="0">
                  <a:pos x="131" y="1787"/>
                </a:cxn>
                <a:cxn ang="0">
                  <a:pos x="191" y="1892"/>
                </a:cxn>
                <a:cxn ang="0">
                  <a:pos x="247" y="2043"/>
                </a:cxn>
                <a:cxn ang="0">
                  <a:pos x="311" y="2243"/>
                </a:cxn>
                <a:cxn ang="0">
                  <a:pos x="300" y="2307"/>
                </a:cxn>
                <a:cxn ang="0">
                  <a:pos x="332" y="2351"/>
                </a:cxn>
                <a:cxn ang="0">
                  <a:pos x="412" y="2422"/>
                </a:cxn>
                <a:cxn ang="0">
                  <a:pos x="552" y="2482"/>
                </a:cxn>
                <a:cxn ang="0">
                  <a:pos x="580" y="2535"/>
                </a:cxn>
                <a:cxn ang="0">
                  <a:pos x="788" y="2703"/>
                </a:cxn>
                <a:cxn ang="0">
                  <a:pos x="796" y="2795"/>
                </a:cxn>
                <a:cxn ang="0">
                  <a:pos x="922" y="2865"/>
                </a:cxn>
                <a:cxn ang="0">
                  <a:pos x="1011" y="3016"/>
                </a:cxn>
                <a:cxn ang="0">
                  <a:pos x="1067" y="3078"/>
                </a:cxn>
                <a:cxn ang="0">
                  <a:pos x="1208" y="3071"/>
                </a:cxn>
                <a:cxn ang="0">
                  <a:pos x="1284" y="3105"/>
                </a:cxn>
                <a:cxn ang="0">
                  <a:pos x="1378" y="3074"/>
                </a:cxn>
                <a:cxn ang="0">
                  <a:pos x="1516" y="3191"/>
                </a:cxn>
                <a:cxn ang="0">
                  <a:pos x="1556" y="3227"/>
                </a:cxn>
                <a:cxn ang="0">
                  <a:pos x="1572" y="3255"/>
                </a:cxn>
                <a:cxn ang="0">
                  <a:pos x="1684" y="3224"/>
                </a:cxn>
                <a:cxn ang="0">
                  <a:pos x="1798" y="3248"/>
                </a:cxn>
                <a:cxn ang="0">
                  <a:pos x="1892" y="3209"/>
                </a:cxn>
                <a:cxn ang="0">
                  <a:pos x="2027" y="3209"/>
                </a:cxn>
                <a:cxn ang="0">
                  <a:pos x="2260" y="3063"/>
                </a:cxn>
                <a:cxn ang="0">
                  <a:pos x="2429" y="3011"/>
                </a:cxn>
                <a:cxn ang="0">
                  <a:pos x="2348" y="2927"/>
                </a:cxn>
                <a:cxn ang="0">
                  <a:pos x="2344" y="2903"/>
                </a:cxn>
                <a:cxn ang="0">
                  <a:pos x="2158" y="2634"/>
                </a:cxn>
                <a:cxn ang="0">
                  <a:pos x="1976" y="2507"/>
                </a:cxn>
                <a:cxn ang="0">
                  <a:pos x="1971" y="2449"/>
                </a:cxn>
                <a:cxn ang="0">
                  <a:pos x="2133" y="2375"/>
                </a:cxn>
                <a:cxn ang="0">
                  <a:pos x="2137" y="2175"/>
                </a:cxn>
                <a:cxn ang="0">
                  <a:pos x="2168" y="2031"/>
                </a:cxn>
                <a:cxn ang="0">
                  <a:pos x="2269" y="1994"/>
                </a:cxn>
                <a:cxn ang="0">
                  <a:pos x="2305" y="1863"/>
                </a:cxn>
                <a:cxn ang="0">
                  <a:pos x="2336" y="1775"/>
                </a:cxn>
                <a:cxn ang="0">
                  <a:pos x="2492" y="1655"/>
                </a:cxn>
                <a:cxn ang="0">
                  <a:pos x="2496" y="1623"/>
                </a:cxn>
                <a:cxn ang="0">
                  <a:pos x="2542" y="1263"/>
                </a:cxn>
                <a:cxn ang="0">
                  <a:pos x="2636" y="1039"/>
                </a:cxn>
                <a:cxn ang="0">
                  <a:pos x="2644" y="914"/>
                </a:cxn>
                <a:cxn ang="0">
                  <a:pos x="2812" y="826"/>
                </a:cxn>
                <a:cxn ang="0">
                  <a:pos x="2916" y="723"/>
                </a:cxn>
                <a:cxn ang="0">
                  <a:pos x="2769" y="617"/>
                </a:cxn>
                <a:cxn ang="0">
                  <a:pos x="2689" y="495"/>
                </a:cxn>
                <a:cxn ang="0">
                  <a:pos x="2684" y="239"/>
                </a:cxn>
                <a:cxn ang="0">
                  <a:pos x="2660" y="187"/>
                </a:cxn>
                <a:cxn ang="0">
                  <a:pos x="2646" y="155"/>
                </a:cxn>
                <a:cxn ang="0">
                  <a:pos x="1676" y="39"/>
                </a:cxn>
                <a:cxn ang="0">
                  <a:pos x="1624" y="38"/>
                </a:cxn>
                <a:cxn ang="0">
                  <a:pos x="552" y="39"/>
                </a:cxn>
              </a:cxnLst>
              <a:rect l="0" t="0" r="r" b="b"/>
              <a:pathLst>
                <a:path w="2916" h="3261">
                  <a:moveTo>
                    <a:pt x="552" y="39"/>
                  </a:moveTo>
                  <a:cubicBezTo>
                    <a:pt x="552" y="291"/>
                    <a:pt x="552" y="291"/>
                    <a:pt x="552" y="291"/>
                  </a:cubicBezTo>
                  <a:cubicBezTo>
                    <a:pt x="552" y="312"/>
                    <a:pt x="561" y="365"/>
                    <a:pt x="545" y="381"/>
                  </a:cubicBezTo>
                  <a:cubicBezTo>
                    <a:pt x="535" y="391"/>
                    <a:pt x="513" y="387"/>
                    <a:pt x="500" y="387"/>
                  </a:cubicBezTo>
                  <a:cubicBezTo>
                    <a:pt x="376" y="387"/>
                    <a:pt x="376" y="387"/>
                    <a:pt x="376" y="387"/>
                  </a:cubicBezTo>
                  <a:cubicBezTo>
                    <a:pt x="376" y="1131"/>
                    <a:pt x="376" y="1131"/>
                    <a:pt x="376" y="1131"/>
                  </a:cubicBezTo>
                  <a:cubicBezTo>
                    <a:pt x="333" y="1125"/>
                    <a:pt x="305" y="1131"/>
                    <a:pt x="264" y="1133"/>
                  </a:cubicBezTo>
                  <a:cubicBezTo>
                    <a:pt x="237" y="1135"/>
                    <a:pt x="209" y="1128"/>
                    <a:pt x="192" y="1157"/>
                  </a:cubicBezTo>
                  <a:cubicBezTo>
                    <a:pt x="179" y="1178"/>
                    <a:pt x="206" y="1199"/>
                    <a:pt x="194" y="1222"/>
                  </a:cubicBezTo>
                  <a:cubicBezTo>
                    <a:pt x="175" y="1258"/>
                    <a:pt x="136" y="1261"/>
                    <a:pt x="148" y="1311"/>
                  </a:cubicBezTo>
                  <a:cubicBezTo>
                    <a:pt x="139" y="1312"/>
                    <a:pt x="132" y="1313"/>
                    <a:pt x="124" y="1316"/>
                  </a:cubicBezTo>
                  <a:cubicBezTo>
                    <a:pt x="58" y="1334"/>
                    <a:pt x="138" y="1381"/>
                    <a:pt x="117" y="1409"/>
                  </a:cubicBezTo>
                  <a:cubicBezTo>
                    <a:pt x="99" y="1434"/>
                    <a:pt x="46" y="1425"/>
                    <a:pt x="44" y="1467"/>
                  </a:cubicBezTo>
                  <a:cubicBezTo>
                    <a:pt x="42" y="1493"/>
                    <a:pt x="80" y="1517"/>
                    <a:pt x="73" y="1543"/>
                  </a:cubicBezTo>
                  <a:cubicBezTo>
                    <a:pt x="63" y="1583"/>
                    <a:pt x="0" y="1582"/>
                    <a:pt x="0" y="1635"/>
                  </a:cubicBezTo>
                  <a:cubicBezTo>
                    <a:pt x="0" y="1674"/>
                    <a:pt x="42" y="1672"/>
                    <a:pt x="68" y="1663"/>
                  </a:cubicBezTo>
                  <a:cubicBezTo>
                    <a:pt x="64" y="1655"/>
                    <a:pt x="64" y="1655"/>
                    <a:pt x="64" y="1655"/>
                  </a:cubicBezTo>
                  <a:cubicBezTo>
                    <a:pt x="68" y="1651"/>
                    <a:pt x="68" y="1651"/>
                    <a:pt x="68" y="1651"/>
                  </a:cubicBezTo>
                  <a:cubicBezTo>
                    <a:pt x="108" y="1671"/>
                    <a:pt x="108" y="1671"/>
                    <a:pt x="108" y="1671"/>
                  </a:cubicBezTo>
                  <a:cubicBezTo>
                    <a:pt x="84" y="1713"/>
                    <a:pt x="126" y="1746"/>
                    <a:pt x="131" y="1787"/>
                  </a:cubicBezTo>
                  <a:cubicBezTo>
                    <a:pt x="133" y="1811"/>
                    <a:pt x="117" y="1836"/>
                    <a:pt x="134" y="1858"/>
                  </a:cubicBezTo>
                  <a:cubicBezTo>
                    <a:pt x="149" y="1876"/>
                    <a:pt x="180" y="1872"/>
                    <a:pt x="191" y="1892"/>
                  </a:cubicBezTo>
                  <a:cubicBezTo>
                    <a:pt x="208" y="1921"/>
                    <a:pt x="171" y="1948"/>
                    <a:pt x="183" y="1975"/>
                  </a:cubicBezTo>
                  <a:cubicBezTo>
                    <a:pt x="195" y="2004"/>
                    <a:pt x="227" y="2020"/>
                    <a:pt x="247" y="2043"/>
                  </a:cubicBezTo>
                  <a:cubicBezTo>
                    <a:pt x="273" y="2072"/>
                    <a:pt x="295" y="2112"/>
                    <a:pt x="313" y="2147"/>
                  </a:cubicBezTo>
                  <a:cubicBezTo>
                    <a:pt x="322" y="2164"/>
                    <a:pt x="319" y="2225"/>
                    <a:pt x="311" y="2243"/>
                  </a:cubicBezTo>
                  <a:cubicBezTo>
                    <a:pt x="305" y="2255"/>
                    <a:pt x="292" y="2261"/>
                    <a:pt x="286" y="2272"/>
                  </a:cubicBezTo>
                  <a:cubicBezTo>
                    <a:pt x="277" y="2289"/>
                    <a:pt x="281" y="2304"/>
                    <a:pt x="300" y="2307"/>
                  </a:cubicBezTo>
                  <a:cubicBezTo>
                    <a:pt x="296" y="2317"/>
                    <a:pt x="286" y="2331"/>
                    <a:pt x="291" y="2342"/>
                  </a:cubicBezTo>
                  <a:cubicBezTo>
                    <a:pt x="297" y="2355"/>
                    <a:pt x="320" y="2351"/>
                    <a:pt x="332" y="2351"/>
                  </a:cubicBezTo>
                  <a:cubicBezTo>
                    <a:pt x="360" y="2349"/>
                    <a:pt x="400" y="2348"/>
                    <a:pt x="420" y="2371"/>
                  </a:cubicBezTo>
                  <a:cubicBezTo>
                    <a:pt x="403" y="2381"/>
                    <a:pt x="390" y="2409"/>
                    <a:pt x="412" y="2422"/>
                  </a:cubicBezTo>
                  <a:cubicBezTo>
                    <a:pt x="439" y="2439"/>
                    <a:pt x="478" y="2430"/>
                    <a:pt x="508" y="2440"/>
                  </a:cubicBezTo>
                  <a:cubicBezTo>
                    <a:pt x="529" y="2447"/>
                    <a:pt x="536" y="2468"/>
                    <a:pt x="552" y="2482"/>
                  </a:cubicBezTo>
                  <a:cubicBezTo>
                    <a:pt x="575" y="2503"/>
                    <a:pt x="591" y="2495"/>
                    <a:pt x="600" y="2531"/>
                  </a:cubicBezTo>
                  <a:cubicBezTo>
                    <a:pt x="580" y="2535"/>
                    <a:pt x="580" y="2535"/>
                    <a:pt x="580" y="2535"/>
                  </a:cubicBezTo>
                  <a:cubicBezTo>
                    <a:pt x="584" y="2594"/>
                    <a:pt x="666" y="2604"/>
                    <a:pt x="704" y="2633"/>
                  </a:cubicBezTo>
                  <a:cubicBezTo>
                    <a:pt x="736" y="2657"/>
                    <a:pt x="746" y="2690"/>
                    <a:pt x="788" y="2703"/>
                  </a:cubicBezTo>
                  <a:cubicBezTo>
                    <a:pt x="767" y="2752"/>
                    <a:pt x="786" y="2747"/>
                    <a:pt x="812" y="2787"/>
                  </a:cubicBezTo>
                  <a:cubicBezTo>
                    <a:pt x="796" y="2795"/>
                    <a:pt x="796" y="2795"/>
                    <a:pt x="796" y="2795"/>
                  </a:cubicBezTo>
                  <a:cubicBezTo>
                    <a:pt x="796" y="2803"/>
                    <a:pt x="796" y="2803"/>
                    <a:pt x="796" y="2803"/>
                  </a:cubicBezTo>
                  <a:cubicBezTo>
                    <a:pt x="837" y="2823"/>
                    <a:pt x="887" y="2832"/>
                    <a:pt x="922" y="2865"/>
                  </a:cubicBezTo>
                  <a:cubicBezTo>
                    <a:pt x="950" y="2890"/>
                    <a:pt x="929" y="2921"/>
                    <a:pt x="944" y="2950"/>
                  </a:cubicBezTo>
                  <a:cubicBezTo>
                    <a:pt x="962" y="2983"/>
                    <a:pt x="986" y="2993"/>
                    <a:pt x="1011" y="3016"/>
                  </a:cubicBezTo>
                  <a:cubicBezTo>
                    <a:pt x="1026" y="3029"/>
                    <a:pt x="1024" y="3047"/>
                    <a:pt x="1035" y="3061"/>
                  </a:cubicBezTo>
                  <a:cubicBezTo>
                    <a:pt x="1043" y="3070"/>
                    <a:pt x="1057" y="3071"/>
                    <a:pt x="1067" y="3078"/>
                  </a:cubicBezTo>
                  <a:cubicBezTo>
                    <a:pt x="1111" y="3105"/>
                    <a:pt x="1169" y="3141"/>
                    <a:pt x="1200" y="3071"/>
                  </a:cubicBezTo>
                  <a:cubicBezTo>
                    <a:pt x="1208" y="3071"/>
                    <a:pt x="1208" y="3071"/>
                    <a:pt x="1208" y="3071"/>
                  </a:cubicBezTo>
                  <a:cubicBezTo>
                    <a:pt x="1218" y="3086"/>
                    <a:pt x="1232" y="3080"/>
                    <a:pt x="1248" y="3086"/>
                  </a:cubicBezTo>
                  <a:cubicBezTo>
                    <a:pt x="1260" y="3091"/>
                    <a:pt x="1270" y="3104"/>
                    <a:pt x="1284" y="3105"/>
                  </a:cubicBezTo>
                  <a:cubicBezTo>
                    <a:pt x="1307" y="3105"/>
                    <a:pt x="1327" y="3070"/>
                    <a:pt x="1332" y="3051"/>
                  </a:cubicBezTo>
                  <a:cubicBezTo>
                    <a:pt x="1347" y="3053"/>
                    <a:pt x="1370" y="3058"/>
                    <a:pt x="1378" y="3074"/>
                  </a:cubicBezTo>
                  <a:cubicBezTo>
                    <a:pt x="1383" y="3084"/>
                    <a:pt x="1378" y="3095"/>
                    <a:pt x="1386" y="3104"/>
                  </a:cubicBezTo>
                  <a:cubicBezTo>
                    <a:pt x="1420" y="3141"/>
                    <a:pt x="1462" y="3188"/>
                    <a:pt x="1516" y="3191"/>
                  </a:cubicBezTo>
                  <a:cubicBezTo>
                    <a:pt x="1512" y="3231"/>
                    <a:pt x="1512" y="3231"/>
                    <a:pt x="1512" y="3231"/>
                  </a:cubicBezTo>
                  <a:cubicBezTo>
                    <a:pt x="1556" y="3227"/>
                    <a:pt x="1556" y="3227"/>
                    <a:pt x="1556" y="3227"/>
                  </a:cubicBezTo>
                  <a:cubicBezTo>
                    <a:pt x="1564" y="3255"/>
                    <a:pt x="1564" y="3255"/>
                    <a:pt x="1564" y="3255"/>
                  </a:cubicBezTo>
                  <a:cubicBezTo>
                    <a:pt x="1572" y="3255"/>
                    <a:pt x="1572" y="3255"/>
                    <a:pt x="1572" y="3255"/>
                  </a:cubicBezTo>
                  <a:cubicBezTo>
                    <a:pt x="1582" y="3229"/>
                    <a:pt x="1607" y="3197"/>
                    <a:pt x="1640" y="3206"/>
                  </a:cubicBezTo>
                  <a:cubicBezTo>
                    <a:pt x="1655" y="3209"/>
                    <a:pt x="1668" y="3222"/>
                    <a:pt x="1684" y="3224"/>
                  </a:cubicBezTo>
                  <a:cubicBezTo>
                    <a:pt x="1701" y="3225"/>
                    <a:pt x="1719" y="3206"/>
                    <a:pt x="1735" y="3212"/>
                  </a:cubicBezTo>
                  <a:cubicBezTo>
                    <a:pt x="1756" y="3219"/>
                    <a:pt x="1768" y="3261"/>
                    <a:pt x="1798" y="3248"/>
                  </a:cubicBezTo>
                  <a:cubicBezTo>
                    <a:pt x="1812" y="3243"/>
                    <a:pt x="1817" y="3223"/>
                    <a:pt x="1832" y="3216"/>
                  </a:cubicBezTo>
                  <a:cubicBezTo>
                    <a:pt x="1850" y="3207"/>
                    <a:pt x="1872" y="3213"/>
                    <a:pt x="1892" y="3209"/>
                  </a:cubicBezTo>
                  <a:cubicBezTo>
                    <a:pt x="1908" y="3206"/>
                    <a:pt x="1923" y="3194"/>
                    <a:pt x="1938" y="3193"/>
                  </a:cubicBezTo>
                  <a:cubicBezTo>
                    <a:pt x="1966" y="3190"/>
                    <a:pt x="1995" y="3221"/>
                    <a:pt x="2027" y="3209"/>
                  </a:cubicBezTo>
                  <a:cubicBezTo>
                    <a:pt x="2086" y="3185"/>
                    <a:pt x="2121" y="3103"/>
                    <a:pt x="2176" y="3070"/>
                  </a:cubicBezTo>
                  <a:cubicBezTo>
                    <a:pt x="2199" y="3057"/>
                    <a:pt x="2234" y="3063"/>
                    <a:pt x="2260" y="3063"/>
                  </a:cubicBezTo>
                  <a:cubicBezTo>
                    <a:pt x="2321" y="3063"/>
                    <a:pt x="2388" y="3049"/>
                    <a:pt x="2448" y="3063"/>
                  </a:cubicBezTo>
                  <a:cubicBezTo>
                    <a:pt x="2447" y="3043"/>
                    <a:pt x="2432" y="3030"/>
                    <a:pt x="2429" y="3011"/>
                  </a:cubicBezTo>
                  <a:cubicBezTo>
                    <a:pt x="2425" y="2986"/>
                    <a:pt x="2444" y="2961"/>
                    <a:pt x="2430" y="2936"/>
                  </a:cubicBezTo>
                  <a:cubicBezTo>
                    <a:pt x="2415" y="2910"/>
                    <a:pt x="2366" y="2905"/>
                    <a:pt x="2348" y="2927"/>
                  </a:cubicBezTo>
                  <a:cubicBezTo>
                    <a:pt x="2344" y="2927"/>
                    <a:pt x="2344" y="2927"/>
                    <a:pt x="2344" y="2927"/>
                  </a:cubicBezTo>
                  <a:cubicBezTo>
                    <a:pt x="2344" y="2903"/>
                    <a:pt x="2344" y="2903"/>
                    <a:pt x="2344" y="2903"/>
                  </a:cubicBezTo>
                  <a:cubicBezTo>
                    <a:pt x="2282" y="2856"/>
                    <a:pt x="2283" y="2777"/>
                    <a:pt x="2247" y="2712"/>
                  </a:cubicBezTo>
                  <a:cubicBezTo>
                    <a:pt x="2227" y="2678"/>
                    <a:pt x="2184" y="2662"/>
                    <a:pt x="2158" y="2634"/>
                  </a:cubicBezTo>
                  <a:cubicBezTo>
                    <a:pt x="2131" y="2605"/>
                    <a:pt x="2122" y="2569"/>
                    <a:pt x="2091" y="2545"/>
                  </a:cubicBezTo>
                  <a:cubicBezTo>
                    <a:pt x="2053" y="2515"/>
                    <a:pt x="2022" y="2513"/>
                    <a:pt x="1976" y="2507"/>
                  </a:cubicBezTo>
                  <a:cubicBezTo>
                    <a:pt x="1964" y="2505"/>
                    <a:pt x="1945" y="2502"/>
                    <a:pt x="1944" y="2486"/>
                  </a:cubicBezTo>
                  <a:cubicBezTo>
                    <a:pt x="1943" y="2469"/>
                    <a:pt x="1964" y="2462"/>
                    <a:pt x="1971" y="2449"/>
                  </a:cubicBezTo>
                  <a:cubicBezTo>
                    <a:pt x="1981" y="2433"/>
                    <a:pt x="1964" y="2411"/>
                    <a:pt x="1984" y="2401"/>
                  </a:cubicBezTo>
                  <a:cubicBezTo>
                    <a:pt x="2034" y="2375"/>
                    <a:pt x="2093" y="2437"/>
                    <a:pt x="2133" y="2375"/>
                  </a:cubicBezTo>
                  <a:cubicBezTo>
                    <a:pt x="2151" y="2347"/>
                    <a:pt x="2136" y="2287"/>
                    <a:pt x="2136" y="2255"/>
                  </a:cubicBezTo>
                  <a:cubicBezTo>
                    <a:pt x="2136" y="2229"/>
                    <a:pt x="2130" y="2200"/>
                    <a:pt x="2137" y="2175"/>
                  </a:cubicBezTo>
                  <a:cubicBezTo>
                    <a:pt x="2146" y="2145"/>
                    <a:pt x="2169" y="2118"/>
                    <a:pt x="2175" y="2087"/>
                  </a:cubicBezTo>
                  <a:cubicBezTo>
                    <a:pt x="2179" y="2067"/>
                    <a:pt x="2162" y="2050"/>
                    <a:pt x="2168" y="2031"/>
                  </a:cubicBezTo>
                  <a:cubicBezTo>
                    <a:pt x="2174" y="2012"/>
                    <a:pt x="2195" y="1974"/>
                    <a:pt x="2219" y="1980"/>
                  </a:cubicBezTo>
                  <a:cubicBezTo>
                    <a:pt x="2239" y="1985"/>
                    <a:pt x="2246" y="2013"/>
                    <a:pt x="2269" y="1994"/>
                  </a:cubicBezTo>
                  <a:cubicBezTo>
                    <a:pt x="2292" y="1976"/>
                    <a:pt x="2276" y="1965"/>
                    <a:pt x="2280" y="1943"/>
                  </a:cubicBezTo>
                  <a:cubicBezTo>
                    <a:pt x="2285" y="1915"/>
                    <a:pt x="2299" y="1890"/>
                    <a:pt x="2305" y="1863"/>
                  </a:cubicBezTo>
                  <a:cubicBezTo>
                    <a:pt x="2309" y="1848"/>
                    <a:pt x="2305" y="1833"/>
                    <a:pt x="2309" y="1819"/>
                  </a:cubicBezTo>
                  <a:cubicBezTo>
                    <a:pt x="2315" y="1800"/>
                    <a:pt x="2336" y="1796"/>
                    <a:pt x="2336" y="1775"/>
                  </a:cubicBezTo>
                  <a:cubicBezTo>
                    <a:pt x="2417" y="1668"/>
                    <a:pt x="2417" y="1668"/>
                    <a:pt x="2417" y="1668"/>
                  </a:cubicBezTo>
                  <a:cubicBezTo>
                    <a:pt x="2492" y="1655"/>
                    <a:pt x="2492" y="1655"/>
                    <a:pt x="2492" y="1655"/>
                  </a:cubicBezTo>
                  <a:cubicBezTo>
                    <a:pt x="2496" y="1627"/>
                    <a:pt x="2496" y="1627"/>
                    <a:pt x="2496" y="1627"/>
                  </a:cubicBezTo>
                  <a:cubicBezTo>
                    <a:pt x="2496" y="1623"/>
                    <a:pt x="2496" y="1623"/>
                    <a:pt x="2496" y="1623"/>
                  </a:cubicBezTo>
                  <a:cubicBezTo>
                    <a:pt x="2478" y="1556"/>
                    <a:pt x="2535" y="1520"/>
                    <a:pt x="2545" y="1459"/>
                  </a:cubicBezTo>
                  <a:cubicBezTo>
                    <a:pt x="2557" y="1393"/>
                    <a:pt x="2537" y="1330"/>
                    <a:pt x="2542" y="1263"/>
                  </a:cubicBezTo>
                  <a:cubicBezTo>
                    <a:pt x="2545" y="1214"/>
                    <a:pt x="2574" y="1159"/>
                    <a:pt x="2594" y="1115"/>
                  </a:cubicBezTo>
                  <a:cubicBezTo>
                    <a:pt x="2607" y="1087"/>
                    <a:pt x="2610" y="1059"/>
                    <a:pt x="2636" y="1039"/>
                  </a:cubicBezTo>
                  <a:cubicBezTo>
                    <a:pt x="2620" y="1000"/>
                    <a:pt x="2628" y="987"/>
                    <a:pt x="2637" y="950"/>
                  </a:cubicBezTo>
                  <a:cubicBezTo>
                    <a:pt x="2640" y="939"/>
                    <a:pt x="2635" y="922"/>
                    <a:pt x="2644" y="914"/>
                  </a:cubicBezTo>
                  <a:cubicBezTo>
                    <a:pt x="2673" y="888"/>
                    <a:pt x="2727" y="925"/>
                    <a:pt x="2728" y="859"/>
                  </a:cubicBezTo>
                  <a:cubicBezTo>
                    <a:pt x="2812" y="826"/>
                    <a:pt x="2812" y="826"/>
                    <a:pt x="2812" y="826"/>
                  </a:cubicBezTo>
                  <a:cubicBezTo>
                    <a:pt x="2853" y="823"/>
                    <a:pt x="2853" y="823"/>
                    <a:pt x="2853" y="823"/>
                  </a:cubicBezTo>
                  <a:cubicBezTo>
                    <a:pt x="2916" y="723"/>
                    <a:pt x="2916" y="723"/>
                    <a:pt x="2916" y="723"/>
                  </a:cubicBezTo>
                  <a:cubicBezTo>
                    <a:pt x="2891" y="711"/>
                    <a:pt x="2859" y="704"/>
                    <a:pt x="2837" y="687"/>
                  </a:cubicBezTo>
                  <a:cubicBezTo>
                    <a:pt x="2812" y="668"/>
                    <a:pt x="2794" y="637"/>
                    <a:pt x="2769" y="617"/>
                  </a:cubicBezTo>
                  <a:cubicBezTo>
                    <a:pt x="2753" y="604"/>
                    <a:pt x="2733" y="615"/>
                    <a:pt x="2720" y="598"/>
                  </a:cubicBezTo>
                  <a:cubicBezTo>
                    <a:pt x="2697" y="568"/>
                    <a:pt x="2696" y="531"/>
                    <a:pt x="2689" y="495"/>
                  </a:cubicBezTo>
                  <a:cubicBezTo>
                    <a:pt x="2675" y="416"/>
                    <a:pt x="2676" y="336"/>
                    <a:pt x="2668" y="259"/>
                  </a:cubicBezTo>
                  <a:cubicBezTo>
                    <a:pt x="2684" y="261"/>
                    <a:pt x="2687" y="254"/>
                    <a:pt x="2684" y="239"/>
                  </a:cubicBezTo>
                  <a:cubicBezTo>
                    <a:pt x="2654" y="245"/>
                    <a:pt x="2653" y="210"/>
                    <a:pt x="2656" y="187"/>
                  </a:cubicBezTo>
                  <a:cubicBezTo>
                    <a:pt x="2660" y="187"/>
                    <a:pt x="2660" y="187"/>
                    <a:pt x="2660" y="187"/>
                  </a:cubicBezTo>
                  <a:cubicBezTo>
                    <a:pt x="2661" y="204"/>
                    <a:pt x="2691" y="231"/>
                    <a:pt x="2688" y="206"/>
                  </a:cubicBezTo>
                  <a:cubicBezTo>
                    <a:pt x="2686" y="186"/>
                    <a:pt x="2658" y="170"/>
                    <a:pt x="2646" y="155"/>
                  </a:cubicBezTo>
                  <a:cubicBezTo>
                    <a:pt x="2619" y="121"/>
                    <a:pt x="2610" y="81"/>
                    <a:pt x="2620" y="39"/>
                  </a:cubicBezTo>
                  <a:cubicBezTo>
                    <a:pt x="1676" y="39"/>
                    <a:pt x="1676" y="39"/>
                    <a:pt x="1676" y="39"/>
                  </a:cubicBezTo>
                  <a:cubicBezTo>
                    <a:pt x="1680" y="29"/>
                    <a:pt x="1691" y="5"/>
                    <a:pt x="1672" y="3"/>
                  </a:cubicBezTo>
                  <a:cubicBezTo>
                    <a:pt x="1651" y="0"/>
                    <a:pt x="1644" y="35"/>
                    <a:pt x="1624" y="38"/>
                  </a:cubicBezTo>
                  <a:cubicBezTo>
                    <a:pt x="1555" y="49"/>
                    <a:pt x="1477" y="39"/>
                    <a:pt x="1408" y="39"/>
                  </a:cubicBezTo>
                  <a:lnTo>
                    <a:pt x="552" y="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" name="Freeform 14"/>
            <p:cNvSpPr/>
            <p:nvPr/>
          </p:nvSpPr>
          <p:spPr bwMode="auto">
            <a:xfrm>
              <a:off x="2441575" y="2232025"/>
              <a:ext cx="647700" cy="439738"/>
            </a:xfrm>
            <a:custGeom>
              <a:avLst/>
              <a:gdLst/>
              <a:ahLst/>
              <a:cxnLst>
                <a:cxn ang="0">
                  <a:pos x="1271" y="121"/>
                </a:cxn>
                <a:cxn ang="0">
                  <a:pos x="1215" y="173"/>
                </a:cxn>
                <a:cxn ang="0">
                  <a:pos x="1116" y="269"/>
                </a:cxn>
                <a:cxn ang="0">
                  <a:pos x="1032" y="325"/>
                </a:cxn>
                <a:cxn ang="0">
                  <a:pos x="940" y="340"/>
                </a:cxn>
                <a:cxn ang="0">
                  <a:pos x="776" y="381"/>
                </a:cxn>
                <a:cxn ang="0">
                  <a:pos x="820" y="409"/>
                </a:cxn>
                <a:cxn ang="0">
                  <a:pos x="572" y="525"/>
                </a:cxn>
                <a:cxn ang="0">
                  <a:pos x="428" y="597"/>
                </a:cxn>
                <a:cxn ang="0">
                  <a:pos x="336" y="579"/>
                </a:cxn>
                <a:cxn ang="0">
                  <a:pos x="224" y="601"/>
                </a:cxn>
                <a:cxn ang="0">
                  <a:pos x="123" y="717"/>
                </a:cxn>
                <a:cxn ang="0">
                  <a:pos x="9" y="858"/>
                </a:cxn>
                <a:cxn ang="0">
                  <a:pos x="39" y="957"/>
                </a:cxn>
                <a:cxn ang="0">
                  <a:pos x="52" y="1033"/>
                </a:cxn>
                <a:cxn ang="0">
                  <a:pos x="110" y="1154"/>
                </a:cxn>
                <a:cxn ang="0">
                  <a:pos x="112" y="1209"/>
                </a:cxn>
                <a:cxn ang="0">
                  <a:pos x="286" y="1397"/>
                </a:cxn>
                <a:cxn ang="0">
                  <a:pos x="312" y="1541"/>
                </a:cxn>
                <a:cxn ang="0">
                  <a:pos x="373" y="1421"/>
                </a:cxn>
                <a:cxn ang="0">
                  <a:pos x="464" y="1298"/>
                </a:cxn>
                <a:cxn ang="0">
                  <a:pos x="608" y="1299"/>
                </a:cxn>
                <a:cxn ang="0">
                  <a:pos x="728" y="1309"/>
                </a:cxn>
                <a:cxn ang="0">
                  <a:pos x="749" y="1213"/>
                </a:cxn>
                <a:cxn ang="0">
                  <a:pos x="772" y="1149"/>
                </a:cxn>
                <a:cxn ang="0">
                  <a:pos x="932" y="1029"/>
                </a:cxn>
                <a:cxn ang="0">
                  <a:pos x="1072" y="1146"/>
                </a:cxn>
                <a:cxn ang="0">
                  <a:pos x="1188" y="1172"/>
                </a:cxn>
                <a:cxn ang="0">
                  <a:pos x="1432" y="1137"/>
                </a:cxn>
                <a:cxn ang="0">
                  <a:pos x="1458" y="1111"/>
                </a:cxn>
                <a:cxn ang="0">
                  <a:pos x="1596" y="1099"/>
                </a:cxn>
                <a:cxn ang="0">
                  <a:pos x="1748" y="1033"/>
                </a:cxn>
                <a:cxn ang="0">
                  <a:pos x="1828" y="1054"/>
                </a:cxn>
                <a:cxn ang="0">
                  <a:pos x="1900" y="1005"/>
                </a:cxn>
                <a:cxn ang="0">
                  <a:pos x="2052" y="1012"/>
                </a:cxn>
                <a:cxn ang="0">
                  <a:pos x="2164" y="1045"/>
                </a:cxn>
                <a:cxn ang="0">
                  <a:pos x="2208" y="1016"/>
                </a:cxn>
                <a:cxn ang="0">
                  <a:pos x="2240" y="937"/>
                </a:cxn>
                <a:cxn ang="0">
                  <a:pos x="2100" y="849"/>
                </a:cxn>
                <a:cxn ang="0">
                  <a:pos x="2096" y="757"/>
                </a:cxn>
                <a:cxn ang="0">
                  <a:pos x="2004" y="681"/>
                </a:cxn>
                <a:cxn ang="0">
                  <a:pos x="1880" y="609"/>
                </a:cxn>
                <a:cxn ang="0">
                  <a:pos x="1853" y="528"/>
                </a:cxn>
                <a:cxn ang="0">
                  <a:pos x="1713" y="468"/>
                </a:cxn>
                <a:cxn ang="0">
                  <a:pos x="1724" y="421"/>
                </a:cxn>
                <a:cxn ang="0">
                  <a:pos x="1600" y="345"/>
                </a:cxn>
                <a:cxn ang="0">
                  <a:pos x="1620" y="273"/>
                </a:cxn>
                <a:cxn ang="0">
                  <a:pos x="1624" y="237"/>
                </a:cxn>
                <a:cxn ang="0">
                  <a:pos x="1404" y="4"/>
                </a:cxn>
              </a:cxnLst>
              <a:rect l="0" t="0" r="r" b="b"/>
              <a:pathLst>
                <a:path w="2268" h="1541">
                  <a:moveTo>
                    <a:pt x="1272" y="61"/>
                  </a:moveTo>
                  <a:cubicBezTo>
                    <a:pt x="1270" y="78"/>
                    <a:pt x="1278" y="106"/>
                    <a:pt x="1271" y="121"/>
                  </a:cubicBezTo>
                  <a:cubicBezTo>
                    <a:pt x="1264" y="135"/>
                    <a:pt x="1248" y="135"/>
                    <a:pt x="1237" y="143"/>
                  </a:cubicBezTo>
                  <a:cubicBezTo>
                    <a:pt x="1226" y="151"/>
                    <a:pt x="1225" y="165"/>
                    <a:pt x="1215" y="173"/>
                  </a:cubicBezTo>
                  <a:cubicBezTo>
                    <a:pt x="1204" y="181"/>
                    <a:pt x="1191" y="181"/>
                    <a:pt x="1180" y="190"/>
                  </a:cubicBezTo>
                  <a:cubicBezTo>
                    <a:pt x="1153" y="212"/>
                    <a:pt x="1141" y="245"/>
                    <a:pt x="1116" y="269"/>
                  </a:cubicBezTo>
                  <a:cubicBezTo>
                    <a:pt x="1102" y="283"/>
                    <a:pt x="1081" y="286"/>
                    <a:pt x="1066" y="298"/>
                  </a:cubicBezTo>
                  <a:cubicBezTo>
                    <a:pt x="1054" y="307"/>
                    <a:pt x="1049" y="322"/>
                    <a:pt x="1032" y="325"/>
                  </a:cubicBezTo>
                  <a:cubicBezTo>
                    <a:pt x="1019" y="327"/>
                    <a:pt x="1005" y="322"/>
                    <a:pt x="992" y="323"/>
                  </a:cubicBezTo>
                  <a:cubicBezTo>
                    <a:pt x="974" y="325"/>
                    <a:pt x="958" y="337"/>
                    <a:pt x="940" y="340"/>
                  </a:cubicBezTo>
                  <a:cubicBezTo>
                    <a:pt x="906" y="345"/>
                    <a:pt x="871" y="344"/>
                    <a:pt x="836" y="345"/>
                  </a:cubicBezTo>
                  <a:cubicBezTo>
                    <a:pt x="811" y="346"/>
                    <a:pt x="784" y="355"/>
                    <a:pt x="776" y="381"/>
                  </a:cubicBezTo>
                  <a:cubicBezTo>
                    <a:pt x="820" y="405"/>
                    <a:pt x="820" y="405"/>
                    <a:pt x="820" y="405"/>
                  </a:cubicBezTo>
                  <a:cubicBezTo>
                    <a:pt x="820" y="409"/>
                    <a:pt x="820" y="409"/>
                    <a:pt x="820" y="409"/>
                  </a:cubicBezTo>
                  <a:cubicBezTo>
                    <a:pt x="787" y="438"/>
                    <a:pt x="765" y="493"/>
                    <a:pt x="723" y="511"/>
                  </a:cubicBezTo>
                  <a:cubicBezTo>
                    <a:pt x="680" y="530"/>
                    <a:pt x="617" y="519"/>
                    <a:pt x="572" y="525"/>
                  </a:cubicBezTo>
                  <a:cubicBezTo>
                    <a:pt x="532" y="530"/>
                    <a:pt x="505" y="552"/>
                    <a:pt x="475" y="573"/>
                  </a:cubicBezTo>
                  <a:cubicBezTo>
                    <a:pt x="458" y="584"/>
                    <a:pt x="439" y="578"/>
                    <a:pt x="428" y="597"/>
                  </a:cubicBezTo>
                  <a:cubicBezTo>
                    <a:pt x="409" y="584"/>
                    <a:pt x="392" y="569"/>
                    <a:pt x="388" y="545"/>
                  </a:cubicBezTo>
                  <a:cubicBezTo>
                    <a:pt x="361" y="548"/>
                    <a:pt x="357" y="567"/>
                    <a:pt x="336" y="579"/>
                  </a:cubicBezTo>
                  <a:cubicBezTo>
                    <a:pt x="317" y="591"/>
                    <a:pt x="292" y="585"/>
                    <a:pt x="284" y="609"/>
                  </a:cubicBezTo>
                  <a:cubicBezTo>
                    <a:pt x="224" y="601"/>
                    <a:pt x="224" y="601"/>
                    <a:pt x="224" y="601"/>
                  </a:cubicBezTo>
                  <a:cubicBezTo>
                    <a:pt x="201" y="619"/>
                    <a:pt x="172" y="625"/>
                    <a:pt x="152" y="651"/>
                  </a:cubicBezTo>
                  <a:cubicBezTo>
                    <a:pt x="137" y="669"/>
                    <a:pt x="133" y="696"/>
                    <a:pt x="123" y="717"/>
                  </a:cubicBezTo>
                  <a:cubicBezTo>
                    <a:pt x="112" y="745"/>
                    <a:pt x="86" y="783"/>
                    <a:pt x="69" y="809"/>
                  </a:cubicBezTo>
                  <a:cubicBezTo>
                    <a:pt x="54" y="830"/>
                    <a:pt x="19" y="834"/>
                    <a:pt x="9" y="858"/>
                  </a:cubicBezTo>
                  <a:cubicBezTo>
                    <a:pt x="0" y="878"/>
                    <a:pt x="24" y="891"/>
                    <a:pt x="40" y="889"/>
                  </a:cubicBezTo>
                  <a:cubicBezTo>
                    <a:pt x="39" y="957"/>
                    <a:pt x="39" y="957"/>
                    <a:pt x="39" y="957"/>
                  </a:cubicBezTo>
                  <a:cubicBezTo>
                    <a:pt x="28" y="993"/>
                    <a:pt x="28" y="993"/>
                    <a:pt x="28" y="993"/>
                  </a:cubicBezTo>
                  <a:cubicBezTo>
                    <a:pt x="52" y="1033"/>
                    <a:pt x="52" y="1033"/>
                    <a:pt x="52" y="1033"/>
                  </a:cubicBezTo>
                  <a:cubicBezTo>
                    <a:pt x="61" y="1113"/>
                    <a:pt x="61" y="1113"/>
                    <a:pt x="61" y="1113"/>
                  </a:cubicBezTo>
                  <a:cubicBezTo>
                    <a:pt x="110" y="1154"/>
                    <a:pt x="110" y="1154"/>
                    <a:pt x="110" y="1154"/>
                  </a:cubicBezTo>
                  <a:cubicBezTo>
                    <a:pt x="132" y="1205"/>
                    <a:pt x="132" y="1205"/>
                    <a:pt x="132" y="1205"/>
                  </a:cubicBezTo>
                  <a:cubicBezTo>
                    <a:pt x="112" y="1209"/>
                    <a:pt x="112" y="1209"/>
                    <a:pt x="112" y="1209"/>
                  </a:cubicBezTo>
                  <a:cubicBezTo>
                    <a:pt x="126" y="1268"/>
                    <a:pt x="193" y="1332"/>
                    <a:pt x="240" y="1368"/>
                  </a:cubicBezTo>
                  <a:cubicBezTo>
                    <a:pt x="256" y="1380"/>
                    <a:pt x="274" y="1381"/>
                    <a:pt x="286" y="1397"/>
                  </a:cubicBezTo>
                  <a:cubicBezTo>
                    <a:pt x="304" y="1420"/>
                    <a:pt x="291" y="1451"/>
                    <a:pt x="293" y="1477"/>
                  </a:cubicBezTo>
                  <a:cubicBezTo>
                    <a:pt x="295" y="1500"/>
                    <a:pt x="311" y="1518"/>
                    <a:pt x="312" y="1541"/>
                  </a:cubicBezTo>
                  <a:cubicBezTo>
                    <a:pt x="336" y="1533"/>
                    <a:pt x="335" y="1502"/>
                    <a:pt x="343" y="1481"/>
                  </a:cubicBezTo>
                  <a:cubicBezTo>
                    <a:pt x="351" y="1461"/>
                    <a:pt x="369" y="1443"/>
                    <a:pt x="373" y="1421"/>
                  </a:cubicBezTo>
                  <a:cubicBezTo>
                    <a:pt x="380" y="1384"/>
                    <a:pt x="371" y="1351"/>
                    <a:pt x="393" y="1314"/>
                  </a:cubicBezTo>
                  <a:cubicBezTo>
                    <a:pt x="408" y="1289"/>
                    <a:pt x="441" y="1301"/>
                    <a:pt x="464" y="1298"/>
                  </a:cubicBezTo>
                  <a:cubicBezTo>
                    <a:pt x="489" y="1295"/>
                    <a:pt x="517" y="1279"/>
                    <a:pt x="540" y="1278"/>
                  </a:cubicBezTo>
                  <a:cubicBezTo>
                    <a:pt x="564" y="1277"/>
                    <a:pt x="586" y="1295"/>
                    <a:pt x="608" y="1299"/>
                  </a:cubicBezTo>
                  <a:cubicBezTo>
                    <a:pt x="630" y="1303"/>
                    <a:pt x="642" y="1295"/>
                    <a:pt x="660" y="1313"/>
                  </a:cubicBezTo>
                  <a:cubicBezTo>
                    <a:pt x="688" y="1303"/>
                    <a:pt x="706" y="1270"/>
                    <a:pt x="728" y="1309"/>
                  </a:cubicBezTo>
                  <a:cubicBezTo>
                    <a:pt x="740" y="1305"/>
                    <a:pt x="740" y="1305"/>
                    <a:pt x="740" y="1305"/>
                  </a:cubicBezTo>
                  <a:cubicBezTo>
                    <a:pt x="749" y="1213"/>
                    <a:pt x="749" y="1213"/>
                    <a:pt x="749" y="1213"/>
                  </a:cubicBezTo>
                  <a:cubicBezTo>
                    <a:pt x="732" y="1157"/>
                    <a:pt x="732" y="1157"/>
                    <a:pt x="732" y="1157"/>
                  </a:cubicBezTo>
                  <a:cubicBezTo>
                    <a:pt x="772" y="1149"/>
                    <a:pt x="772" y="1149"/>
                    <a:pt x="772" y="1149"/>
                  </a:cubicBezTo>
                  <a:cubicBezTo>
                    <a:pt x="824" y="1057"/>
                    <a:pt x="824" y="1057"/>
                    <a:pt x="824" y="1057"/>
                  </a:cubicBezTo>
                  <a:cubicBezTo>
                    <a:pt x="867" y="1050"/>
                    <a:pt x="881" y="1007"/>
                    <a:pt x="932" y="1029"/>
                  </a:cubicBezTo>
                  <a:cubicBezTo>
                    <a:pt x="961" y="1041"/>
                    <a:pt x="1008" y="1066"/>
                    <a:pt x="1030" y="1089"/>
                  </a:cubicBezTo>
                  <a:cubicBezTo>
                    <a:pt x="1046" y="1106"/>
                    <a:pt x="1051" y="1136"/>
                    <a:pt x="1072" y="1146"/>
                  </a:cubicBezTo>
                  <a:cubicBezTo>
                    <a:pt x="1093" y="1156"/>
                    <a:pt x="1118" y="1142"/>
                    <a:pt x="1140" y="1146"/>
                  </a:cubicBezTo>
                  <a:cubicBezTo>
                    <a:pt x="1159" y="1149"/>
                    <a:pt x="1169" y="1168"/>
                    <a:pt x="1188" y="1172"/>
                  </a:cubicBezTo>
                  <a:cubicBezTo>
                    <a:pt x="1220" y="1178"/>
                    <a:pt x="1254" y="1167"/>
                    <a:pt x="1284" y="1173"/>
                  </a:cubicBezTo>
                  <a:cubicBezTo>
                    <a:pt x="1341" y="1184"/>
                    <a:pt x="1429" y="1235"/>
                    <a:pt x="1432" y="1137"/>
                  </a:cubicBezTo>
                  <a:cubicBezTo>
                    <a:pt x="1448" y="1137"/>
                    <a:pt x="1448" y="1137"/>
                    <a:pt x="1448" y="1137"/>
                  </a:cubicBezTo>
                  <a:cubicBezTo>
                    <a:pt x="1451" y="1128"/>
                    <a:pt x="1454" y="1120"/>
                    <a:pt x="1458" y="1111"/>
                  </a:cubicBezTo>
                  <a:cubicBezTo>
                    <a:pt x="1488" y="1050"/>
                    <a:pt x="1521" y="1125"/>
                    <a:pt x="1568" y="1120"/>
                  </a:cubicBezTo>
                  <a:cubicBezTo>
                    <a:pt x="1579" y="1118"/>
                    <a:pt x="1587" y="1105"/>
                    <a:pt x="1596" y="1099"/>
                  </a:cubicBezTo>
                  <a:cubicBezTo>
                    <a:pt x="1621" y="1085"/>
                    <a:pt x="1650" y="1077"/>
                    <a:pt x="1676" y="1067"/>
                  </a:cubicBezTo>
                  <a:cubicBezTo>
                    <a:pt x="1697" y="1058"/>
                    <a:pt x="1741" y="1057"/>
                    <a:pt x="1748" y="1033"/>
                  </a:cubicBezTo>
                  <a:cubicBezTo>
                    <a:pt x="1768" y="1037"/>
                    <a:pt x="1777" y="1058"/>
                    <a:pt x="1796" y="1062"/>
                  </a:cubicBezTo>
                  <a:cubicBezTo>
                    <a:pt x="1807" y="1064"/>
                    <a:pt x="1817" y="1056"/>
                    <a:pt x="1828" y="1054"/>
                  </a:cubicBezTo>
                  <a:cubicBezTo>
                    <a:pt x="1846" y="1050"/>
                    <a:pt x="1938" y="1050"/>
                    <a:pt x="1900" y="1009"/>
                  </a:cubicBezTo>
                  <a:cubicBezTo>
                    <a:pt x="1900" y="1005"/>
                    <a:pt x="1900" y="1005"/>
                    <a:pt x="1900" y="1005"/>
                  </a:cubicBezTo>
                  <a:cubicBezTo>
                    <a:pt x="1938" y="974"/>
                    <a:pt x="1955" y="1001"/>
                    <a:pt x="1996" y="1014"/>
                  </a:cubicBezTo>
                  <a:cubicBezTo>
                    <a:pt x="2016" y="1020"/>
                    <a:pt x="2033" y="1007"/>
                    <a:pt x="2052" y="1012"/>
                  </a:cubicBezTo>
                  <a:cubicBezTo>
                    <a:pt x="2070" y="1015"/>
                    <a:pt x="2082" y="1032"/>
                    <a:pt x="2100" y="1036"/>
                  </a:cubicBezTo>
                  <a:cubicBezTo>
                    <a:pt x="2124" y="1041"/>
                    <a:pt x="2141" y="1030"/>
                    <a:pt x="2164" y="1045"/>
                  </a:cubicBezTo>
                  <a:cubicBezTo>
                    <a:pt x="2168" y="1045"/>
                    <a:pt x="2168" y="1045"/>
                    <a:pt x="2168" y="1045"/>
                  </a:cubicBezTo>
                  <a:cubicBezTo>
                    <a:pt x="2179" y="1032"/>
                    <a:pt x="2190" y="1017"/>
                    <a:pt x="2208" y="1016"/>
                  </a:cubicBezTo>
                  <a:cubicBezTo>
                    <a:pt x="2230" y="1016"/>
                    <a:pt x="2254" y="1041"/>
                    <a:pt x="2268" y="1017"/>
                  </a:cubicBezTo>
                  <a:cubicBezTo>
                    <a:pt x="2233" y="989"/>
                    <a:pt x="2255" y="969"/>
                    <a:pt x="2240" y="937"/>
                  </a:cubicBezTo>
                  <a:cubicBezTo>
                    <a:pt x="2217" y="890"/>
                    <a:pt x="2147" y="868"/>
                    <a:pt x="2100" y="857"/>
                  </a:cubicBezTo>
                  <a:cubicBezTo>
                    <a:pt x="2100" y="849"/>
                    <a:pt x="2100" y="849"/>
                    <a:pt x="2100" y="849"/>
                  </a:cubicBezTo>
                  <a:cubicBezTo>
                    <a:pt x="2133" y="830"/>
                    <a:pt x="2084" y="814"/>
                    <a:pt x="2079" y="796"/>
                  </a:cubicBezTo>
                  <a:cubicBezTo>
                    <a:pt x="2075" y="782"/>
                    <a:pt x="2089" y="768"/>
                    <a:pt x="2096" y="757"/>
                  </a:cubicBezTo>
                  <a:cubicBezTo>
                    <a:pt x="2049" y="732"/>
                    <a:pt x="2049" y="732"/>
                    <a:pt x="2049" y="732"/>
                  </a:cubicBezTo>
                  <a:cubicBezTo>
                    <a:pt x="2004" y="681"/>
                    <a:pt x="2004" y="681"/>
                    <a:pt x="2004" y="681"/>
                  </a:cubicBezTo>
                  <a:cubicBezTo>
                    <a:pt x="1932" y="645"/>
                    <a:pt x="1932" y="645"/>
                    <a:pt x="1932" y="645"/>
                  </a:cubicBezTo>
                  <a:cubicBezTo>
                    <a:pt x="1880" y="609"/>
                    <a:pt x="1880" y="609"/>
                    <a:pt x="1880" y="609"/>
                  </a:cubicBezTo>
                  <a:cubicBezTo>
                    <a:pt x="1885" y="600"/>
                    <a:pt x="1895" y="593"/>
                    <a:pt x="1899" y="584"/>
                  </a:cubicBezTo>
                  <a:cubicBezTo>
                    <a:pt x="1916" y="548"/>
                    <a:pt x="1870" y="543"/>
                    <a:pt x="1853" y="528"/>
                  </a:cubicBezTo>
                  <a:cubicBezTo>
                    <a:pt x="1837" y="514"/>
                    <a:pt x="1830" y="494"/>
                    <a:pt x="1808" y="487"/>
                  </a:cubicBezTo>
                  <a:cubicBezTo>
                    <a:pt x="1779" y="477"/>
                    <a:pt x="1740" y="487"/>
                    <a:pt x="1713" y="468"/>
                  </a:cubicBezTo>
                  <a:cubicBezTo>
                    <a:pt x="1694" y="455"/>
                    <a:pt x="1712" y="435"/>
                    <a:pt x="1724" y="425"/>
                  </a:cubicBezTo>
                  <a:cubicBezTo>
                    <a:pt x="1724" y="421"/>
                    <a:pt x="1724" y="421"/>
                    <a:pt x="1724" y="421"/>
                  </a:cubicBezTo>
                  <a:cubicBezTo>
                    <a:pt x="1689" y="386"/>
                    <a:pt x="1634" y="397"/>
                    <a:pt x="1588" y="397"/>
                  </a:cubicBezTo>
                  <a:cubicBezTo>
                    <a:pt x="1599" y="379"/>
                    <a:pt x="1606" y="366"/>
                    <a:pt x="1600" y="345"/>
                  </a:cubicBezTo>
                  <a:cubicBezTo>
                    <a:pt x="1584" y="353"/>
                    <a:pt x="1584" y="353"/>
                    <a:pt x="1584" y="353"/>
                  </a:cubicBezTo>
                  <a:cubicBezTo>
                    <a:pt x="1620" y="273"/>
                    <a:pt x="1620" y="273"/>
                    <a:pt x="1620" y="273"/>
                  </a:cubicBezTo>
                  <a:cubicBezTo>
                    <a:pt x="1608" y="269"/>
                    <a:pt x="1608" y="269"/>
                    <a:pt x="1608" y="269"/>
                  </a:cubicBezTo>
                  <a:cubicBezTo>
                    <a:pt x="1624" y="237"/>
                    <a:pt x="1624" y="237"/>
                    <a:pt x="1624" y="237"/>
                  </a:cubicBezTo>
                  <a:cubicBezTo>
                    <a:pt x="1593" y="164"/>
                    <a:pt x="1563" y="108"/>
                    <a:pt x="1504" y="52"/>
                  </a:cubicBezTo>
                  <a:cubicBezTo>
                    <a:pt x="1472" y="20"/>
                    <a:pt x="1455" y="0"/>
                    <a:pt x="1404" y="4"/>
                  </a:cubicBezTo>
                  <a:cubicBezTo>
                    <a:pt x="1353" y="8"/>
                    <a:pt x="1320" y="54"/>
                    <a:pt x="1272" y="6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" name="Freeform 15"/>
            <p:cNvSpPr>
              <a:spLocks noEditPoints="1"/>
            </p:cNvSpPr>
            <p:nvPr/>
          </p:nvSpPr>
          <p:spPr bwMode="auto">
            <a:xfrm>
              <a:off x="1866900" y="2089150"/>
              <a:ext cx="596900" cy="485775"/>
            </a:xfrm>
            <a:custGeom>
              <a:avLst/>
              <a:gdLst/>
              <a:ahLst/>
              <a:cxnLst>
                <a:cxn ang="0">
                  <a:pos x="160" y="345"/>
                </a:cxn>
                <a:cxn ang="0">
                  <a:pos x="172" y="377"/>
                </a:cxn>
                <a:cxn ang="0">
                  <a:pos x="196" y="605"/>
                </a:cxn>
                <a:cxn ang="0">
                  <a:pos x="118" y="712"/>
                </a:cxn>
                <a:cxn ang="0">
                  <a:pos x="72" y="831"/>
                </a:cxn>
                <a:cxn ang="0">
                  <a:pos x="2" y="1037"/>
                </a:cxn>
                <a:cxn ang="0">
                  <a:pos x="0" y="1101"/>
                </a:cxn>
                <a:cxn ang="0">
                  <a:pos x="8" y="1317"/>
                </a:cxn>
                <a:cxn ang="0">
                  <a:pos x="192" y="1273"/>
                </a:cxn>
                <a:cxn ang="0">
                  <a:pos x="152" y="1309"/>
                </a:cxn>
                <a:cxn ang="0">
                  <a:pos x="488" y="1441"/>
                </a:cxn>
                <a:cxn ang="0">
                  <a:pos x="440" y="1455"/>
                </a:cxn>
                <a:cxn ang="0">
                  <a:pos x="512" y="1457"/>
                </a:cxn>
                <a:cxn ang="0">
                  <a:pos x="464" y="1525"/>
                </a:cxn>
                <a:cxn ang="0">
                  <a:pos x="472" y="1537"/>
                </a:cxn>
                <a:cxn ang="0">
                  <a:pos x="484" y="1545"/>
                </a:cxn>
                <a:cxn ang="0">
                  <a:pos x="632" y="1645"/>
                </a:cxn>
                <a:cxn ang="0">
                  <a:pos x="704" y="1669"/>
                </a:cxn>
                <a:cxn ang="0">
                  <a:pos x="748" y="1653"/>
                </a:cxn>
                <a:cxn ang="0">
                  <a:pos x="932" y="1629"/>
                </a:cxn>
                <a:cxn ang="0">
                  <a:pos x="1076" y="1521"/>
                </a:cxn>
                <a:cxn ang="0">
                  <a:pos x="1084" y="1406"/>
                </a:cxn>
                <a:cxn ang="0">
                  <a:pos x="1224" y="1289"/>
                </a:cxn>
                <a:cxn ang="0">
                  <a:pos x="1300" y="1205"/>
                </a:cxn>
                <a:cxn ang="0">
                  <a:pos x="1426" y="1238"/>
                </a:cxn>
                <a:cxn ang="0">
                  <a:pos x="1463" y="1298"/>
                </a:cxn>
                <a:cxn ang="0">
                  <a:pos x="1544" y="1225"/>
                </a:cxn>
                <a:cxn ang="0">
                  <a:pos x="1628" y="1101"/>
                </a:cxn>
                <a:cxn ang="0">
                  <a:pos x="1696" y="925"/>
                </a:cxn>
                <a:cxn ang="0">
                  <a:pos x="1785" y="786"/>
                </a:cxn>
                <a:cxn ang="0">
                  <a:pos x="1843" y="685"/>
                </a:cxn>
                <a:cxn ang="0">
                  <a:pos x="1884" y="593"/>
                </a:cxn>
                <a:cxn ang="0">
                  <a:pos x="2077" y="416"/>
                </a:cxn>
                <a:cxn ang="0">
                  <a:pos x="2000" y="265"/>
                </a:cxn>
                <a:cxn ang="0">
                  <a:pos x="2008" y="249"/>
                </a:cxn>
                <a:cxn ang="0">
                  <a:pos x="1901" y="35"/>
                </a:cxn>
                <a:cxn ang="0">
                  <a:pos x="1768" y="76"/>
                </a:cxn>
                <a:cxn ang="0">
                  <a:pos x="1584" y="109"/>
                </a:cxn>
                <a:cxn ang="0">
                  <a:pos x="1260" y="133"/>
                </a:cxn>
                <a:cxn ang="0">
                  <a:pos x="1000" y="140"/>
                </a:cxn>
                <a:cxn ang="0">
                  <a:pos x="752" y="156"/>
                </a:cxn>
                <a:cxn ang="0">
                  <a:pos x="544" y="23"/>
                </a:cxn>
                <a:cxn ang="0">
                  <a:pos x="440" y="28"/>
                </a:cxn>
                <a:cxn ang="0">
                  <a:pos x="251" y="125"/>
                </a:cxn>
                <a:cxn ang="0">
                  <a:pos x="175" y="239"/>
                </a:cxn>
                <a:cxn ang="0">
                  <a:pos x="800" y="1657"/>
                </a:cxn>
                <a:cxn ang="0">
                  <a:pos x="800" y="1657"/>
                </a:cxn>
                <a:cxn ang="0">
                  <a:pos x="732" y="1661"/>
                </a:cxn>
                <a:cxn ang="0">
                  <a:pos x="1004" y="1701"/>
                </a:cxn>
                <a:cxn ang="0">
                  <a:pos x="1004" y="1701"/>
                </a:cxn>
              </a:cxnLst>
              <a:rect l="0" t="0" r="r" b="b"/>
              <a:pathLst>
                <a:path w="2092" h="1705">
                  <a:moveTo>
                    <a:pt x="172" y="341"/>
                  </a:moveTo>
                  <a:cubicBezTo>
                    <a:pt x="160" y="345"/>
                    <a:pt x="160" y="345"/>
                    <a:pt x="160" y="345"/>
                  </a:cubicBezTo>
                  <a:cubicBezTo>
                    <a:pt x="172" y="373"/>
                    <a:pt x="172" y="373"/>
                    <a:pt x="172" y="373"/>
                  </a:cubicBezTo>
                  <a:cubicBezTo>
                    <a:pt x="172" y="377"/>
                    <a:pt x="172" y="377"/>
                    <a:pt x="172" y="377"/>
                  </a:cubicBezTo>
                  <a:cubicBezTo>
                    <a:pt x="115" y="412"/>
                    <a:pt x="153" y="448"/>
                    <a:pt x="175" y="489"/>
                  </a:cubicBezTo>
                  <a:cubicBezTo>
                    <a:pt x="190" y="517"/>
                    <a:pt x="205" y="575"/>
                    <a:pt x="196" y="605"/>
                  </a:cubicBezTo>
                  <a:cubicBezTo>
                    <a:pt x="136" y="593"/>
                    <a:pt x="179" y="664"/>
                    <a:pt x="154" y="692"/>
                  </a:cubicBezTo>
                  <a:cubicBezTo>
                    <a:pt x="144" y="703"/>
                    <a:pt x="128" y="702"/>
                    <a:pt x="118" y="712"/>
                  </a:cubicBezTo>
                  <a:cubicBezTo>
                    <a:pt x="109" y="721"/>
                    <a:pt x="90" y="756"/>
                    <a:pt x="84" y="769"/>
                  </a:cubicBezTo>
                  <a:cubicBezTo>
                    <a:pt x="75" y="788"/>
                    <a:pt x="86" y="813"/>
                    <a:pt x="72" y="831"/>
                  </a:cubicBezTo>
                  <a:cubicBezTo>
                    <a:pt x="57" y="850"/>
                    <a:pt x="24" y="827"/>
                    <a:pt x="16" y="857"/>
                  </a:cubicBezTo>
                  <a:cubicBezTo>
                    <a:pt x="0" y="913"/>
                    <a:pt x="9" y="979"/>
                    <a:pt x="2" y="1037"/>
                  </a:cubicBezTo>
                  <a:cubicBezTo>
                    <a:pt x="0" y="1058"/>
                    <a:pt x="14" y="1077"/>
                    <a:pt x="0" y="1097"/>
                  </a:cubicBezTo>
                  <a:cubicBezTo>
                    <a:pt x="0" y="1101"/>
                    <a:pt x="0" y="1101"/>
                    <a:pt x="0" y="1101"/>
                  </a:cubicBezTo>
                  <a:cubicBezTo>
                    <a:pt x="22" y="1125"/>
                    <a:pt x="14" y="1159"/>
                    <a:pt x="11" y="1189"/>
                  </a:cubicBezTo>
                  <a:cubicBezTo>
                    <a:pt x="6" y="1225"/>
                    <a:pt x="1" y="1281"/>
                    <a:pt x="8" y="1317"/>
                  </a:cubicBezTo>
                  <a:cubicBezTo>
                    <a:pt x="119" y="1310"/>
                    <a:pt x="119" y="1310"/>
                    <a:pt x="119" y="1310"/>
                  </a:cubicBezTo>
                  <a:cubicBezTo>
                    <a:pt x="192" y="1273"/>
                    <a:pt x="192" y="1273"/>
                    <a:pt x="192" y="1273"/>
                  </a:cubicBezTo>
                  <a:cubicBezTo>
                    <a:pt x="192" y="1277"/>
                    <a:pt x="192" y="1277"/>
                    <a:pt x="192" y="1277"/>
                  </a:cubicBezTo>
                  <a:cubicBezTo>
                    <a:pt x="152" y="1309"/>
                    <a:pt x="152" y="1309"/>
                    <a:pt x="152" y="1309"/>
                  </a:cubicBezTo>
                  <a:cubicBezTo>
                    <a:pt x="266" y="1287"/>
                    <a:pt x="381" y="1335"/>
                    <a:pt x="424" y="1449"/>
                  </a:cubicBezTo>
                  <a:cubicBezTo>
                    <a:pt x="488" y="1441"/>
                    <a:pt x="488" y="1441"/>
                    <a:pt x="488" y="1441"/>
                  </a:cubicBezTo>
                  <a:cubicBezTo>
                    <a:pt x="488" y="1445"/>
                    <a:pt x="488" y="1445"/>
                    <a:pt x="488" y="1445"/>
                  </a:cubicBezTo>
                  <a:cubicBezTo>
                    <a:pt x="477" y="1446"/>
                    <a:pt x="447" y="1444"/>
                    <a:pt x="440" y="1455"/>
                  </a:cubicBezTo>
                  <a:cubicBezTo>
                    <a:pt x="429" y="1474"/>
                    <a:pt x="467" y="1485"/>
                    <a:pt x="479" y="1482"/>
                  </a:cubicBezTo>
                  <a:cubicBezTo>
                    <a:pt x="493" y="1479"/>
                    <a:pt x="502" y="1465"/>
                    <a:pt x="512" y="1457"/>
                  </a:cubicBezTo>
                  <a:cubicBezTo>
                    <a:pt x="498" y="1477"/>
                    <a:pt x="489" y="1489"/>
                    <a:pt x="464" y="1493"/>
                  </a:cubicBezTo>
                  <a:cubicBezTo>
                    <a:pt x="464" y="1525"/>
                    <a:pt x="464" y="1525"/>
                    <a:pt x="464" y="1525"/>
                  </a:cubicBezTo>
                  <a:cubicBezTo>
                    <a:pt x="488" y="1525"/>
                    <a:pt x="488" y="1525"/>
                    <a:pt x="488" y="1525"/>
                  </a:cubicBezTo>
                  <a:cubicBezTo>
                    <a:pt x="472" y="1537"/>
                    <a:pt x="472" y="1537"/>
                    <a:pt x="472" y="1537"/>
                  </a:cubicBezTo>
                  <a:cubicBezTo>
                    <a:pt x="472" y="1541"/>
                    <a:pt x="472" y="1541"/>
                    <a:pt x="472" y="1541"/>
                  </a:cubicBezTo>
                  <a:cubicBezTo>
                    <a:pt x="484" y="1545"/>
                    <a:pt x="484" y="1545"/>
                    <a:pt x="484" y="1545"/>
                  </a:cubicBezTo>
                  <a:cubicBezTo>
                    <a:pt x="471" y="1594"/>
                    <a:pt x="549" y="1689"/>
                    <a:pt x="603" y="1675"/>
                  </a:cubicBezTo>
                  <a:cubicBezTo>
                    <a:pt x="617" y="1672"/>
                    <a:pt x="622" y="1654"/>
                    <a:pt x="632" y="1645"/>
                  </a:cubicBezTo>
                  <a:cubicBezTo>
                    <a:pt x="624" y="1673"/>
                    <a:pt x="624" y="1673"/>
                    <a:pt x="624" y="1673"/>
                  </a:cubicBezTo>
                  <a:cubicBezTo>
                    <a:pt x="704" y="1669"/>
                    <a:pt x="704" y="1669"/>
                    <a:pt x="704" y="1669"/>
                  </a:cubicBezTo>
                  <a:cubicBezTo>
                    <a:pt x="691" y="1627"/>
                    <a:pt x="707" y="1629"/>
                    <a:pt x="744" y="1633"/>
                  </a:cubicBezTo>
                  <a:cubicBezTo>
                    <a:pt x="748" y="1653"/>
                    <a:pt x="748" y="1653"/>
                    <a:pt x="748" y="1653"/>
                  </a:cubicBezTo>
                  <a:cubicBezTo>
                    <a:pt x="788" y="1629"/>
                    <a:pt x="788" y="1629"/>
                    <a:pt x="788" y="1629"/>
                  </a:cubicBezTo>
                  <a:cubicBezTo>
                    <a:pt x="838" y="1637"/>
                    <a:pt x="882" y="1630"/>
                    <a:pt x="932" y="1629"/>
                  </a:cubicBezTo>
                  <a:cubicBezTo>
                    <a:pt x="958" y="1628"/>
                    <a:pt x="992" y="1639"/>
                    <a:pt x="988" y="1601"/>
                  </a:cubicBezTo>
                  <a:cubicBezTo>
                    <a:pt x="1034" y="1620"/>
                    <a:pt x="1047" y="1544"/>
                    <a:pt x="1076" y="1521"/>
                  </a:cubicBezTo>
                  <a:cubicBezTo>
                    <a:pt x="1072" y="1491"/>
                    <a:pt x="1085" y="1474"/>
                    <a:pt x="1088" y="1449"/>
                  </a:cubicBezTo>
                  <a:cubicBezTo>
                    <a:pt x="1090" y="1432"/>
                    <a:pt x="1074" y="1422"/>
                    <a:pt x="1084" y="1406"/>
                  </a:cubicBezTo>
                  <a:cubicBezTo>
                    <a:pt x="1097" y="1386"/>
                    <a:pt x="1122" y="1371"/>
                    <a:pt x="1138" y="1353"/>
                  </a:cubicBezTo>
                  <a:cubicBezTo>
                    <a:pt x="1159" y="1329"/>
                    <a:pt x="1191" y="1294"/>
                    <a:pt x="1224" y="1289"/>
                  </a:cubicBezTo>
                  <a:cubicBezTo>
                    <a:pt x="1240" y="1241"/>
                    <a:pt x="1240" y="1241"/>
                    <a:pt x="1240" y="1241"/>
                  </a:cubicBezTo>
                  <a:cubicBezTo>
                    <a:pt x="1264" y="1241"/>
                    <a:pt x="1282" y="1219"/>
                    <a:pt x="1300" y="1205"/>
                  </a:cubicBezTo>
                  <a:cubicBezTo>
                    <a:pt x="1309" y="1234"/>
                    <a:pt x="1339" y="1225"/>
                    <a:pt x="1364" y="1225"/>
                  </a:cubicBezTo>
                  <a:cubicBezTo>
                    <a:pt x="1377" y="1173"/>
                    <a:pt x="1408" y="1220"/>
                    <a:pt x="1426" y="1238"/>
                  </a:cubicBezTo>
                  <a:cubicBezTo>
                    <a:pt x="1433" y="1245"/>
                    <a:pt x="1445" y="1246"/>
                    <a:pt x="1450" y="1256"/>
                  </a:cubicBezTo>
                  <a:cubicBezTo>
                    <a:pt x="1457" y="1269"/>
                    <a:pt x="1451" y="1287"/>
                    <a:pt x="1463" y="1298"/>
                  </a:cubicBezTo>
                  <a:cubicBezTo>
                    <a:pt x="1481" y="1316"/>
                    <a:pt x="1522" y="1302"/>
                    <a:pt x="1520" y="1277"/>
                  </a:cubicBezTo>
                  <a:cubicBezTo>
                    <a:pt x="1547" y="1268"/>
                    <a:pt x="1562" y="1251"/>
                    <a:pt x="1544" y="1225"/>
                  </a:cubicBezTo>
                  <a:cubicBezTo>
                    <a:pt x="1604" y="1185"/>
                    <a:pt x="1604" y="1185"/>
                    <a:pt x="1604" y="1185"/>
                  </a:cubicBezTo>
                  <a:cubicBezTo>
                    <a:pt x="1585" y="1139"/>
                    <a:pt x="1610" y="1140"/>
                    <a:pt x="1628" y="1101"/>
                  </a:cubicBezTo>
                  <a:cubicBezTo>
                    <a:pt x="1649" y="1055"/>
                    <a:pt x="1668" y="1008"/>
                    <a:pt x="1668" y="957"/>
                  </a:cubicBezTo>
                  <a:cubicBezTo>
                    <a:pt x="1688" y="957"/>
                    <a:pt x="1699" y="945"/>
                    <a:pt x="1696" y="925"/>
                  </a:cubicBezTo>
                  <a:cubicBezTo>
                    <a:pt x="1707" y="924"/>
                    <a:pt x="1720" y="924"/>
                    <a:pt x="1731" y="920"/>
                  </a:cubicBezTo>
                  <a:cubicBezTo>
                    <a:pt x="1792" y="899"/>
                    <a:pt x="1749" y="822"/>
                    <a:pt x="1785" y="786"/>
                  </a:cubicBezTo>
                  <a:cubicBezTo>
                    <a:pt x="1797" y="773"/>
                    <a:pt x="1822" y="773"/>
                    <a:pt x="1831" y="759"/>
                  </a:cubicBezTo>
                  <a:cubicBezTo>
                    <a:pt x="1845" y="739"/>
                    <a:pt x="1833" y="707"/>
                    <a:pt x="1843" y="685"/>
                  </a:cubicBezTo>
                  <a:cubicBezTo>
                    <a:pt x="1849" y="669"/>
                    <a:pt x="1869" y="666"/>
                    <a:pt x="1876" y="651"/>
                  </a:cubicBezTo>
                  <a:cubicBezTo>
                    <a:pt x="1883" y="635"/>
                    <a:pt x="1877" y="611"/>
                    <a:pt x="1884" y="593"/>
                  </a:cubicBezTo>
                  <a:cubicBezTo>
                    <a:pt x="1894" y="562"/>
                    <a:pt x="1923" y="515"/>
                    <a:pt x="1942" y="489"/>
                  </a:cubicBezTo>
                  <a:cubicBezTo>
                    <a:pt x="1971" y="451"/>
                    <a:pt x="2049" y="465"/>
                    <a:pt x="2077" y="416"/>
                  </a:cubicBezTo>
                  <a:cubicBezTo>
                    <a:pt x="2092" y="389"/>
                    <a:pt x="2068" y="344"/>
                    <a:pt x="2084" y="317"/>
                  </a:cubicBezTo>
                  <a:cubicBezTo>
                    <a:pt x="2072" y="272"/>
                    <a:pt x="2037" y="273"/>
                    <a:pt x="2000" y="265"/>
                  </a:cubicBezTo>
                  <a:cubicBezTo>
                    <a:pt x="2008" y="253"/>
                    <a:pt x="2008" y="253"/>
                    <a:pt x="2008" y="253"/>
                  </a:cubicBezTo>
                  <a:cubicBezTo>
                    <a:pt x="2008" y="249"/>
                    <a:pt x="2008" y="249"/>
                    <a:pt x="2008" y="249"/>
                  </a:cubicBezTo>
                  <a:cubicBezTo>
                    <a:pt x="1993" y="222"/>
                    <a:pt x="1984" y="179"/>
                    <a:pt x="1988" y="149"/>
                  </a:cubicBezTo>
                  <a:cubicBezTo>
                    <a:pt x="1952" y="119"/>
                    <a:pt x="1940" y="60"/>
                    <a:pt x="1901" y="35"/>
                  </a:cubicBezTo>
                  <a:cubicBezTo>
                    <a:pt x="1870" y="15"/>
                    <a:pt x="1844" y="48"/>
                    <a:pt x="1823" y="62"/>
                  </a:cubicBezTo>
                  <a:cubicBezTo>
                    <a:pt x="1807" y="72"/>
                    <a:pt x="1785" y="65"/>
                    <a:pt x="1768" y="76"/>
                  </a:cubicBezTo>
                  <a:cubicBezTo>
                    <a:pt x="1745" y="90"/>
                    <a:pt x="1711" y="141"/>
                    <a:pt x="1688" y="144"/>
                  </a:cubicBezTo>
                  <a:cubicBezTo>
                    <a:pt x="1649" y="148"/>
                    <a:pt x="1618" y="120"/>
                    <a:pt x="1584" y="109"/>
                  </a:cubicBezTo>
                  <a:cubicBezTo>
                    <a:pt x="1529" y="92"/>
                    <a:pt x="1460" y="84"/>
                    <a:pt x="1404" y="89"/>
                  </a:cubicBezTo>
                  <a:cubicBezTo>
                    <a:pt x="1358" y="94"/>
                    <a:pt x="1298" y="107"/>
                    <a:pt x="1260" y="133"/>
                  </a:cubicBezTo>
                  <a:cubicBezTo>
                    <a:pt x="1237" y="148"/>
                    <a:pt x="1225" y="185"/>
                    <a:pt x="1196" y="191"/>
                  </a:cubicBezTo>
                  <a:cubicBezTo>
                    <a:pt x="1126" y="206"/>
                    <a:pt x="1058" y="168"/>
                    <a:pt x="1000" y="140"/>
                  </a:cubicBezTo>
                  <a:cubicBezTo>
                    <a:pt x="976" y="128"/>
                    <a:pt x="959" y="106"/>
                    <a:pt x="932" y="102"/>
                  </a:cubicBezTo>
                  <a:cubicBezTo>
                    <a:pt x="865" y="91"/>
                    <a:pt x="816" y="156"/>
                    <a:pt x="752" y="156"/>
                  </a:cubicBezTo>
                  <a:cubicBezTo>
                    <a:pt x="721" y="155"/>
                    <a:pt x="682" y="82"/>
                    <a:pt x="661" y="62"/>
                  </a:cubicBezTo>
                  <a:cubicBezTo>
                    <a:pt x="632" y="34"/>
                    <a:pt x="581" y="41"/>
                    <a:pt x="544" y="23"/>
                  </a:cubicBezTo>
                  <a:cubicBezTo>
                    <a:pt x="525" y="15"/>
                    <a:pt x="510" y="0"/>
                    <a:pt x="488" y="1"/>
                  </a:cubicBezTo>
                  <a:cubicBezTo>
                    <a:pt x="467" y="2"/>
                    <a:pt x="460" y="25"/>
                    <a:pt x="440" y="28"/>
                  </a:cubicBezTo>
                  <a:cubicBezTo>
                    <a:pt x="376" y="38"/>
                    <a:pt x="303" y="16"/>
                    <a:pt x="256" y="79"/>
                  </a:cubicBezTo>
                  <a:cubicBezTo>
                    <a:pt x="247" y="90"/>
                    <a:pt x="252" y="111"/>
                    <a:pt x="251" y="125"/>
                  </a:cubicBezTo>
                  <a:cubicBezTo>
                    <a:pt x="250" y="146"/>
                    <a:pt x="241" y="167"/>
                    <a:pt x="230" y="185"/>
                  </a:cubicBezTo>
                  <a:cubicBezTo>
                    <a:pt x="216" y="207"/>
                    <a:pt x="190" y="218"/>
                    <a:pt x="175" y="239"/>
                  </a:cubicBezTo>
                  <a:cubicBezTo>
                    <a:pt x="159" y="259"/>
                    <a:pt x="163" y="318"/>
                    <a:pt x="172" y="341"/>
                  </a:cubicBezTo>
                  <a:moveTo>
                    <a:pt x="800" y="1657"/>
                  </a:moveTo>
                  <a:cubicBezTo>
                    <a:pt x="836" y="1649"/>
                    <a:pt x="836" y="1649"/>
                    <a:pt x="836" y="1649"/>
                  </a:cubicBezTo>
                  <a:cubicBezTo>
                    <a:pt x="827" y="1624"/>
                    <a:pt x="805" y="1638"/>
                    <a:pt x="800" y="1657"/>
                  </a:cubicBezTo>
                  <a:moveTo>
                    <a:pt x="704" y="1641"/>
                  </a:moveTo>
                  <a:cubicBezTo>
                    <a:pt x="707" y="1658"/>
                    <a:pt x="714" y="1667"/>
                    <a:pt x="732" y="1661"/>
                  </a:cubicBezTo>
                  <a:cubicBezTo>
                    <a:pt x="727" y="1644"/>
                    <a:pt x="721" y="1639"/>
                    <a:pt x="704" y="1641"/>
                  </a:cubicBezTo>
                  <a:moveTo>
                    <a:pt x="1004" y="1701"/>
                  </a:moveTo>
                  <a:cubicBezTo>
                    <a:pt x="1008" y="1705"/>
                    <a:pt x="1008" y="1705"/>
                    <a:pt x="1008" y="1705"/>
                  </a:cubicBezTo>
                  <a:lnTo>
                    <a:pt x="1004" y="1701"/>
                  </a:lnTo>
                  <a:close/>
                </a:path>
              </a:pathLst>
            </a:custGeom>
            <a:solidFill>
              <a:srgbClr val="203864"/>
            </a:solidFill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" name="Freeform 16"/>
            <p:cNvSpPr/>
            <p:nvPr/>
          </p:nvSpPr>
          <p:spPr bwMode="auto">
            <a:xfrm>
              <a:off x="2398713" y="1614488"/>
              <a:ext cx="528638" cy="798513"/>
            </a:xfrm>
            <a:custGeom>
              <a:avLst/>
              <a:gdLst/>
              <a:ahLst/>
              <a:cxnLst>
                <a:cxn ang="0">
                  <a:pos x="301" y="263"/>
                </a:cxn>
                <a:cxn ang="0">
                  <a:pos x="365" y="435"/>
                </a:cxn>
                <a:cxn ang="0">
                  <a:pos x="435" y="554"/>
                </a:cxn>
                <a:cxn ang="0">
                  <a:pos x="391" y="683"/>
                </a:cxn>
                <a:cxn ang="0">
                  <a:pos x="358" y="1079"/>
                </a:cxn>
                <a:cxn ang="0">
                  <a:pos x="315" y="1187"/>
                </a:cxn>
                <a:cxn ang="0">
                  <a:pos x="69" y="1483"/>
                </a:cxn>
                <a:cxn ang="0">
                  <a:pos x="8" y="1580"/>
                </a:cxn>
                <a:cxn ang="0">
                  <a:pos x="112" y="1815"/>
                </a:cxn>
                <a:cxn ang="0">
                  <a:pos x="198" y="1870"/>
                </a:cxn>
                <a:cxn ang="0">
                  <a:pos x="278" y="1991"/>
                </a:cxn>
                <a:cxn ang="0">
                  <a:pos x="281" y="2215"/>
                </a:cxn>
                <a:cxn ang="0">
                  <a:pos x="206" y="2351"/>
                </a:cxn>
                <a:cxn ang="0">
                  <a:pos x="86" y="2411"/>
                </a:cxn>
                <a:cxn ang="0">
                  <a:pos x="297" y="2607"/>
                </a:cxn>
                <a:cxn ang="0">
                  <a:pos x="354" y="2783"/>
                </a:cxn>
                <a:cxn ang="0">
                  <a:pos x="538" y="2723"/>
                </a:cxn>
                <a:cxn ang="0">
                  <a:pos x="682" y="2723"/>
                </a:cxn>
                <a:cxn ang="0">
                  <a:pos x="806" y="2696"/>
                </a:cxn>
                <a:cxn ang="0">
                  <a:pos x="919" y="2662"/>
                </a:cxn>
                <a:cxn ang="0">
                  <a:pos x="950" y="2551"/>
                </a:cxn>
                <a:cxn ang="0">
                  <a:pos x="1154" y="2505"/>
                </a:cxn>
                <a:cxn ang="0">
                  <a:pos x="1243" y="2470"/>
                </a:cxn>
                <a:cxn ang="0">
                  <a:pos x="1390" y="2355"/>
                </a:cxn>
                <a:cxn ang="0">
                  <a:pos x="1446" y="2245"/>
                </a:cxn>
                <a:cxn ang="0">
                  <a:pos x="1638" y="2195"/>
                </a:cxn>
                <a:cxn ang="0">
                  <a:pos x="1590" y="2075"/>
                </a:cxn>
                <a:cxn ang="0">
                  <a:pos x="1570" y="1891"/>
                </a:cxn>
                <a:cxn ang="0">
                  <a:pos x="1486" y="1885"/>
                </a:cxn>
                <a:cxn ang="0">
                  <a:pos x="1546" y="1763"/>
                </a:cxn>
                <a:cxn ang="0">
                  <a:pos x="1570" y="1639"/>
                </a:cxn>
                <a:cxn ang="0">
                  <a:pos x="1558" y="1555"/>
                </a:cxn>
                <a:cxn ang="0">
                  <a:pos x="1662" y="1443"/>
                </a:cxn>
                <a:cxn ang="0">
                  <a:pos x="1686" y="1365"/>
                </a:cxn>
                <a:cxn ang="0">
                  <a:pos x="1839" y="1354"/>
                </a:cxn>
                <a:cxn ang="0">
                  <a:pos x="1838" y="1187"/>
                </a:cxn>
                <a:cxn ang="0">
                  <a:pos x="1837" y="712"/>
                </a:cxn>
                <a:cxn ang="0">
                  <a:pos x="1470" y="506"/>
                </a:cxn>
                <a:cxn ang="0">
                  <a:pos x="538" y="54"/>
                </a:cxn>
                <a:cxn ang="0">
                  <a:pos x="233" y="83"/>
                </a:cxn>
              </a:cxnLst>
              <a:rect l="0" t="0" r="r" b="b"/>
              <a:pathLst>
                <a:path w="1849" h="2801">
                  <a:moveTo>
                    <a:pt x="233" y="83"/>
                  </a:moveTo>
                  <a:cubicBezTo>
                    <a:pt x="245" y="140"/>
                    <a:pt x="295" y="205"/>
                    <a:pt x="301" y="263"/>
                  </a:cubicBezTo>
                  <a:cubicBezTo>
                    <a:pt x="304" y="290"/>
                    <a:pt x="294" y="326"/>
                    <a:pt x="304" y="351"/>
                  </a:cubicBezTo>
                  <a:cubicBezTo>
                    <a:pt x="317" y="381"/>
                    <a:pt x="351" y="404"/>
                    <a:pt x="365" y="435"/>
                  </a:cubicBezTo>
                  <a:cubicBezTo>
                    <a:pt x="373" y="452"/>
                    <a:pt x="361" y="471"/>
                    <a:pt x="372" y="487"/>
                  </a:cubicBezTo>
                  <a:cubicBezTo>
                    <a:pt x="388" y="509"/>
                    <a:pt x="429" y="526"/>
                    <a:pt x="435" y="554"/>
                  </a:cubicBezTo>
                  <a:cubicBezTo>
                    <a:pt x="439" y="569"/>
                    <a:pt x="416" y="591"/>
                    <a:pt x="409" y="603"/>
                  </a:cubicBezTo>
                  <a:cubicBezTo>
                    <a:pt x="395" y="629"/>
                    <a:pt x="394" y="655"/>
                    <a:pt x="391" y="683"/>
                  </a:cubicBezTo>
                  <a:cubicBezTo>
                    <a:pt x="382" y="765"/>
                    <a:pt x="367" y="849"/>
                    <a:pt x="366" y="931"/>
                  </a:cubicBezTo>
                  <a:cubicBezTo>
                    <a:pt x="365" y="981"/>
                    <a:pt x="362" y="1030"/>
                    <a:pt x="358" y="1079"/>
                  </a:cubicBezTo>
                  <a:cubicBezTo>
                    <a:pt x="357" y="1099"/>
                    <a:pt x="362" y="1121"/>
                    <a:pt x="355" y="1139"/>
                  </a:cubicBezTo>
                  <a:cubicBezTo>
                    <a:pt x="348" y="1159"/>
                    <a:pt x="328" y="1172"/>
                    <a:pt x="315" y="1187"/>
                  </a:cubicBezTo>
                  <a:cubicBezTo>
                    <a:pt x="282" y="1225"/>
                    <a:pt x="248" y="1260"/>
                    <a:pt x="214" y="1295"/>
                  </a:cubicBezTo>
                  <a:cubicBezTo>
                    <a:pt x="162" y="1350"/>
                    <a:pt x="105" y="1417"/>
                    <a:pt x="69" y="1483"/>
                  </a:cubicBezTo>
                  <a:cubicBezTo>
                    <a:pt x="61" y="1498"/>
                    <a:pt x="62" y="1513"/>
                    <a:pt x="55" y="1527"/>
                  </a:cubicBezTo>
                  <a:cubicBezTo>
                    <a:pt x="46" y="1546"/>
                    <a:pt x="10" y="1564"/>
                    <a:pt x="8" y="1580"/>
                  </a:cubicBezTo>
                  <a:cubicBezTo>
                    <a:pt x="0" y="1645"/>
                    <a:pt x="42" y="1714"/>
                    <a:pt x="75" y="1763"/>
                  </a:cubicBezTo>
                  <a:cubicBezTo>
                    <a:pt x="85" y="1779"/>
                    <a:pt x="97" y="1805"/>
                    <a:pt x="112" y="1815"/>
                  </a:cubicBezTo>
                  <a:cubicBezTo>
                    <a:pt x="131" y="1828"/>
                    <a:pt x="157" y="1807"/>
                    <a:pt x="177" y="1822"/>
                  </a:cubicBezTo>
                  <a:cubicBezTo>
                    <a:pt x="195" y="1835"/>
                    <a:pt x="188" y="1854"/>
                    <a:pt x="198" y="1870"/>
                  </a:cubicBezTo>
                  <a:cubicBezTo>
                    <a:pt x="206" y="1883"/>
                    <a:pt x="226" y="1882"/>
                    <a:pt x="237" y="1893"/>
                  </a:cubicBezTo>
                  <a:cubicBezTo>
                    <a:pt x="265" y="1922"/>
                    <a:pt x="236" y="1979"/>
                    <a:pt x="278" y="1991"/>
                  </a:cubicBezTo>
                  <a:cubicBezTo>
                    <a:pt x="278" y="2022"/>
                    <a:pt x="284" y="2053"/>
                    <a:pt x="284" y="2083"/>
                  </a:cubicBezTo>
                  <a:cubicBezTo>
                    <a:pt x="283" y="2130"/>
                    <a:pt x="268" y="2168"/>
                    <a:pt x="281" y="2215"/>
                  </a:cubicBezTo>
                  <a:cubicBezTo>
                    <a:pt x="299" y="2277"/>
                    <a:pt x="346" y="2310"/>
                    <a:pt x="386" y="2351"/>
                  </a:cubicBezTo>
                  <a:cubicBezTo>
                    <a:pt x="206" y="2351"/>
                    <a:pt x="206" y="2351"/>
                    <a:pt x="206" y="2351"/>
                  </a:cubicBezTo>
                  <a:cubicBezTo>
                    <a:pt x="135" y="2350"/>
                    <a:pt x="135" y="2350"/>
                    <a:pt x="135" y="2350"/>
                  </a:cubicBezTo>
                  <a:cubicBezTo>
                    <a:pt x="86" y="2411"/>
                    <a:pt x="86" y="2411"/>
                    <a:pt x="86" y="2411"/>
                  </a:cubicBezTo>
                  <a:cubicBezTo>
                    <a:pt x="124" y="2441"/>
                    <a:pt x="146" y="2483"/>
                    <a:pt x="182" y="2515"/>
                  </a:cubicBezTo>
                  <a:cubicBezTo>
                    <a:pt x="220" y="2548"/>
                    <a:pt x="269" y="2565"/>
                    <a:pt x="297" y="2607"/>
                  </a:cubicBezTo>
                  <a:cubicBezTo>
                    <a:pt x="319" y="2640"/>
                    <a:pt x="331" y="2729"/>
                    <a:pt x="370" y="2739"/>
                  </a:cubicBezTo>
                  <a:cubicBezTo>
                    <a:pt x="354" y="2783"/>
                    <a:pt x="354" y="2783"/>
                    <a:pt x="354" y="2783"/>
                  </a:cubicBezTo>
                  <a:cubicBezTo>
                    <a:pt x="454" y="2787"/>
                    <a:pt x="454" y="2787"/>
                    <a:pt x="454" y="2787"/>
                  </a:cubicBezTo>
                  <a:cubicBezTo>
                    <a:pt x="538" y="2723"/>
                    <a:pt x="538" y="2723"/>
                    <a:pt x="538" y="2723"/>
                  </a:cubicBezTo>
                  <a:cubicBezTo>
                    <a:pt x="545" y="2743"/>
                    <a:pt x="588" y="2801"/>
                    <a:pt x="602" y="2759"/>
                  </a:cubicBezTo>
                  <a:cubicBezTo>
                    <a:pt x="682" y="2723"/>
                    <a:pt x="682" y="2723"/>
                    <a:pt x="682" y="2723"/>
                  </a:cubicBezTo>
                  <a:cubicBezTo>
                    <a:pt x="734" y="2699"/>
                    <a:pt x="734" y="2699"/>
                    <a:pt x="734" y="2699"/>
                  </a:cubicBezTo>
                  <a:cubicBezTo>
                    <a:pt x="757" y="2715"/>
                    <a:pt x="781" y="2698"/>
                    <a:pt x="806" y="2696"/>
                  </a:cubicBezTo>
                  <a:cubicBezTo>
                    <a:pt x="832" y="2693"/>
                    <a:pt x="870" y="2699"/>
                    <a:pt x="894" y="2689"/>
                  </a:cubicBezTo>
                  <a:cubicBezTo>
                    <a:pt x="907" y="2684"/>
                    <a:pt x="909" y="2670"/>
                    <a:pt x="919" y="2662"/>
                  </a:cubicBezTo>
                  <a:cubicBezTo>
                    <a:pt x="949" y="2635"/>
                    <a:pt x="970" y="2609"/>
                    <a:pt x="994" y="2575"/>
                  </a:cubicBezTo>
                  <a:cubicBezTo>
                    <a:pt x="950" y="2551"/>
                    <a:pt x="950" y="2551"/>
                    <a:pt x="950" y="2551"/>
                  </a:cubicBezTo>
                  <a:cubicBezTo>
                    <a:pt x="950" y="2539"/>
                    <a:pt x="950" y="2539"/>
                    <a:pt x="950" y="2539"/>
                  </a:cubicBezTo>
                  <a:cubicBezTo>
                    <a:pt x="1012" y="2514"/>
                    <a:pt x="1088" y="2517"/>
                    <a:pt x="1154" y="2505"/>
                  </a:cubicBezTo>
                  <a:cubicBezTo>
                    <a:pt x="1171" y="2502"/>
                    <a:pt x="1190" y="2510"/>
                    <a:pt x="1206" y="2504"/>
                  </a:cubicBezTo>
                  <a:cubicBezTo>
                    <a:pt x="1222" y="2497"/>
                    <a:pt x="1230" y="2480"/>
                    <a:pt x="1243" y="2470"/>
                  </a:cubicBezTo>
                  <a:cubicBezTo>
                    <a:pt x="1259" y="2457"/>
                    <a:pt x="1280" y="2455"/>
                    <a:pt x="1294" y="2439"/>
                  </a:cubicBezTo>
                  <a:cubicBezTo>
                    <a:pt x="1326" y="2402"/>
                    <a:pt x="1337" y="2365"/>
                    <a:pt x="1390" y="2355"/>
                  </a:cubicBezTo>
                  <a:cubicBezTo>
                    <a:pt x="1398" y="2320"/>
                    <a:pt x="1419" y="2318"/>
                    <a:pt x="1446" y="2299"/>
                  </a:cubicBezTo>
                  <a:cubicBezTo>
                    <a:pt x="1445" y="2286"/>
                    <a:pt x="1439" y="2256"/>
                    <a:pt x="1446" y="2245"/>
                  </a:cubicBezTo>
                  <a:cubicBezTo>
                    <a:pt x="1453" y="2232"/>
                    <a:pt x="1477" y="2225"/>
                    <a:pt x="1490" y="2218"/>
                  </a:cubicBezTo>
                  <a:cubicBezTo>
                    <a:pt x="1543" y="2187"/>
                    <a:pt x="1579" y="2173"/>
                    <a:pt x="1638" y="2195"/>
                  </a:cubicBezTo>
                  <a:cubicBezTo>
                    <a:pt x="1655" y="2161"/>
                    <a:pt x="1659" y="2136"/>
                    <a:pt x="1650" y="2099"/>
                  </a:cubicBezTo>
                  <a:cubicBezTo>
                    <a:pt x="1590" y="2075"/>
                    <a:pt x="1590" y="2075"/>
                    <a:pt x="1590" y="2075"/>
                  </a:cubicBezTo>
                  <a:cubicBezTo>
                    <a:pt x="1591" y="2056"/>
                    <a:pt x="1598" y="2022"/>
                    <a:pt x="1594" y="2003"/>
                  </a:cubicBezTo>
                  <a:cubicBezTo>
                    <a:pt x="1584" y="1960"/>
                    <a:pt x="1557" y="1940"/>
                    <a:pt x="1570" y="1891"/>
                  </a:cubicBezTo>
                  <a:cubicBezTo>
                    <a:pt x="1556" y="1886"/>
                    <a:pt x="1538" y="1871"/>
                    <a:pt x="1523" y="1873"/>
                  </a:cubicBezTo>
                  <a:cubicBezTo>
                    <a:pt x="1509" y="1875"/>
                    <a:pt x="1501" y="1889"/>
                    <a:pt x="1486" y="1885"/>
                  </a:cubicBezTo>
                  <a:cubicBezTo>
                    <a:pt x="1414" y="1864"/>
                    <a:pt x="1528" y="1785"/>
                    <a:pt x="1546" y="1767"/>
                  </a:cubicBezTo>
                  <a:cubicBezTo>
                    <a:pt x="1546" y="1763"/>
                    <a:pt x="1546" y="1763"/>
                    <a:pt x="1546" y="1763"/>
                  </a:cubicBezTo>
                  <a:cubicBezTo>
                    <a:pt x="1532" y="1747"/>
                    <a:pt x="1497" y="1703"/>
                    <a:pt x="1513" y="1681"/>
                  </a:cubicBezTo>
                  <a:cubicBezTo>
                    <a:pt x="1527" y="1660"/>
                    <a:pt x="1557" y="1660"/>
                    <a:pt x="1570" y="1639"/>
                  </a:cubicBezTo>
                  <a:cubicBezTo>
                    <a:pt x="1602" y="1638"/>
                    <a:pt x="1573" y="1573"/>
                    <a:pt x="1558" y="1563"/>
                  </a:cubicBezTo>
                  <a:cubicBezTo>
                    <a:pt x="1558" y="1555"/>
                    <a:pt x="1558" y="1555"/>
                    <a:pt x="1558" y="1555"/>
                  </a:cubicBezTo>
                  <a:cubicBezTo>
                    <a:pt x="1614" y="1535"/>
                    <a:pt x="1614" y="1535"/>
                    <a:pt x="1614" y="1535"/>
                  </a:cubicBezTo>
                  <a:cubicBezTo>
                    <a:pt x="1597" y="1486"/>
                    <a:pt x="1647" y="1481"/>
                    <a:pt x="1662" y="1443"/>
                  </a:cubicBezTo>
                  <a:cubicBezTo>
                    <a:pt x="1670" y="1422"/>
                    <a:pt x="1652" y="1407"/>
                    <a:pt x="1657" y="1388"/>
                  </a:cubicBezTo>
                  <a:cubicBezTo>
                    <a:pt x="1660" y="1376"/>
                    <a:pt x="1674" y="1367"/>
                    <a:pt x="1686" y="1365"/>
                  </a:cubicBezTo>
                  <a:cubicBezTo>
                    <a:pt x="1717" y="1360"/>
                    <a:pt x="1762" y="1352"/>
                    <a:pt x="1794" y="1356"/>
                  </a:cubicBezTo>
                  <a:cubicBezTo>
                    <a:pt x="1807" y="1358"/>
                    <a:pt x="1831" y="1370"/>
                    <a:pt x="1839" y="1354"/>
                  </a:cubicBezTo>
                  <a:cubicBezTo>
                    <a:pt x="1849" y="1334"/>
                    <a:pt x="1841" y="1298"/>
                    <a:pt x="1838" y="1277"/>
                  </a:cubicBezTo>
                  <a:cubicBezTo>
                    <a:pt x="1834" y="1248"/>
                    <a:pt x="1838" y="1217"/>
                    <a:pt x="1838" y="1187"/>
                  </a:cubicBezTo>
                  <a:cubicBezTo>
                    <a:pt x="1838" y="863"/>
                    <a:pt x="1838" y="863"/>
                    <a:pt x="1838" y="863"/>
                  </a:cubicBezTo>
                  <a:cubicBezTo>
                    <a:pt x="1838" y="817"/>
                    <a:pt x="1848" y="756"/>
                    <a:pt x="1837" y="712"/>
                  </a:cubicBezTo>
                  <a:cubicBezTo>
                    <a:pt x="1829" y="684"/>
                    <a:pt x="1773" y="667"/>
                    <a:pt x="1750" y="654"/>
                  </a:cubicBezTo>
                  <a:cubicBezTo>
                    <a:pt x="1658" y="602"/>
                    <a:pt x="1564" y="553"/>
                    <a:pt x="1470" y="506"/>
                  </a:cubicBezTo>
                  <a:cubicBezTo>
                    <a:pt x="1221" y="384"/>
                    <a:pt x="976" y="254"/>
                    <a:pt x="722" y="142"/>
                  </a:cubicBezTo>
                  <a:cubicBezTo>
                    <a:pt x="660" y="115"/>
                    <a:pt x="599" y="85"/>
                    <a:pt x="538" y="54"/>
                  </a:cubicBezTo>
                  <a:cubicBezTo>
                    <a:pt x="512" y="42"/>
                    <a:pt x="458" y="0"/>
                    <a:pt x="429" y="0"/>
                  </a:cubicBezTo>
                  <a:cubicBezTo>
                    <a:pt x="375" y="0"/>
                    <a:pt x="284" y="62"/>
                    <a:pt x="233" y="8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" name="Freeform 17"/>
            <p:cNvSpPr/>
            <p:nvPr/>
          </p:nvSpPr>
          <p:spPr bwMode="auto">
            <a:xfrm>
              <a:off x="2227263" y="2617788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" name="Freeform 18"/>
            <p:cNvSpPr/>
            <p:nvPr/>
          </p:nvSpPr>
          <p:spPr bwMode="auto">
            <a:xfrm>
              <a:off x="2100263" y="2697163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" name="Freeform 19"/>
            <p:cNvSpPr/>
            <p:nvPr/>
          </p:nvSpPr>
          <p:spPr bwMode="auto">
            <a:xfrm>
              <a:off x="2152650" y="2130425"/>
              <a:ext cx="385763" cy="569913"/>
            </a:xfrm>
            <a:custGeom>
              <a:avLst/>
              <a:gdLst/>
              <a:ahLst/>
              <a:cxnLst>
                <a:cxn ang="0">
                  <a:pos x="992" y="92"/>
                </a:cxn>
                <a:cxn ang="0">
                  <a:pos x="1037" y="135"/>
                </a:cxn>
                <a:cxn ang="0">
                  <a:pos x="1062" y="236"/>
                </a:cxn>
                <a:cxn ang="0">
                  <a:pos x="953" y="319"/>
                </a:cxn>
                <a:cxn ang="0">
                  <a:pos x="878" y="432"/>
                </a:cxn>
                <a:cxn ang="0">
                  <a:pos x="827" y="529"/>
                </a:cxn>
                <a:cxn ang="0">
                  <a:pos x="769" y="644"/>
                </a:cxn>
                <a:cxn ang="0">
                  <a:pos x="685" y="800"/>
                </a:cxn>
                <a:cxn ang="0">
                  <a:pos x="569" y="1004"/>
                </a:cxn>
                <a:cxn ang="0">
                  <a:pos x="589" y="1040"/>
                </a:cxn>
                <a:cxn ang="0">
                  <a:pos x="533" y="1111"/>
                </a:cxn>
                <a:cxn ang="0">
                  <a:pos x="468" y="1142"/>
                </a:cxn>
                <a:cxn ang="0">
                  <a:pos x="425" y="1064"/>
                </a:cxn>
                <a:cxn ang="0">
                  <a:pos x="341" y="1075"/>
                </a:cxn>
                <a:cxn ang="0">
                  <a:pos x="229" y="1092"/>
                </a:cxn>
                <a:cxn ang="0">
                  <a:pos x="67" y="1264"/>
                </a:cxn>
                <a:cxn ang="0">
                  <a:pos x="13" y="1452"/>
                </a:cxn>
                <a:cxn ang="0">
                  <a:pos x="77" y="1488"/>
                </a:cxn>
                <a:cxn ang="0">
                  <a:pos x="189" y="1580"/>
                </a:cxn>
                <a:cxn ang="0">
                  <a:pos x="213" y="1600"/>
                </a:cxn>
                <a:cxn ang="0">
                  <a:pos x="208" y="1662"/>
                </a:cxn>
                <a:cxn ang="0">
                  <a:pos x="233" y="1844"/>
                </a:cxn>
                <a:cxn ang="0">
                  <a:pos x="305" y="1900"/>
                </a:cxn>
                <a:cxn ang="0">
                  <a:pos x="505" y="1876"/>
                </a:cxn>
                <a:cxn ang="0">
                  <a:pos x="681" y="1874"/>
                </a:cxn>
                <a:cxn ang="0">
                  <a:pos x="817" y="1881"/>
                </a:cxn>
                <a:cxn ang="0">
                  <a:pos x="929" y="1900"/>
                </a:cxn>
                <a:cxn ang="0">
                  <a:pos x="1157" y="1940"/>
                </a:cxn>
                <a:cxn ang="0">
                  <a:pos x="1269" y="1957"/>
                </a:cxn>
                <a:cxn ang="0">
                  <a:pos x="1345" y="1980"/>
                </a:cxn>
                <a:cxn ang="0">
                  <a:pos x="1353" y="1896"/>
                </a:cxn>
                <a:cxn ang="0">
                  <a:pos x="1337" y="1784"/>
                </a:cxn>
                <a:cxn ang="0">
                  <a:pos x="1165" y="1576"/>
                </a:cxn>
                <a:cxn ang="0">
                  <a:pos x="1097" y="1464"/>
                </a:cxn>
                <a:cxn ang="0">
                  <a:pos x="1075" y="1249"/>
                </a:cxn>
                <a:cxn ang="0">
                  <a:pos x="1100" y="1176"/>
                </a:cxn>
                <a:cxn ang="0">
                  <a:pos x="1237" y="936"/>
                </a:cxn>
                <a:cxn ang="0">
                  <a:pos x="1128" y="750"/>
                </a:cxn>
                <a:cxn ang="0">
                  <a:pos x="961" y="596"/>
                </a:cxn>
                <a:cxn ang="0">
                  <a:pos x="1001" y="555"/>
                </a:cxn>
                <a:cxn ang="0">
                  <a:pos x="1253" y="552"/>
                </a:cxn>
                <a:cxn ang="0">
                  <a:pos x="1166" y="437"/>
                </a:cxn>
                <a:cxn ang="0">
                  <a:pos x="1154" y="268"/>
                </a:cxn>
                <a:cxn ang="0">
                  <a:pos x="1110" y="84"/>
                </a:cxn>
                <a:cxn ang="0">
                  <a:pos x="977" y="0"/>
                </a:cxn>
              </a:cxnLst>
              <a:rect l="0" t="0" r="r" b="b"/>
              <a:pathLst>
                <a:path w="1353" h="1996">
                  <a:moveTo>
                    <a:pt x="977" y="0"/>
                  </a:moveTo>
                  <a:cubicBezTo>
                    <a:pt x="992" y="92"/>
                    <a:pt x="992" y="92"/>
                    <a:pt x="992" y="92"/>
                  </a:cubicBezTo>
                  <a:cubicBezTo>
                    <a:pt x="996" y="126"/>
                    <a:pt x="996" y="126"/>
                    <a:pt x="996" y="126"/>
                  </a:cubicBezTo>
                  <a:cubicBezTo>
                    <a:pt x="1037" y="135"/>
                    <a:pt x="1037" y="135"/>
                    <a:pt x="1037" y="135"/>
                  </a:cubicBezTo>
                  <a:cubicBezTo>
                    <a:pt x="1073" y="160"/>
                    <a:pt x="1073" y="160"/>
                    <a:pt x="1073" y="160"/>
                  </a:cubicBezTo>
                  <a:cubicBezTo>
                    <a:pt x="1066" y="182"/>
                    <a:pt x="1063" y="213"/>
                    <a:pt x="1062" y="236"/>
                  </a:cubicBezTo>
                  <a:cubicBezTo>
                    <a:pt x="1062" y="247"/>
                    <a:pt x="1070" y="257"/>
                    <a:pt x="1065" y="268"/>
                  </a:cubicBezTo>
                  <a:cubicBezTo>
                    <a:pt x="1045" y="307"/>
                    <a:pt x="983" y="303"/>
                    <a:pt x="953" y="319"/>
                  </a:cubicBezTo>
                  <a:cubicBezTo>
                    <a:pt x="926" y="333"/>
                    <a:pt x="922" y="368"/>
                    <a:pt x="901" y="388"/>
                  </a:cubicBezTo>
                  <a:cubicBezTo>
                    <a:pt x="897" y="404"/>
                    <a:pt x="883" y="416"/>
                    <a:pt x="878" y="432"/>
                  </a:cubicBezTo>
                  <a:cubicBezTo>
                    <a:pt x="871" y="454"/>
                    <a:pt x="875" y="484"/>
                    <a:pt x="861" y="504"/>
                  </a:cubicBezTo>
                  <a:cubicBezTo>
                    <a:pt x="853" y="516"/>
                    <a:pt x="834" y="514"/>
                    <a:pt x="827" y="529"/>
                  </a:cubicBezTo>
                  <a:cubicBezTo>
                    <a:pt x="817" y="552"/>
                    <a:pt x="838" y="581"/>
                    <a:pt x="824" y="604"/>
                  </a:cubicBezTo>
                  <a:cubicBezTo>
                    <a:pt x="812" y="624"/>
                    <a:pt x="781" y="619"/>
                    <a:pt x="769" y="644"/>
                  </a:cubicBezTo>
                  <a:cubicBezTo>
                    <a:pt x="740" y="704"/>
                    <a:pt x="770" y="764"/>
                    <a:pt x="681" y="776"/>
                  </a:cubicBezTo>
                  <a:cubicBezTo>
                    <a:pt x="685" y="800"/>
                    <a:pt x="685" y="800"/>
                    <a:pt x="685" y="800"/>
                  </a:cubicBezTo>
                  <a:cubicBezTo>
                    <a:pt x="643" y="809"/>
                    <a:pt x="654" y="850"/>
                    <a:pt x="644" y="884"/>
                  </a:cubicBezTo>
                  <a:cubicBezTo>
                    <a:pt x="632" y="924"/>
                    <a:pt x="603" y="978"/>
                    <a:pt x="569" y="1004"/>
                  </a:cubicBezTo>
                  <a:cubicBezTo>
                    <a:pt x="569" y="1012"/>
                    <a:pt x="569" y="1012"/>
                    <a:pt x="569" y="1012"/>
                  </a:cubicBezTo>
                  <a:cubicBezTo>
                    <a:pt x="589" y="1040"/>
                    <a:pt x="589" y="1040"/>
                    <a:pt x="589" y="1040"/>
                  </a:cubicBezTo>
                  <a:cubicBezTo>
                    <a:pt x="538" y="1080"/>
                    <a:pt x="538" y="1080"/>
                    <a:pt x="538" y="1080"/>
                  </a:cubicBezTo>
                  <a:cubicBezTo>
                    <a:pt x="533" y="1111"/>
                    <a:pt x="533" y="1111"/>
                    <a:pt x="533" y="1111"/>
                  </a:cubicBezTo>
                  <a:cubicBezTo>
                    <a:pt x="509" y="1148"/>
                    <a:pt x="509" y="1148"/>
                    <a:pt x="509" y="1148"/>
                  </a:cubicBezTo>
                  <a:cubicBezTo>
                    <a:pt x="497" y="1148"/>
                    <a:pt x="478" y="1151"/>
                    <a:pt x="468" y="1142"/>
                  </a:cubicBezTo>
                  <a:cubicBezTo>
                    <a:pt x="448" y="1122"/>
                    <a:pt x="470" y="1095"/>
                    <a:pt x="429" y="1092"/>
                  </a:cubicBezTo>
                  <a:cubicBezTo>
                    <a:pt x="425" y="1064"/>
                    <a:pt x="425" y="1064"/>
                    <a:pt x="425" y="1064"/>
                  </a:cubicBezTo>
                  <a:cubicBezTo>
                    <a:pt x="411" y="1057"/>
                    <a:pt x="383" y="1038"/>
                    <a:pt x="367" y="1048"/>
                  </a:cubicBezTo>
                  <a:cubicBezTo>
                    <a:pt x="356" y="1056"/>
                    <a:pt x="356" y="1071"/>
                    <a:pt x="341" y="1075"/>
                  </a:cubicBezTo>
                  <a:cubicBezTo>
                    <a:pt x="317" y="1081"/>
                    <a:pt x="312" y="1052"/>
                    <a:pt x="293" y="1054"/>
                  </a:cubicBezTo>
                  <a:cubicBezTo>
                    <a:pt x="269" y="1058"/>
                    <a:pt x="255" y="1087"/>
                    <a:pt x="229" y="1092"/>
                  </a:cubicBezTo>
                  <a:cubicBezTo>
                    <a:pt x="220" y="1145"/>
                    <a:pt x="152" y="1166"/>
                    <a:pt x="118" y="1204"/>
                  </a:cubicBezTo>
                  <a:cubicBezTo>
                    <a:pt x="105" y="1220"/>
                    <a:pt x="72" y="1245"/>
                    <a:pt x="67" y="1264"/>
                  </a:cubicBezTo>
                  <a:cubicBezTo>
                    <a:pt x="59" y="1295"/>
                    <a:pt x="76" y="1336"/>
                    <a:pt x="60" y="1368"/>
                  </a:cubicBezTo>
                  <a:cubicBezTo>
                    <a:pt x="46" y="1396"/>
                    <a:pt x="12" y="1416"/>
                    <a:pt x="13" y="1452"/>
                  </a:cubicBezTo>
                  <a:cubicBezTo>
                    <a:pt x="3" y="1459"/>
                    <a:pt x="0" y="1484"/>
                    <a:pt x="14" y="1490"/>
                  </a:cubicBezTo>
                  <a:cubicBezTo>
                    <a:pt x="33" y="1499"/>
                    <a:pt x="57" y="1489"/>
                    <a:pt x="77" y="1488"/>
                  </a:cubicBezTo>
                  <a:cubicBezTo>
                    <a:pt x="64" y="1535"/>
                    <a:pt x="93" y="1563"/>
                    <a:pt x="129" y="1581"/>
                  </a:cubicBezTo>
                  <a:cubicBezTo>
                    <a:pt x="153" y="1593"/>
                    <a:pt x="170" y="1609"/>
                    <a:pt x="189" y="1580"/>
                  </a:cubicBezTo>
                  <a:cubicBezTo>
                    <a:pt x="193" y="1580"/>
                    <a:pt x="193" y="1580"/>
                    <a:pt x="193" y="1580"/>
                  </a:cubicBezTo>
                  <a:cubicBezTo>
                    <a:pt x="213" y="1600"/>
                    <a:pt x="213" y="1600"/>
                    <a:pt x="213" y="1600"/>
                  </a:cubicBezTo>
                  <a:cubicBezTo>
                    <a:pt x="185" y="1608"/>
                    <a:pt x="185" y="1608"/>
                    <a:pt x="185" y="1608"/>
                  </a:cubicBezTo>
                  <a:cubicBezTo>
                    <a:pt x="192" y="1624"/>
                    <a:pt x="198" y="1649"/>
                    <a:pt x="208" y="1662"/>
                  </a:cubicBezTo>
                  <a:cubicBezTo>
                    <a:pt x="225" y="1683"/>
                    <a:pt x="252" y="1698"/>
                    <a:pt x="254" y="1728"/>
                  </a:cubicBezTo>
                  <a:cubicBezTo>
                    <a:pt x="257" y="1762"/>
                    <a:pt x="236" y="1808"/>
                    <a:pt x="233" y="1844"/>
                  </a:cubicBezTo>
                  <a:cubicBezTo>
                    <a:pt x="232" y="1855"/>
                    <a:pt x="224" y="1869"/>
                    <a:pt x="232" y="1879"/>
                  </a:cubicBezTo>
                  <a:cubicBezTo>
                    <a:pt x="248" y="1901"/>
                    <a:pt x="281" y="1900"/>
                    <a:pt x="305" y="1900"/>
                  </a:cubicBezTo>
                  <a:cubicBezTo>
                    <a:pt x="370" y="1900"/>
                    <a:pt x="446" y="1911"/>
                    <a:pt x="509" y="1896"/>
                  </a:cubicBezTo>
                  <a:cubicBezTo>
                    <a:pt x="505" y="1876"/>
                    <a:pt x="505" y="1876"/>
                    <a:pt x="505" y="1876"/>
                  </a:cubicBezTo>
                  <a:cubicBezTo>
                    <a:pt x="538" y="1870"/>
                    <a:pt x="565" y="1880"/>
                    <a:pt x="597" y="1880"/>
                  </a:cubicBezTo>
                  <a:cubicBezTo>
                    <a:pt x="625" y="1880"/>
                    <a:pt x="654" y="1873"/>
                    <a:pt x="681" y="1874"/>
                  </a:cubicBezTo>
                  <a:cubicBezTo>
                    <a:pt x="703" y="1875"/>
                    <a:pt x="723" y="1886"/>
                    <a:pt x="745" y="1886"/>
                  </a:cubicBezTo>
                  <a:cubicBezTo>
                    <a:pt x="768" y="1886"/>
                    <a:pt x="794" y="1878"/>
                    <a:pt x="817" y="1881"/>
                  </a:cubicBezTo>
                  <a:cubicBezTo>
                    <a:pt x="830" y="1883"/>
                    <a:pt x="837" y="1895"/>
                    <a:pt x="849" y="1898"/>
                  </a:cubicBezTo>
                  <a:cubicBezTo>
                    <a:pt x="873" y="1905"/>
                    <a:pt x="905" y="1900"/>
                    <a:pt x="929" y="1900"/>
                  </a:cubicBezTo>
                  <a:cubicBezTo>
                    <a:pt x="971" y="1900"/>
                    <a:pt x="1061" y="1884"/>
                    <a:pt x="1089" y="1916"/>
                  </a:cubicBezTo>
                  <a:cubicBezTo>
                    <a:pt x="1157" y="1940"/>
                    <a:pt x="1157" y="1940"/>
                    <a:pt x="1157" y="1940"/>
                  </a:cubicBezTo>
                  <a:cubicBezTo>
                    <a:pt x="1201" y="1941"/>
                    <a:pt x="1201" y="1941"/>
                    <a:pt x="1201" y="1941"/>
                  </a:cubicBezTo>
                  <a:cubicBezTo>
                    <a:pt x="1269" y="1957"/>
                    <a:pt x="1269" y="1957"/>
                    <a:pt x="1269" y="1957"/>
                  </a:cubicBezTo>
                  <a:cubicBezTo>
                    <a:pt x="1325" y="1996"/>
                    <a:pt x="1325" y="1996"/>
                    <a:pt x="1325" y="1996"/>
                  </a:cubicBezTo>
                  <a:cubicBezTo>
                    <a:pt x="1345" y="1980"/>
                    <a:pt x="1345" y="1980"/>
                    <a:pt x="1345" y="1980"/>
                  </a:cubicBezTo>
                  <a:cubicBezTo>
                    <a:pt x="1325" y="1900"/>
                    <a:pt x="1325" y="1900"/>
                    <a:pt x="1325" y="1900"/>
                  </a:cubicBezTo>
                  <a:cubicBezTo>
                    <a:pt x="1353" y="1896"/>
                    <a:pt x="1353" y="1896"/>
                    <a:pt x="1353" y="1896"/>
                  </a:cubicBezTo>
                  <a:cubicBezTo>
                    <a:pt x="1336" y="1864"/>
                    <a:pt x="1313" y="1822"/>
                    <a:pt x="1337" y="1788"/>
                  </a:cubicBezTo>
                  <a:cubicBezTo>
                    <a:pt x="1337" y="1784"/>
                    <a:pt x="1337" y="1784"/>
                    <a:pt x="1337" y="1784"/>
                  </a:cubicBezTo>
                  <a:cubicBezTo>
                    <a:pt x="1282" y="1709"/>
                    <a:pt x="1190" y="1669"/>
                    <a:pt x="1145" y="1580"/>
                  </a:cubicBezTo>
                  <a:cubicBezTo>
                    <a:pt x="1165" y="1576"/>
                    <a:pt x="1165" y="1576"/>
                    <a:pt x="1165" y="1576"/>
                  </a:cubicBezTo>
                  <a:cubicBezTo>
                    <a:pt x="1158" y="1549"/>
                    <a:pt x="1156" y="1528"/>
                    <a:pt x="1137" y="1505"/>
                  </a:cubicBezTo>
                  <a:cubicBezTo>
                    <a:pt x="1124" y="1489"/>
                    <a:pt x="1105" y="1484"/>
                    <a:pt x="1097" y="1464"/>
                  </a:cubicBezTo>
                  <a:cubicBezTo>
                    <a:pt x="1080" y="1424"/>
                    <a:pt x="1105" y="1374"/>
                    <a:pt x="1057" y="1352"/>
                  </a:cubicBezTo>
                  <a:cubicBezTo>
                    <a:pt x="1073" y="1328"/>
                    <a:pt x="1089" y="1278"/>
                    <a:pt x="1075" y="1249"/>
                  </a:cubicBezTo>
                  <a:cubicBezTo>
                    <a:pt x="1068" y="1237"/>
                    <a:pt x="1039" y="1242"/>
                    <a:pt x="1046" y="1220"/>
                  </a:cubicBezTo>
                  <a:cubicBezTo>
                    <a:pt x="1054" y="1197"/>
                    <a:pt x="1086" y="1194"/>
                    <a:pt x="1100" y="1176"/>
                  </a:cubicBezTo>
                  <a:cubicBezTo>
                    <a:pt x="1133" y="1133"/>
                    <a:pt x="1145" y="1073"/>
                    <a:pt x="1174" y="1028"/>
                  </a:cubicBezTo>
                  <a:cubicBezTo>
                    <a:pt x="1193" y="998"/>
                    <a:pt x="1230" y="975"/>
                    <a:pt x="1237" y="936"/>
                  </a:cubicBezTo>
                  <a:cubicBezTo>
                    <a:pt x="1240" y="920"/>
                    <a:pt x="1211" y="905"/>
                    <a:pt x="1207" y="888"/>
                  </a:cubicBezTo>
                  <a:cubicBezTo>
                    <a:pt x="1192" y="839"/>
                    <a:pt x="1170" y="783"/>
                    <a:pt x="1128" y="750"/>
                  </a:cubicBezTo>
                  <a:cubicBezTo>
                    <a:pt x="1102" y="729"/>
                    <a:pt x="1070" y="715"/>
                    <a:pt x="1045" y="692"/>
                  </a:cubicBezTo>
                  <a:cubicBezTo>
                    <a:pt x="1014" y="663"/>
                    <a:pt x="993" y="624"/>
                    <a:pt x="961" y="596"/>
                  </a:cubicBezTo>
                  <a:cubicBezTo>
                    <a:pt x="961" y="592"/>
                    <a:pt x="961" y="592"/>
                    <a:pt x="961" y="592"/>
                  </a:cubicBezTo>
                  <a:cubicBezTo>
                    <a:pt x="979" y="580"/>
                    <a:pt x="982" y="562"/>
                    <a:pt x="1001" y="555"/>
                  </a:cubicBezTo>
                  <a:cubicBezTo>
                    <a:pt x="1034" y="542"/>
                    <a:pt x="1092" y="542"/>
                    <a:pt x="1125" y="547"/>
                  </a:cubicBezTo>
                  <a:cubicBezTo>
                    <a:pt x="1165" y="553"/>
                    <a:pt x="1213" y="552"/>
                    <a:pt x="1253" y="552"/>
                  </a:cubicBezTo>
                  <a:cubicBezTo>
                    <a:pt x="1249" y="529"/>
                    <a:pt x="1233" y="526"/>
                    <a:pt x="1218" y="511"/>
                  </a:cubicBezTo>
                  <a:cubicBezTo>
                    <a:pt x="1199" y="493"/>
                    <a:pt x="1176" y="462"/>
                    <a:pt x="1166" y="437"/>
                  </a:cubicBezTo>
                  <a:cubicBezTo>
                    <a:pt x="1152" y="403"/>
                    <a:pt x="1139" y="378"/>
                    <a:pt x="1143" y="340"/>
                  </a:cubicBezTo>
                  <a:cubicBezTo>
                    <a:pt x="1145" y="323"/>
                    <a:pt x="1156" y="286"/>
                    <a:pt x="1154" y="268"/>
                  </a:cubicBezTo>
                  <a:cubicBezTo>
                    <a:pt x="1152" y="206"/>
                    <a:pt x="1133" y="178"/>
                    <a:pt x="1133" y="132"/>
                  </a:cubicBezTo>
                  <a:cubicBezTo>
                    <a:pt x="1116" y="130"/>
                    <a:pt x="1116" y="99"/>
                    <a:pt x="1110" y="84"/>
                  </a:cubicBezTo>
                  <a:cubicBezTo>
                    <a:pt x="1101" y="66"/>
                    <a:pt x="1084" y="60"/>
                    <a:pt x="1065" y="60"/>
                  </a:cubicBezTo>
                  <a:cubicBezTo>
                    <a:pt x="1058" y="0"/>
                    <a:pt x="1031" y="0"/>
                    <a:pt x="977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" name="Freeform 20"/>
            <p:cNvSpPr>
              <a:spLocks noEditPoints="1"/>
            </p:cNvSpPr>
            <p:nvPr/>
          </p:nvSpPr>
          <p:spPr bwMode="auto">
            <a:xfrm>
              <a:off x="2198688" y="2641600"/>
              <a:ext cx="100013" cy="90488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88" y="4"/>
                </a:cxn>
                <a:cxn ang="0">
                  <a:pos x="84" y="0"/>
                </a:cxn>
                <a:cxn ang="0">
                  <a:pos x="68" y="84"/>
                </a:cxn>
                <a:cxn ang="0">
                  <a:pos x="69" y="160"/>
                </a:cxn>
                <a:cxn ang="0">
                  <a:pos x="11" y="252"/>
                </a:cxn>
                <a:cxn ang="0">
                  <a:pos x="0" y="290"/>
                </a:cxn>
                <a:cxn ang="0">
                  <a:pos x="56" y="300"/>
                </a:cxn>
                <a:cxn ang="0">
                  <a:pos x="56" y="304"/>
                </a:cxn>
                <a:cxn ang="0">
                  <a:pos x="40" y="308"/>
                </a:cxn>
                <a:cxn ang="0">
                  <a:pos x="40" y="312"/>
                </a:cxn>
                <a:cxn ang="0">
                  <a:pos x="348" y="316"/>
                </a:cxn>
                <a:cxn ang="0">
                  <a:pos x="352" y="108"/>
                </a:cxn>
                <a:cxn ang="0">
                  <a:pos x="124" y="108"/>
                </a:cxn>
                <a:cxn ang="0">
                  <a:pos x="100" y="104"/>
                </a:cxn>
                <a:cxn ang="0">
                  <a:pos x="88" y="84"/>
                </a:cxn>
                <a:cxn ang="0">
                  <a:pos x="68" y="84"/>
                </a:cxn>
              </a:cxnLst>
              <a:rect l="0" t="0" r="r" b="b"/>
              <a:pathLst>
                <a:path w="352" h="316">
                  <a:moveTo>
                    <a:pt x="84" y="0"/>
                  </a:moveTo>
                  <a:cubicBezTo>
                    <a:pt x="88" y="4"/>
                    <a:pt x="88" y="4"/>
                    <a:pt x="88" y="4"/>
                  </a:cubicBezTo>
                  <a:cubicBezTo>
                    <a:pt x="84" y="0"/>
                    <a:pt x="84" y="0"/>
                    <a:pt x="84" y="0"/>
                  </a:cubicBezTo>
                  <a:moveTo>
                    <a:pt x="68" y="84"/>
                  </a:moveTo>
                  <a:cubicBezTo>
                    <a:pt x="69" y="160"/>
                    <a:pt x="69" y="160"/>
                    <a:pt x="69" y="160"/>
                  </a:cubicBezTo>
                  <a:cubicBezTo>
                    <a:pt x="11" y="252"/>
                    <a:pt x="11" y="252"/>
                    <a:pt x="11" y="252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56" y="300"/>
                    <a:pt x="56" y="300"/>
                    <a:pt x="56" y="300"/>
                  </a:cubicBezTo>
                  <a:cubicBezTo>
                    <a:pt x="56" y="304"/>
                    <a:pt x="56" y="304"/>
                    <a:pt x="56" y="304"/>
                  </a:cubicBezTo>
                  <a:cubicBezTo>
                    <a:pt x="40" y="308"/>
                    <a:pt x="40" y="308"/>
                    <a:pt x="40" y="308"/>
                  </a:cubicBezTo>
                  <a:cubicBezTo>
                    <a:pt x="40" y="312"/>
                    <a:pt x="40" y="312"/>
                    <a:pt x="40" y="312"/>
                  </a:cubicBezTo>
                  <a:cubicBezTo>
                    <a:pt x="348" y="316"/>
                    <a:pt x="348" y="316"/>
                    <a:pt x="348" y="316"/>
                  </a:cubicBezTo>
                  <a:cubicBezTo>
                    <a:pt x="352" y="108"/>
                    <a:pt x="352" y="108"/>
                    <a:pt x="352" y="108"/>
                  </a:cubicBezTo>
                  <a:cubicBezTo>
                    <a:pt x="124" y="108"/>
                    <a:pt x="124" y="108"/>
                    <a:pt x="124" y="108"/>
                  </a:cubicBezTo>
                  <a:cubicBezTo>
                    <a:pt x="121" y="94"/>
                    <a:pt x="104" y="86"/>
                    <a:pt x="100" y="104"/>
                  </a:cubicBezTo>
                  <a:cubicBezTo>
                    <a:pt x="88" y="84"/>
                    <a:pt x="88" y="84"/>
                    <a:pt x="88" y="84"/>
                  </a:cubicBezTo>
                  <a:lnTo>
                    <a:pt x="68" y="8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" name="Freeform 21"/>
            <p:cNvSpPr/>
            <p:nvPr/>
          </p:nvSpPr>
          <p:spPr bwMode="auto">
            <a:xfrm>
              <a:off x="1743075" y="1608138"/>
              <a:ext cx="785813" cy="592138"/>
            </a:xfrm>
            <a:custGeom>
              <a:avLst/>
              <a:gdLst/>
              <a:ahLst/>
              <a:cxnLst>
                <a:cxn ang="0">
                  <a:pos x="702" y="1175"/>
                </a:cxn>
                <a:cxn ang="0">
                  <a:pos x="663" y="1311"/>
                </a:cxn>
                <a:cxn ang="0">
                  <a:pos x="588" y="1427"/>
                </a:cxn>
                <a:cxn ang="0">
                  <a:pos x="500" y="1431"/>
                </a:cxn>
                <a:cxn ang="0">
                  <a:pos x="208" y="1441"/>
                </a:cxn>
                <a:cxn ang="0">
                  <a:pos x="16" y="1491"/>
                </a:cxn>
                <a:cxn ang="0">
                  <a:pos x="38" y="1623"/>
                </a:cxn>
                <a:cxn ang="0">
                  <a:pos x="132" y="1737"/>
                </a:cxn>
                <a:cxn ang="0">
                  <a:pos x="196" y="1779"/>
                </a:cxn>
                <a:cxn ang="0">
                  <a:pos x="151" y="1835"/>
                </a:cxn>
                <a:cxn ang="0">
                  <a:pos x="308" y="1911"/>
                </a:cxn>
                <a:cxn ang="0">
                  <a:pos x="332" y="1947"/>
                </a:cxn>
                <a:cxn ang="0">
                  <a:pos x="400" y="1977"/>
                </a:cxn>
                <a:cxn ang="0">
                  <a:pos x="468" y="1953"/>
                </a:cxn>
                <a:cxn ang="0">
                  <a:pos x="600" y="2075"/>
                </a:cxn>
                <a:cxn ang="0">
                  <a:pos x="624" y="2019"/>
                </a:cxn>
                <a:cxn ang="0">
                  <a:pos x="673" y="1875"/>
                </a:cxn>
                <a:cxn ang="0">
                  <a:pos x="772" y="1720"/>
                </a:cxn>
                <a:cxn ang="0">
                  <a:pos x="928" y="1692"/>
                </a:cxn>
                <a:cxn ang="0">
                  <a:pos x="1096" y="1748"/>
                </a:cxn>
                <a:cxn ang="0">
                  <a:pos x="1232" y="1828"/>
                </a:cxn>
                <a:cxn ang="0">
                  <a:pos x="1348" y="1784"/>
                </a:cxn>
                <a:cxn ang="0">
                  <a:pos x="1644" y="1877"/>
                </a:cxn>
                <a:cxn ang="0">
                  <a:pos x="1788" y="1790"/>
                </a:cxn>
                <a:cxn ang="0">
                  <a:pos x="2139" y="1830"/>
                </a:cxn>
                <a:cxn ang="0">
                  <a:pos x="2224" y="1757"/>
                </a:cxn>
                <a:cxn ang="0">
                  <a:pos x="2344" y="1727"/>
                </a:cxn>
                <a:cxn ang="0">
                  <a:pos x="2370" y="1543"/>
                </a:cxn>
                <a:cxn ang="0">
                  <a:pos x="2477" y="1363"/>
                </a:cxn>
                <a:cxn ang="0">
                  <a:pos x="2667" y="1159"/>
                </a:cxn>
                <a:cxn ang="0">
                  <a:pos x="2701" y="707"/>
                </a:cxn>
                <a:cxn ang="0">
                  <a:pos x="2751" y="563"/>
                </a:cxn>
                <a:cxn ang="0">
                  <a:pos x="2686" y="451"/>
                </a:cxn>
                <a:cxn ang="0">
                  <a:pos x="2619" y="287"/>
                </a:cxn>
                <a:cxn ang="0">
                  <a:pos x="2340" y="90"/>
                </a:cxn>
                <a:cxn ang="0">
                  <a:pos x="2003" y="11"/>
                </a:cxn>
                <a:cxn ang="0">
                  <a:pos x="933" y="712"/>
                </a:cxn>
              </a:cxnLst>
              <a:rect l="0" t="0" r="r" b="b"/>
              <a:pathLst>
                <a:path w="2751" h="2075">
                  <a:moveTo>
                    <a:pt x="708" y="763"/>
                  </a:moveTo>
                  <a:cubicBezTo>
                    <a:pt x="708" y="899"/>
                    <a:pt x="719" y="1041"/>
                    <a:pt x="702" y="1175"/>
                  </a:cubicBezTo>
                  <a:cubicBezTo>
                    <a:pt x="700" y="1195"/>
                    <a:pt x="708" y="1215"/>
                    <a:pt x="702" y="1235"/>
                  </a:cubicBezTo>
                  <a:cubicBezTo>
                    <a:pt x="694" y="1261"/>
                    <a:pt x="672" y="1285"/>
                    <a:pt x="663" y="1311"/>
                  </a:cubicBezTo>
                  <a:cubicBezTo>
                    <a:pt x="657" y="1327"/>
                    <a:pt x="659" y="1349"/>
                    <a:pt x="649" y="1362"/>
                  </a:cubicBezTo>
                  <a:cubicBezTo>
                    <a:pt x="628" y="1390"/>
                    <a:pt x="594" y="1385"/>
                    <a:pt x="588" y="1427"/>
                  </a:cubicBezTo>
                  <a:cubicBezTo>
                    <a:pt x="496" y="1419"/>
                    <a:pt x="496" y="1419"/>
                    <a:pt x="496" y="1419"/>
                  </a:cubicBezTo>
                  <a:cubicBezTo>
                    <a:pt x="500" y="1431"/>
                    <a:pt x="500" y="1431"/>
                    <a:pt x="500" y="1431"/>
                  </a:cubicBezTo>
                  <a:cubicBezTo>
                    <a:pt x="429" y="1431"/>
                    <a:pt x="359" y="1434"/>
                    <a:pt x="288" y="1439"/>
                  </a:cubicBezTo>
                  <a:cubicBezTo>
                    <a:pt x="262" y="1441"/>
                    <a:pt x="233" y="1434"/>
                    <a:pt x="208" y="1441"/>
                  </a:cubicBezTo>
                  <a:cubicBezTo>
                    <a:pt x="181" y="1447"/>
                    <a:pt x="168" y="1478"/>
                    <a:pt x="144" y="1490"/>
                  </a:cubicBezTo>
                  <a:cubicBezTo>
                    <a:pt x="111" y="1506"/>
                    <a:pt x="51" y="1494"/>
                    <a:pt x="16" y="1491"/>
                  </a:cubicBezTo>
                  <a:cubicBezTo>
                    <a:pt x="14" y="1517"/>
                    <a:pt x="0" y="1558"/>
                    <a:pt x="8" y="1583"/>
                  </a:cubicBezTo>
                  <a:cubicBezTo>
                    <a:pt x="13" y="1599"/>
                    <a:pt x="33" y="1607"/>
                    <a:pt x="38" y="1623"/>
                  </a:cubicBezTo>
                  <a:cubicBezTo>
                    <a:pt x="50" y="1656"/>
                    <a:pt x="49" y="1695"/>
                    <a:pt x="82" y="1721"/>
                  </a:cubicBezTo>
                  <a:cubicBezTo>
                    <a:pt x="95" y="1732"/>
                    <a:pt x="117" y="1728"/>
                    <a:pt x="132" y="1737"/>
                  </a:cubicBezTo>
                  <a:cubicBezTo>
                    <a:pt x="158" y="1752"/>
                    <a:pt x="161" y="1774"/>
                    <a:pt x="196" y="1775"/>
                  </a:cubicBezTo>
                  <a:cubicBezTo>
                    <a:pt x="196" y="1779"/>
                    <a:pt x="196" y="1779"/>
                    <a:pt x="196" y="1779"/>
                  </a:cubicBezTo>
                  <a:cubicBezTo>
                    <a:pt x="183" y="1780"/>
                    <a:pt x="165" y="1770"/>
                    <a:pt x="153" y="1774"/>
                  </a:cubicBezTo>
                  <a:cubicBezTo>
                    <a:pt x="138" y="1779"/>
                    <a:pt x="140" y="1827"/>
                    <a:pt x="151" y="1835"/>
                  </a:cubicBezTo>
                  <a:cubicBezTo>
                    <a:pt x="173" y="1856"/>
                    <a:pt x="224" y="1895"/>
                    <a:pt x="252" y="1905"/>
                  </a:cubicBezTo>
                  <a:cubicBezTo>
                    <a:pt x="269" y="1911"/>
                    <a:pt x="290" y="1908"/>
                    <a:pt x="308" y="1911"/>
                  </a:cubicBezTo>
                  <a:cubicBezTo>
                    <a:pt x="323" y="1884"/>
                    <a:pt x="373" y="1900"/>
                    <a:pt x="362" y="1927"/>
                  </a:cubicBezTo>
                  <a:cubicBezTo>
                    <a:pt x="358" y="1937"/>
                    <a:pt x="341" y="1943"/>
                    <a:pt x="332" y="1947"/>
                  </a:cubicBezTo>
                  <a:cubicBezTo>
                    <a:pt x="342" y="1975"/>
                    <a:pt x="370" y="2022"/>
                    <a:pt x="396" y="2035"/>
                  </a:cubicBezTo>
                  <a:cubicBezTo>
                    <a:pt x="401" y="2019"/>
                    <a:pt x="393" y="1989"/>
                    <a:pt x="400" y="1977"/>
                  </a:cubicBezTo>
                  <a:cubicBezTo>
                    <a:pt x="407" y="1967"/>
                    <a:pt x="422" y="1969"/>
                    <a:pt x="432" y="1966"/>
                  </a:cubicBezTo>
                  <a:cubicBezTo>
                    <a:pt x="444" y="1963"/>
                    <a:pt x="456" y="1952"/>
                    <a:pt x="468" y="1953"/>
                  </a:cubicBezTo>
                  <a:cubicBezTo>
                    <a:pt x="502" y="1956"/>
                    <a:pt x="525" y="2009"/>
                    <a:pt x="546" y="2030"/>
                  </a:cubicBezTo>
                  <a:cubicBezTo>
                    <a:pt x="565" y="2049"/>
                    <a:pt x="584" y="2049"/>
                    <a:pt x="600" y="2075"/>
                  </a:cubicBezTo>
                  <a:cubicBezTo>
                    <a:pt x="624" y="2047"/>
                    <a:pt x="624" y="2047"/>
                    <a:pt x="624" y="2047"/>
                  </a:cubicBezTo>
                  <a:cubicBezTo>
                    <a:pt x="612" y="2036"/>
                    <a:pt x="612" y="2031"/>
                    <a:pt x="624" y="2019"/>
                  </a:cubicBezTo>
                  <a:cubicBezTo>
                    <a:pt x="615" y="1994"/>
                    <a:pt x="610" y="1944"/>
                    <a:pt x="627" y="1920"/>
                  </a:cubicBezTo>
                  <a:cubicBezTo>
                    <a:pt x="639" y="1902"/>
                    <a:pt x="661" y="1894"/>
                    <a:pt x="673" y="1875"/>
                  </a:cubicBezTo>
                  <a:cubicBezTo>
                    <a:pt x="696" y="1839"/>
                    <a:pt x="704" y="1801"/>
                    <a:pt x="704" y="1759"/>
                  </a:cubicBezTo>
                  <a:cubicBezTo>
                    <a:pt x="732" y="1755"/>
                    <a:pt x="745" y="1727"/>
                    <a:pt x="772" y="1720"/>
                  </a:cubicBezTo>
                  <a:cubicBezTo>
                    <a:pt x="813" y="1709"/>
                    <a:pt x="853" y="1724"/>
                    <a:pt x="892" y="1714"/>
                  </a:cubicBezTo>
                  <a:cubicBezTo>
                    <a:pt x="907" y="1710"/>
                    <a:pt x="913" y="1691"/>
                    <a:pt x="928" y="1692"/>
                  </a:cubicBezTo>
                  <a:cubicBezTo>
                    <a:pt x="962" y="1692"/>
                    <a:pt x="996" y="1719"/>
                    <a:pt x="1028" y="1727"/>
                  </a:cubicBezTo>
                  <a:cubicBezTo>
                    <a:pt x="1055" y="1734"/>
                    <a:pt x="1073" y="1726"/>
                    <a:pt x="1096" y="1748"/>
                  </a:cubicBezTo>
                  <a:cubicBezTo>
                    <a:pt x="1124" y="1773"/>
                    <a:pt x="1145" y="1828"/>
                    <a:pt x="1180" y="1841"/>
                  </a:cubicBezTo>
                  <a:cubicBezTo>
                    <a:pt x="1202" y="1849"/>
                    <a:pt x="1214" y="1835"/>
                    <a:pt x="1232" y="1828"/>
                  </a:cubicBezTo>
                  <a:cubicBezTo>
                    <a:pt x="1242" y="1824"/>
                    <a:pt x="1254" y="1826"/>
                    <a:pt x="1264" y="1822"/>
                  </a:cubicBezTo>
                  <a:cubicBezTo>
                    <a:pt x="1292" y="1811"/>
                    <a:pt x="1317" y="1784"/>
                    <a:pt x="1348" y="1784"/>
                  </a:cubicBezTo>
                  <a:cubicBezTo>
                    <a:pt x="1394" y="1783"/>
                    <a:pt x="1444" y="1832"/>
                    <a:pt x="1482" y="1854"/>
                  </a:cubicBezTo>
                  <a:cubicBezTo>
                    <a:pt x="1521" y="1876"/>
                    <a:pt x="1599" y="1883"/>
                    <a:pt x="1644" y="1877"/>
                  </a:cubicBezTo>
                  <a:cubicBezTo>
                    <a:pt x="1673" y="1873"/>
                    <a:pt x="1683" y="1832"/>
                    <a:pt x="1712" y="1823"/>
                  </a:cubicBezTo>
                  <a:cubicBezTo>
                    <a:pt x="1727" y="1794"/>
                    <a:pt x="1760" y="1796"/>
                    <a:pt x="1788" y="1790"/>
                  </a:cubicBezTo>
                  <a:cubicBezTo>
                    <a:pt x="1856" y="1775"/>
                    <a:pt x="1949" y="1767"/>
                    <a:pt x="2015" y="1793"/>
                  </a:cubicBezTo>
                  <a:cubicBezTo>
                    <a:pt x="2051" y="1806"/>
                    <a:pt x="2099" y="1841"/>
                    <a:pt x="2139" y="1830"/>
                  </a:cubicBezTo>
                  <a:cubicBezTo>
                    <a:pt x="2156" y="1826"/>
                    <a:pt x="2157" y="1807"/>
                    <a:pt x="2169" y="1798"/>
                  </a:cubicBezTo>
                  <a:cubicBezTo>
                    <a:pt x="2185" y="1785"/>
                    <a:pt x="2205" y="1765"/>
                    <a:pt x="2224" y="1757"/>
                  </a:cubicBezTo>
                  <a:cubicBezTo>
                    <a:pt x="2238" y="1751"/>
                    <a:pt x="2254" y="1756"/>
                    <a:pt x="2268" y="1750"/>
                  </a:cubicBezTo>
                  <a:cubicBezTo>
                    <a:pt x="2300" y="1734"/>
                    <a:pt x="2302" y="1710"/>
                    <a:pt x="2344" y="1727"/>
                  </a:cubicBezTo>
                  <a:cubicBezTo>
                    <a:pt x="2319" y="1600"/>
                    <a:pt x="2319" y="1600"/>
                    <a:pt x="2319" y="1600"/>
                  </a:cubicBezTo>
                  <a:cubicBezTo>
                    <a:pt x="2370" y="1543"/>
                    <a:pt x="2370" y="1543"/>
                    <a:pt x="2370" y="1543"/>
                  </a:cubicBezTo>
                  <a:cubicBezTo>
                    <a:pt x="2379" y="1499"/>
                    <a:pt x="2379" y="1499"/>
                    <a:pt x="2379" y="1499"/>
                  </a:cubicBezTo>
                  <a:cubicBezTo>
                    <a:pt x="2477" y="1363"/>
                    <a:pt x="2477" y="1363"/>
                    <a:pt x="2477" y="1363"/>
                  </a:cubicBezTo>
                  <a:cubicBezTo>
                    <a:pt x="2613" y="1223"/>
                    <a:pt x="2613" y="1223"/>
                    <a:pt x="2613" y="1223"/>
                  </a:cubicBezTo>
                  <a:cubicBezTo>
                    <a:pt x="2667" y="1159"/>
                    <a:pt x="2667" y="1159"/>
                    <a:pt x="2667" y="1159"/>
                  </a:cubicBezTo>
                  <a:cubicBezTo>
                    <a:pt x="2673" y="1043"/>
                    <a:pt x="2673" y="1043"/>
                    <a:pt x="2673" y="1043"/>
                  </a:cubicBezTo>
                  <a:cubicBezTo>
                    <a:pt x="2701" y="707"/>
                    <a:pt x="2701" y="707"/>
                    <a:pt x="2701" y="707"/>
                  </a:cubicBezTo>
                  <a:cubicBezTo>
                    <a:pt x="2728" y="611"/>
                    <a:pt x="2728" y="611"/>
                    <a:pt x="2728" y="611"/>
                  </a:cubicBezTo>
                  <a:cubicBezTo>
                    <a:pt x="2751" y="563"/>
                    <a:pt x="2751" y="563"/>
                    <a:pt x="2751" y="563"/>
                  </a:cubicBezTo>
                  <a:cubicBezTo>
                    <a:pt x="2688" y="491"/>
                    <a:pt x="2688" y="491"/>
                    <a:pt x="2688" y="491"/>
                  </a:cubicBezTo>
                  <a:cubicBezTo>
                    <a:pt x="2686" y="451"/>
                    <a:pt x="2686" y="451"/>
                    <a:pt x="2686" y="451"/>
                  </a:cubicBezTo>
                  <a:cubicBezTo>
                    <a:pt x="2624" y="363"/>
                    <a:pt x="2624" y="363"/>
                    <a:pt x="2624" y="363"/>
                  </a:cubicBezTo>
                  <a:cubicBezTo>
                    <a:pt x="2619" y="287"/>
                    <a:pt x="2619" y="287"/>
                    <a:pt x="2619" y="287"/>
                  </a:cubicBezTo>
                  <a:cubicBezTo>
                    <a:pt x="2543" y="91"/>
                    <a:pt x="2543" y="91"/>
                    <a:pt x="2543" y="91"/>
                  </a:cubicBezTo>
                  <a:cubicBezTo>
                    <a:pt x="2401" y="190"/>
                    <a:pt x="2371" y="110"/>
                    <a:pt x="2340" y="90"/>
                  </a:cubicBezTo>
                  <a:cubicBezTo>
                    <a:pt x="2284" y="54"/>
                    <a:pt x="2196" y="48"/>
                    <a:pt x="2132" y="29"/>
                  </a:cubicBezTo>
                  <a:cubicBezTo>
                    <a:pt x="2107" y="21"/>
                    <a:pt x="2029" y="0"/>
                    <a:pt x="2003" y="11"/>
                  </a:cubicBezTo>
                  <a:cubicBezTo>
                    <a:pt x="1884" y="61"/>
                    <a:pt x="1250" y="424"/>
                    <a:pt x="1183" y="481"/>
                  </a:cubicBezTo>
                  <a:cubicBezTo>
                    <a:pt x="1160" y="501"/>
                    <a:pt x="962" y="707"/>
                    <a:pt x="933" y="712"/>
                  </a:cubicBezTo>
                  <a:cubicBezTo>
                    <a:pt x="873" y="724"/>
                    <a:pt x="769" y="758"/>
                    <a:pt x="708" y="76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" name="Freeform 22"/>
            <p:cNvSpPr>
              <a:spLocks noEditPoints="1"/>
            </p:cNvSpPr>
            <p:nvPr/>
          </p:nvSpPr>
          <p:spPr bwMode="auto">
            <a:xfrm>
              <a:off x="1127125" y="1531938"/>
              <a:ext cx="819150" cy="747713"/>
            </a:xfrm>
            <a:custGeom>
              <a:avLst/>
              <a:gdLst/>
              <a:ahLst/>
              <a:cxnLst>
                <a:cxn ang="0">
                  <a:pos x="1021" y="359"/>
                </a:cxn>
                <a:cxn ang="0">
                  <a:pos x="1153" y="1483"/>
                </a:cxn>
                <a:cxn ang="0">
                  <a:pos x="1168" y="1663"/>
                </a:cxn>
                <a:cxn ang="0">
                  <a:pos x="520" y="1635"/>
                </a:cxn>
                <a:cxn ang="0">
                  <a:pos x="412" y="1686"/>
                </a:cxn>
                <a:cxn ang="0">
                  <a:pos x="240" y="1723"/>
                </a:cxn>
                <a:cxn ang="0">
                  <a:pos x="196" y="1687"/>
                </a:cxn>
                <a:cxn ang="0">
                  <a:pos x="116" y="1653"/>
                </a:cxn>
                <a:cxn ang="0">
                  <a:pos x="66" y="1771"/>
                </a:cxn>
                <a:cxn ang="0">
                  <a:pos x="10" y="1858"/>
                </a:cxn>
                <a:cxn ang="0">
                  <a:pos x="52" y="1943"/>
                </a:cxn>
                <a:cxn ang="0">
                  <a:pos x="96" y="2031"/>
                </a:cxn>
                <a:cxn ang="0">
                  <a:pos x="149" y="2115"/>
                </a:cxn>
                <a:cxn ang="0">
                  <a:pos x="148" y="2203"/>
                </a:cxn>
                <a:cxn ang="0">
                  <a:pos x="228" y="2243"/>
                </a:cxn>
                <a:cxn ang="0">
                  <a:pos x="344" y="2244"/>
                </a:cxn>
                <a:cxn ang="0">
                  <a:pos x="472" y="2242"/>
                </a:cxn>
                <a:cxn ang="0">
                  <a:pos x="572" y="2211"/>
                </a:cxn>
                <a:cxn ang="0">
                  <a:pos x="595" y="2275"/>
                </a:cxn>
                <a:cxn ang="0">
                  <a:pos x="672" y="2395"/>
                </a:cxn>
                <a:cxn ang="0">
                  <a:pos x="678" y="2447"/>
                </a:cxn>
                <a:cxn ang="0">
                  <a:pos x="696" y="2545"/>
                </a:cxn>
                <a:cxn ang="0">
                  <a:pos x="750" y="2591"/>
                </a:cxn>
                <a:cxn ang="0">
                  <a:pos x="909" y="2597"/>
                </a:cxn>
                <a:cxn ang="0">
                  <a:pos x="980" y="2559"/>
                </a:cxn>
                <a:cxn ang="0">
                  <a:pos x="980" y="2511"/>
                </a:cxn>
                <a:cxn ang="0">
                  <a:pos x="1028" y="2515"/>
                </a:cxn>
                <a:cxn ang="0">
                  <a:pos x="1048" y="2583"/>
                </a:cxn>
                <a:cxn ang="0">
                  <a:pos x="1184" y="2435"/>
                </a:cxn>
                <a:cxn ang="0">
                  <a:pos x="1219" y="2304"/>
                </a:cxn>
                <a:cxn ang="0">
                  <a:pos x="1364" y="2223"/>
                </a:cxn>
                <a:cxn ang="0">
                  <a:pos x="1404" y="2147"/>
                </a:cxn>
                <a:cxn ang="0">
                  <a:pos x="1440" y="2032"/>
                </a:cxn>
                <a:cxn ang="0">
                  <a:pos x="1568" y="1979"/>
                </a:cxn>
                <a:cxn ang="0">
                  <a:pos x="1672" y="1901"/>
                </a:cxn>
                <a:cxn ang="0">
                  <a:pos x="1782" y="1895"/>
                </a:cxn>
                <a:cxn ang="0">
                  <a:pos x="1840" y="1840"/>
                </a:cxn>
                <a:cxn ang="0">
                  <a:pos x="1944" y="1791"/>
                </a:cxn>
                <a:cxn ang="0">
                  <a:pos x="2136" y="1766"/>
                </a:cxn>
                <a:cxn ang="0">
                  <a:pos x="2244" y="1765"/>
                </a:cxn>
                <a:cxn ang="0">
                  <a:pos x="2372" y="1705"/>
                </a:cxn>
                <a:cxn ang="0">
                  <a:pos x="2652" y="1699"/>
                </a:cxn>
                <a:cxn ang="0">
                  <a:pos x="2752" y="1683"/>
                </a:cxn>
                <a:cxn ang="0">
                  <a:pos x="2802" y="1633"/>
                </a:cxn>
                <a:cxn ang="0">
                  <a:pos x="2862" y="1507"/>
                </a:cxn>
                <a:cxn ang="0">
                  <a:pos x="2871" y="1395"/>
                </a:cxn>
                <a:cxn ang="0">
                  <a:pos x="2868" y="1031"/>
                </a:cxn>
                <a:cxn ang="0">
                  <a:pos x="2704" y="991"/>
                </a:cxn>
                <a:cxn ang="0">
                  <a:pos x="2687" y="914"/>
                </a:cxn>
                <a:cxn ang="0">
                  <a:pos x="2512" y="838"/>
                </a:cxn>
                <a:cxn ang="0">
                  <a:pos x="2415" y="789"/>
                </a:cxn>
                <a:cxn ang="0">
                  <a:pos x="2335" y="700"/>
                </a:cxn>
                <a:cxn ang="0">
                  <a:pos x="2032" y="501"/>
                </a:cxn>
                <a:cxn ang="0">
                  <a:pos x="1296" y="19"/>
                </a:cxn>
                <a:cxn ang="0">
                  <a:pos x="980" y="19"/>
                </a:cxn>
                <a:cxn ang="0">
                  <a:pos x="185" y="2618"/>
                </a:cxn>
              </a:cxnLst>
              <a:rect l="0" t="0" r="r" b="b"/>
              <a:pathLst>
                <a:path w="2871" h="2618">
                  <a:moveTo>
                    <a:pt x="980" y="19"/>
                  </a:moveTo>
                  <a:cubicBezTo>
                    <a:pt x="1021" y="359"/>
                    <a:pt x="1021" y="359"/>
                    <a:pt x="1021" y="359"/>
                  </a:cubicBezTo>
                  <a:cubicBezTo>
                    <a:pt x="1117" y="1171"/>
                    <a:pt x="1117" y="1171"/>
                    <a:pt x="1117" y="1171"/>
                  </a:cubicBezTo>
                  <a:cubicBezTo>
                    <a:pt x="1153" y="1483"/>
                    <a:pt x="1153" y="1483"/>
                    <a:pt x="1153" y="1483"/>
                  </a:cubicBezTo>
                  <a:cubicBezTo>
                    <a:pt x="1195" y="1539"/>
                    <a:pt x="1195" y="1539"/>
                    <a:pt x="1195" y="1539"/>
                  </a:cubicBezTo>
                  <a:cubicBezTo>
                    <a:pt x="1168" y="1663"/>
                    <a:pt x="1168" y="1663"/>
                    <a:pt x="1168" y="1663"/>
                  </a:cubicBezTo>
                  <a:cubicBezTo>
                    <a:pt x="668" y="1663"/>
                    <a:pt x="668" y="1663"/>
                    <a:pt x="668" y="1663"/>
                  </a:cubicBezTo>
                  <a:cubicBezTo>
                    <a:pt x="637" y="1663"/>
                    <a:pt x="506" y="1680"/>
                    <a:pt x="520" y="1635"/>
                  </a:cubicBezTo>
                  <a:cubicBezTo>
                    <a:pt x="491" y="1629"/>
                    <a:pt x="486" y="1652"/>
                    <a:pt x="488" y="1675"/>
                  </a:cubicBezTo>
                  <a:cubicBezTo>
                    <a:pt x="412" y="1686"/>
                    <a:pt x="412" y="1686"/>
                    <a:pt x="412" y="1686"/>
                  </a:cubicBezTo>
                  <a:cubicBezTo>
                    <a:pt x="264" y="1675"/>
                    <a:pt x="264" y="1675"/>
                    <a:pt x="264" y="1675"/>
                  </a:cubicBezTo>
                  <a:cubicBezTo>
                    <a:pt x="240" y="1723"/>
                    <a:pt x="240" y="1723"/>
                    <a:pt x="240" y="1723"/>
                  </a:cubicBezTo>
                  <a:cubicBezTo>
                    <a:pt x="232" y="1723"/>
                    <a:pt x="232" y="1723"/>
                    <a:pt x="232" y="1723"/>
                  </a:cubicBezTo>
                  <a:cubicBezTo>
                    <a:pt x="223" y="1708"/>
                    <a:pt x="209" y="1699"/>
                    <a:pt x="196" y="1687"/>
                  </a:cubicBezTo>
                  <a:cubicBezTo>
                    <a:pt x="181" y="1675"/>
                    <a:pt x="169" y="1656"/>
                    <a:pt x="155" y="1646"/>
                  </a:cubicBezTo>
                  <a:cubicBezTo>
                    <a:pt x="140" y="1635"/>
                    <a:pt x="128" y="1645"/>
                    <a:pt x="116" y="1653"/>
                  </a:cubicBezTo>
                  <a:cubicBezTo>
                    <a:pt x="84" y="1672"/>
                    <a:pt x="74" y="1694"/>
                    <a:pt x="70" y="1731"/>
                  </a:cubicBezTo>
                  <a:cubicBezTo>
                    <a:pt x="68" y="1746"/>
                    <a:pt x="75" y="1758"/>
                    <a:pt x="66" y="1771"/>
                  </a:cubicBezTo>
                  <a:cubicBezTo>
                    <a:pt x="48" y="1798"/>
                    <a:pt x="26" y="1789"/>
                    <a:pt x="0" y="1795"/>
                  </a:cubicBezTo>
                  <a:cubicBezTo>
                    <a:pt x="10" y="1858"/>
                    <a:pt x="10" y="1858"/>
                    <a:pt x="10" y="1858"/>
                  </a:cubicBezTo>
                  <a:cubicBezTo>
                    <a:pt x="41" y="1892"/>
                    <a:pt x="41" y="1892"/>
                    <a:pt x="41" y="1892"/>
                  </a:cubicBezTo>
                  <a:cubicBezTo>
                    <a:pt x="52" y="1943"/>
                    <a:pt x="52" y="1943"/>
                    <a:pt x="52" y="1943"/>
                  </a:cubicBezTo>
                  <a:cubicBezTo>
                    <a:pt x="44" y="1955"/>
                    <a:pt x="31" y="1977"/>
                    <a:pt x="36" y="1991"/>
                  </a:cubicBezTo>
                  <a:cubicBezTo>
                    <a:pt x="43" y="2015"/>
                    <a:pt x="76" y="2071"/>
                    <a:pt x="96" y="2031"/>
                  </a:cubicBezTo>
                  <a:cubicBezTo>
                    <a:pt x="104" y="2031"/>
                    <a:pt x="104" y="2031"/>
                    <a:pt x="104" y="2031"/>
                  </a:cubicBezTo>
                  <a:cubicBezTo>
                    <a:pt x="116" y="2055"/>
                    <a:pt x="146" y="2091"/>
                    <a:pt x="149" y="2115"/>
                  </a:cubicBezTo>
                  <a:cubicBezTo>
                    <a:pt x="151" y="2130"/>
                    <a:pt x="142" y="2145"/>
                    <a:pt x="142" y="2159"/>
                  </a:cubicBezTo>
                  <a:cubicBezTo>
                    <a:pt x="143" y="2174"/>
                    <a:pt x="150" y="2188"/>
                    <a:pt x="148" y="2203"/>
                  </a:cubicBezTo>
                  <a:cubicBezTo>
                    <a:pt x="143" y="2240"/>
                    <a:pt x="120" y="2250"/>
                    <a:pt x="165" y="2274"/>
                  </a:cubicBezTo>
                  <a:cubicBezTo>
                    <a:pt x="197" y="2290"/>
                    <a:pt x="200" y="2240"/>
                    <a:pt x="228" y="2243"/>
                  </a:cubicBezTo>
                  <a:cubicBezTo>
                    <a:pt x="254" y="2246"/>
                    <a:pt x="251" y="2293"/>
                    <a:pt x="276" y="2293"/>
                  </a:cubicBezTo>
                  <a:cubicBezTo>
                    <a:pt x="301" y="2293"/>
                    <a:pt x="316" y="2250"/>
                    <a:pt x="344" y="2244"/>
                  </a:cubicBezTo>
                  <a:cubicBezTo>
                    <a:pt x="376" y="2237"/>
                    <a:pt x="402" y="2267"/>
                    <a:pt x="432" y="2269"/>
                  </a:cubicBezTo>
                  <a:cubicBezTo>
                    <a:pt x="454" y="2271"/>
                    <a:pt x="457" y="2252"/>
                    <a:pt x="472" y="2242"/>
                  </a:cubicBezTo>
                  <a:cubicBezTo>
                    <a:pt x="499" y="2225"/>
                    <a:pt x="536" y="2233"/>
                    <a:pt x="504" y="2191"/>
                  </a:cubicBezTo>
                  <a:cubicBezTo>
                    <a:pt x="572" y="2211"/>
                    <a:pt x="572" y="2211"/>
                    <a:pt x="572" y="2211"/>
                  </a:cubicBezTo>
                  <a:cubicBezTo>
                    <a:pt x="572" y="2215"/>
                    <a:pt x="572" y="2215"/>
                    <a:pt x="572" y="2215"/>
                  </a:cubicBezTo>
                  <a:cubicBezTo>
                    <a:pt x="555" y="2240"/>
                    <a:pt x="586" y="2254"/>
                    <a:pt x="595" y="2275"/>
                  </a:cubicBezTo>
                  <a:cubicBezTo>
                    <a:pt x="602" y="2293"/>
                    <a:pt x="595" y="2318"/>
                    <a:pt x="592" y="2335"/>
                  </a:cubicBezTo>
                  <a:cubicBezTo>
                    <a:pt x="613" y="2342"/>
                    <a:pt x="662" y="2376"/>
                    <a:pt x="672" y="2395"/>
                  </a:cubicBezTo>
                  <a:cubicBezTo>
                    <a:pt x="641" y="2393"/>
                    <a:pt x="615" y="2431"/>
                    <a:pt x="620" y="2459"/>
                  </a:cubicBezTo>
                  <a:cubicBezTo>
                    <a:pt x="633" y="2457"/>
                    <a:pt x="667" y="2439"/>
                    <a:pt x="678" y="2447"/>
                  </a:cubicBezTo>
                  <a:cubicBezTo>
                    <a:pt x="688" y="2455"/>
                    <a:pt x="681" y="2487"/>
                    <a:pt x="683" y="2499"/>
                  </a:cubicBezTo>
                  <a:cubicBezTo>
                    <a:pt x="686" y="2513"/>
                    <a:pt x="685" y="2535"/>
                    <a:pt x="696" y="2545"/>
                  </a:cubicBezTo>
                  <a:cubicBezTo>
                    <a:pt x="706" y="2556"/>
                    <a:pt x="724" y="2556"/>
                    <a:pt x="735" y="2567"/>
                  </a:cubicBezTo>
                  <a:cubicBezTo>
                    <a:pt x="742" y="2573"/>
                    <a:pt x="743" y="2586"/>
                    <a:pt x="750" y="2591"/>
                  </a:cubicBezTo>
                  <a:cubicBezTo>
                    <a:pt x="770" y="2604"/>
                    <a:pt x="785" y="2574"/>
                    <a:pt x="784" y="2559"/>
                  </a:cubicBezTo>
                  <a:cubicBezTo>
                    <a:pt x="837" y="2537"/>
                    <a:pt x="860" y="2589"/>
                    <a:pt x="909" y="2597"/>
                  </a:cubicBezTo>
                  <a:cubicBezTo>
                    <a:pt x="929" y="2600"/>
                    <a:pt x="924" y="2579"/>
                    <a:pt x="920" y="2567"/>
                  </a:cubicBezTo>
                  <a:cubicBezTo>
                    <a:pt x="980" y="2559"/>
                    <a:pt x="980" y="2559"/>
                    <a:pt x="980" y="2559"/>
                  </a:cubicBezTo>
                  <a:cubicBezTo>
                    <a:pt x="976" y="2511"/>
                    <a:pt x="976" y="2511"/>
                    <a:pt x="976" y="2511"/>
                  </a:cubicBezTo>
                  <a:cubicBezTo>
                    <a:pt x="980" y="2511"/>
                    <a:pt x="980" y="2511"/>
                    <a:pt x="980" y="2511"/>
                  </a:cubicBezTo>
                  <a:cubicBezTo>
                    <a:pt x="991" y="2528"/>
                    <a:pt x="1011" y="2528"/>
                    <a:pt x="1028" y="2519"/>
                  </a:cubicBezTo>
                  <a:cubicBezTo>
                    <a:pt x="1028" y="2515"/>
                    <a:pt x="1028" y="2515"/>
                    <a:pt x="1028" y="2515"/>
                  </a:cubicBezTo>
                  <a:cubicBezTo>
                    <a:pt x="1020" y="2499"/>
                    <a:pt x="1020" y="2499"/>
                    <a:pt x="1020" y="2499"/>
                  </a:cubicBezTo>
                  <a:cubicBezTo>
                    <a:pt x="1059" y="2497"/>
                    <a:pt x="1053" y="2555"/>
                    <a:pt x="1048" y="2583"/>
                  </a:cubicBezTo>
                  <a:cubicBezTo>
                    <a:pt x="1100" y="2602"/>
                    <a:pt x="1117" y="2526"/>
                    <a:pt x="1168" y="2551"/>
                  </a:cubicBezTo>
                  <a:cubicBezTo>
                    <a:pt x="1194" y="2509"/>
                    <a:pt x="1183" y="2479"/>
                    <a:pt x="1184" y="2435"/>
                  </a:cubicBezTo>
                  <a:cubicBezTo>
                    <a:pt x="1215" y="2432"/>
                    <a:pt x="1237" y="2381"/>
                    <a:pt x="1229" y="2351"/>
                  </a:cubicBezTo>
                  <a:cubicBezTo>
                    <a:pt x="1225" y="2335"/>
                    <a:pt x="1208" y="2321"/>
                    <a:pt x="1219" y="2304"/>
                  </a:cubicBezTo>
                  <a:cubicBezTo>
                    <a:pt x="1241" y="2266"/>
                    <a:pt x="1290" y="2281"/>
                    <a:pt x="1323" y="2265"/>
                  </a:cubicBezTo>
                  <a:cubicBezTo>
                    <a:pt x="1337" y="2258"/>
                    <a:pt x="1347" y="2233"/>
                    <a:pt x="1364" y="2223"/>
                  </a:cubicBezTo>
                  <a:cubicBezTo>
                    <a:pt x="1360" y="2151"/>
                    <a:pt x="1360" y="2151"/>
                    <a:pt x="1360" y="2151"/>
                  </a:cubicBezTo>
                  <a:cubicBezTo>
                    <a:pt x="1404" y="2147"/>
                    <a:pt x="1404" y="2147"/>
                    <a:pt x="1404" y="2147"/>
                  </a:cubicBezTo>
                  <a:cubicBezTo>
                    <a:pt x="1404" y="2103"/>
                    <a:pt x="1404" y="2103"/>
                    <a:pt x="1404" y="2103"/>
                  </a:cubicBezTo>
                  <a:cubicBezTo>
                    <a:pt x="1373" y="2079"/>
                    <a:pt x="1405" y="2037"/>
                    <a:pt x="1440" y="2032"/>
                  </a:cubicBezTo>
                  <a:cubicBezTo>
                    <a:pt x="1455" y="2030"/>
                    <a:pt x="1543" y="2104"/>
                    <a:pt x="1536" y="2055"/>
                  </a:cubicBezTo>
                  <a:cubicBezTo>
                    <a:pt x="1581" y="2055"/>
                    <a:pt x="1568" y="2016"/>
                    <a:pt x="1568" y="1979"/>
                  </a:cubicBezTo>
                  <a:cubicBezTo>
                    <a:pt x="1632" y="1991"/>
                    <a:pt x="1632" y="1991"/>
                    <a:pt x="1632" y="1991"/>
                  </a:cubicBezTo>
                  <a:cubicBezTo>
                    <a:pt x="1632" y="1945"/>
                    <a:pt x="1633" y="1930"/>
                    <a:pt x="1672" y="1901"/>
                  </a:cubicBezTo>
                  <a:cubicBezTo>
                    <a:pt x="1682" y="1893"/>
                    <a:pt x="1690" y="1881"/>
                    <a:pt x="1704" y="1882"/>
                  </a:cubicBezTo>
                  <a:cubicBezTo>
                    <a:pt x="1727" y="1883"/>
                    <a:pt x="1759" y="1915"/>
                    <a:pt x="1782" y="1895"/>
                  </a:cubicBezTo>
                  <a:cubicBezTo>
                    <a:pt x="1793" y="1885"/>
                    <a:pt x="1784" y="1865"/>
                    <a:pt x="1795" y="1854"/>
                  </a:cubicBezTo>
                  <a:cubicBezTo>
                    <a:pt x="1805" y="1843"/>
                    <a:pt x="1827" y="1846"/>
                    <a:pt x="1840" y="1840"/>
                  </a:cubicBezTo>
                  <a:cubicBezTo>
                    <a:pt x="1860" y="1831"/>
                    <a:pt x="1876" y="1814"/>
                    <a:pt x="1896" y="1805"/>
                  </a:cubicBezTo>
                  <a:cubicBezTo>
                    <a:pt x="1911" y="1798"/>
                    <a:pt x="1929" y="1799"/>
                    <a:pt x="1944" y="1791"/>
                  </a:cubicBezTo>
                  <a:cubicBezTo>
                    <a:pt x="1968" y="1779"/>
                    <a:pt x="1983" y="1748"/>
                    <a:pt x="2012" y="1744"/>
                  </a:cubicBezTo>
                  <a:cubicBezTo>
                    <a:pt x="2056" y="1737"/>
                    <a:pt x="2095" y="1759"/>
                    <a:pt x="2136" y="1766"/>
                  </a:cubicBezTo>
                  <a:cubicBezTo>
                    <a:pt x="2158" y="1770"/>
                    <a:pt x="2182" y="1760"/>
                    <a:pt x="2204" y="1759"/>
                  </a:cubicBezTo>
                  <a:cubicBezTo>
                    <a:pt x="2218" y="1759"/>
                    <a:pt x="2230" y="1766"/>
                    <a:pt x="2244" y="1765"/>
                  </a:cubicBezTo>
                  <a:cubicBezTo>
                    <a:pt x="2270" y="1762"/>
                    <a:pt x="2297" y="1758"/>
                    <a:pt x="2320" y="1743"/>
                  </a:cubicBezTo>
                  <a:cubicBezTo>
                    <a:pt x="2338" y="1731"/>
                    <a:pt x="2349" y="1710"/>
                    <a:pt x="2372" y="1705"/>
                  </a:cubicBezTo>
                  <a:cubicBezTo>
                    <a:pt x="2398" y="1699"/>
                    <a:pt x="2429" y="1704"/>
                    <a:pt x="2456" y="1703"/>
                  </a:cubicBezTo>
                  <a:cubicBezTo>
                    <a:pt x="2522" y="1700"/>
                    <a:pt x="2586" y="1699"/>
                    <a:pt x="2652" y="1699"/>
                  </a:cubicBezTo>
                  <a:cubicBezTo>
                    <a:pt x="2668" y="1670"/>
                    <a:pt x="2714" y="1690"/>
                    <a:pt x="2740" y="1695"/>
                  </a:cubicBezTo>
                  <a:cubicBezTo>
                    <a:pt x="2752" y="1683"/>
                    <a:pt x="2752" y="1683"/>
                    <a:pt x="2752" y="1683"/>
                  </a:cubicBezTo>
                  <a:cubicBezTo>
                    <a:pt x="2744" y="1667"/>
                    <a:pt x="2744" y="1667"/>
                    <a:pt x="2744" y="1667"/>
                  </a:cubicBezTo>
                  <a:cubicBezTo>
                    <a:pt x="2802" y="1633"/>
                    <a:pt x="2802" y="1633"/>
                    <a:pt x="2802" y="1633"/>
                  </a:cubicBezTo>
                  <a:cubicBezTo>
                    <a:pt x="2828" y="1547"/>
                    <a:pt x="2828" y="1547"/>
                    <a:pt x="2828" y="1547"/>
                  </a:cubicBezTo>
                  <a:cubicBezTo>
                    <a:pt x="2862" y="1507"/>
                    <a:pt x="2862" y="1507"/>
                    <a:pt x="2862" y="1507"/>
                  </a:cubicBezTo>
                  <a:cubicBezTo>
                    <a:pt x="2859" y="1428"/>
                    <a:pt x="2859" y="1428"/>
                    <a:pt x="2859" y="1428"/>
                  </a:cubicBezTo>
                  <a:cubicBezTo>
                    <a:pt x="2871" y="1395"/>
                    <a:pt x="2871" y="1395"/>
                    <a:pt x="2871" y="1395"/>
                  </a:cubicBezTo>
                  <a:cubicBezTo>
                    <a:pt x="2864" y="1211"/>
                    <a:pt x="2864" y="1211"/>
                    <a:pt x="2864" y="1211"/>
                  </a:cubicBezTo>
                  <a:cubicBezTo>
                    <a:pt x="2868" y="1031"/>
                    <a:pt x="2868" y="1031"/>
                    <a:pt x="2868" y="1031"/>
                  </a:cubicBezTo>
                  <a:cubicBezTo>
                    <a:pt x="2818" y="1038"/>
                    <a:pt x="2761" y="1061"/>
                    <a:pt x="2712" y="1058"/>
                  </a:cubicBezTo>
                  <a:cubicBezTo>
                    <a:pt x="2663" y="1055"/>
                    <a:pt x="2684" y="1014"/>
                    <a:pt x="2704" y="991"/>
                  </a:cubicBezTo>
                  <a:cubicBezTo>
                    <a:pt x="2704" y="987"/>
                    <a:pt x="2704" y="987"/>
                    <a:pt x="2704" y="987"/>
                  </a:cubicBezTo>
                  <a:cubicBezTo>
                    <a:pt x="2681" y="965"/>
                    <a:pt x="2705" y="933"/>
                    <a:pt x="2687" y="914"/>
                  </a:cubicBezTo>
                  <a:cubicBezTo>
                    <a:pt x="2652" y="879"/>
                    <a:pt x="2598" y="899"/>
                    <a:pt x="2560" y="878"/>
                  </a:cubicBezTo>
                  <a:cubicBezTo>
                    <a:pt x="2541" y="868"/>
                    <a:pt x="2535" y="841"/>
                    <a:pt x="2512" y="838"/>
                  </a:cubicBezTo>
                  <a:cubicBezTo>
                    <a:pt x="2492" y="834"/>
                    <a:pt x="2477" y="847"/>
                    <a:pt x="2456" y="838"/>
                  </a:cubicBezTo>
                  <a:cubicBezTo>
                    <a:pt x="2430" y="826"/>
                    <a:pt x="2432" y="806"/>
                    <a:pt x="2415" y="789"/>
                  </a:cubicBezTo>
                  <a:cubicBezTo>
                    <a:pt x="2396" y="770"/>
                    <a:pt x="2361" y="763"/>
                    <a:pt x="2336" y="759"/>
                  </a:cubicBezTo>
                  <a:cubicBezTo>
                    <a:pt x="2337" y="741"/>
                    <a:pt x="2345" y="718"/>
                    <a:pt x="2335" y="700"/>
                  </a:cubicBezTo>
                  <a:cubicBezTo>
                    <a:pt x="2319" y="674"/>
                    <a:pt x="2273" y="655"/>
                    <a:pt x="2248" y="639"/>
                  </a:cubicBezTo>
                  <a:cubicBezTo>
                    <a:pt x="2175" y="594"/>
                    <a:pt x="2103" y="548"/>
                    <a:pt x="2032" y="501"/>
                  </a:cubicBezTo>
                  <a:cubicBezTo>
                    <a:pt x="1860" y="386"/>
                    <a:pt x="1691" y="267"/>
                    <a:pt x="1516" y="158"/>
                  </a:cubicBezTo>
                  <a:cubicBezTo>
                    <a:pt x="1446" y="114"/>
                    <a:pt x="1372" y="48"/>
                    <a:pt x="1296" y="19"/>
                  </a:cubicBezTo>
                  <a:cubicBezTo>
                    <a:pt x="1270" y="9"/>
                    <a:pt x="1232" y="15"/>
                    <a:pt x="1204" y="15"/>
                  </a:cubicBezTo>
                  <a:cubicBezTo>
                    <a:pt x="1136" y="15"/>
                    <a:pt x="1045" y="0"/>
                    <a:pt x="980" y="19"/>
                  </a:cubicBezTo>
                  <a:moveTo>
                    <a:pt x="183" y="2617"/>
                  </a:moveTo>
                  <a:cubicBezTo>
                    <a:pt x="185" y="2618"/>
                    <a:pt x="185" y="2618"/>
                    <a:pt x="185" y="2618"/>
                  </a:cubicBezTo>
                  <a:lnTo>
                    <a:pt x="183" y="26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" name="Freeform 23"/>
            <p:cNvSpPr>
              <a:spLocks noEditPoints="1"/>
            </p:cNvSpPr>
            <p:nvPr/>
          </p:nvSpPr>
          <p:spPr bwMode="auto">
            <a:xfrm>
              <a:off x="873125" y="1422400"/>
              <a:ext cx="622300" cy="627063"/>
            </a:xfrm>
            <a:custGeom>
              <a:avLst/>
              <a:gdLst/>
              <a:ahLst/>
              <a:cxnLst>
                <a:cxn ang="0">
                  <a:pos x="1500" y="0"/>
                </a:cxn>
                <a:cxn ang="0">
                  <a:pos x="1491" y="228"/>
                </a:cxn>
                <a:cxn ang="0">
                  <a:pos x="911" y="228"/>
                </a:cxn>
                <a:cxn ang="0">
                  <a:pos x="911" y="648"/>
                </a:cxn>
                <a:cxn ang="0">
                  <a:pos x="843" y="692"/>
                </a:cxn>
                <a:cxn ang="0">
                  <a:pos x="722" y="764"/>
                </a:cxn>
                <a:cxn ang="0">
                  <a:pos x="732" y="850"/>
                </a:cxn>
                <a:cxn ang="0">
                  <a:pos x="740" y="1036"/>
                </a:cxn>
                <a:cxn ang="0">
                  <a:pos x="292" y="1036"/>
                </a:cxn>
                <a:cxn ang="0">
                  <a:pos x="76" y="1038"/>
                </a:cxn>
                <a:cxn ang="0">
                  <a:pos x="43" y="1140"/>
                </a:cxn>
                <a:cxn ang="0">
                  <a:pos x="80" y="1084"/>
                </a:cxn>
                <a:cxn ang="0">
                  <a:pos x="88" y="1084"/>
                </a:cxn>
                <a:cxn ang="0">
                  <a:pos x="126" y="1160"/>
                </a:cxn>
                <a:cxn ang="0">
                  <a:pos x="156" y="1152"/>
                </a:cxn>
                <a:cxn ang="0">
                  <a:pos x="160" y="1152"/>
                </a:cxn>
                <a:cxn ang="0">
                  <a:pos x="203" y="1252"/>
                </a:cxn>
                <a:cxn ang="0">
                  <a:pos x="184" y="1332"/>
                </a:cxn>
                <a:cxn ang="0">
                  <a:pos x="160" y="1380"/>
                </a:cxn>
                <a:cxn ang="0">
                  <a:pos x="148" y="1384"/>
                </a:cxn>
                <a:cxn ang="0">
                  <a:pos x="196" y="1440"/>
                </a:cxn>
                <a:cxn ang="0">
                  <a:pos x="224" y="1588"/>
                </a:cxn>
                <a:cxn ang="0">
                  <a:pos x="231" y="1652"/>
                </a:cxn>
                <a:cxn ang="0">
                  <a:pos x="144" y="1944"/>
                </a:cxn>
                <a:cxn ang="0">
                  <a:pos x="220" y="1872"/>
                </a:cxn>
                <a:cxn ang="0">
                  <a:pos x="300" y="1883"/>
                </a:cxn>
                <a:cxn ang="0">
                  <a:pos x="520" y="1860"/>
                </a:cxn>
                <a:cxn ang="0">
                  <a:pos x="600" y="1935"/>
                </a:cxn>
                <a:cxn ang="0">
                  <a:pos x="672" y="1949"/>
                </a:cxn>
                <a:cxn ang="0">
                  <a:pos x="768" y="2056"/>
                </a:cxn>
                <a:cxn ang="0">
                  <a:pos x="784" y="2084"/>
                </a:cxn>
                <a:cxn ang="0">
                  <a:pos x="776" y="2100"/>
                </a:cxn>
                <a:cxn ang="0">
                  <a:pos x="839" y="2137"/>
                </a:cxn>
                <a:cxn ang="0">
                  <a:pos x="928" y="2186"/>
                </a:cxn>
                <a:cxn ang="0">
                  <a:pos x="1004" y="2049"/>
                </a:cxn>
                <a:cxn ang="0">
                  <a:pos x="1028" y="2037"/>
                </a:cxn>
                <a:cxn ang="0">
                  <a:pos x="1054" y="2062"/>
                </a:cxn>
                <a:cxn ang="0">
                  <a:pos x="1128" y="2124"/>
                </a:cxn>
                <a:cxn ang="0">
                  <a:pos x="1224" y="2067"/>
                </a:cxn>
                <a:cxn ang="0">
                  <a:pos x="1276" y="2080"/>
                </a:cxn>
                <a:cxn ang="0">
                  <a:pos x="1384" y="2064"/>
                </a:cxn>
                <a:cxn ang="0">
                  <a:pos x="1396" y="2024"/>
                </a:cxn>
                <a:cxn ang="0">
                  <a:pos x="1456" y="2056"/>
                </a:cxn>
                <a:cxn ang="0">
                  <a:pos x="1632" y="2056"/>
                </a:cxn>
                <a:cxn ang="0">
                  <a:pos x="1948" y="2056"/>
                </a:cxn>
                <a:cxn ang="0">
                  <a:pos x="2061" y="2052"/>
                </a:cxn>
                <a:cxn ang="0">
                  <a:pos x="2073" y="2012"/>
                </a:cxn>
                <a:cxn ang="0">
                  <a:pos x="2092" y="1904"/>
                </a:cxn>
                <a:cxn ang="0">
                  <a:pos x="2035" y="1776"/>
                </a:cxn>
                <a:cxn ang="0">
                  <a:pos x="2007" y="1512"/>
                </a:cxn>
                <a:cxn ang="0">
                  <a:pos x="1968" y="1196"/>
                </a:cxn>
                <a:cxn ang="0">
                  <a:pos x="1919" y="720"/>
                </a:cxn>
                <a:cxn ang="0">
                  <a:pos x="1876" y="408"/>
                </a:cxn>
                <a:cxn ang="0">
                  <a:pos x="2180" y="408"/>
                </a:cxn>
                <a:cxn ang="0">
                  <a:pos x="2136" y="373"/>
                </a:cxn>
                <a:cxn ang="0">
                  <a:pos x="2024" y="304"/>
                </a:cxn>
                <a:cxn ang="0">
                  <a:pos x="1668" y="94"/>
                </a:cxn>
                <a:cxn ang="0">
                  <a:pos x="176" y="1340"/>
                </a:cxn>
                <a:cxn ang="0">
                  <a:pos x="188" y="1292"/>
                </a:cxn>
                <a:cxn ang="0">
                  <a:pos x="176" y="1340"/>
                </a:cxn>
              </a:cxnLst>
              <a:rect l="0" t="0" r="r" b="b"/>
              <a:pathLst>
                <a:path w="2180" h="2197">
                  <a:moveTo>
                    <a:pt x="1500" y="0"/>
                  </a:moveTo>
                  <a:cubicBezTo>
                    <a:pt x="1491" y="228"/>
                    <a:pt x="1491" y="228"/>
                    <a:pt x="1491" y="228"/>
                  </a:cubicBezTo>
                  <a:cubicBezTo>
                    <a:pt x="911" y="228"/>
                    <a:pt x="911" y="228"/>
                    <a:pt x="911" y="228"/>
                  </a:cubicBezTo>
                  <a:cubicBezTo>
                    <a:pt x="911" y="648"/>
                    <a:pt x="911" y="648"/>
                    <a:pt x="911" y="648"/>
                  </a:cubicBezTo>
                  <a:cubicBezTo>
                    <a:pt x="889" y="650"/>
                    <a:pt x="864" y="685"/>
                    <a:pt x="843" y="692"/>
                  </a:cubicBezTo>
                  <a:cubicBezTo>
                    <a:pt x="800" y="708"/>
                    <a:pt x="736" y="709"/>
                    <a:pt x="722" y="764"/>
                  </a:cubicBezTo>
                  <a:cubicBezTo>
                    <a:pt x="709" y="797"/>
                    <a:pt x="730" y="829"/>
                    <a:pt x="732" y="850"/>
                  </a:cubicBezTo>
                  <a:cubicBezTo>
                    <a:pt x="732" y="926"/>
                    <a:pt x="736" y="974"/>
                    <a:pt x="740" y="1036"/>
                  </a:cubicBezTo>
                  <a:cubicBezTo>
                    <a:pt x="292" y="1036"/>
                    <a:pt x="292" y="1036"/>
                    <a:pt x="292" y="1036"/>
                  </a:cubicBezTo>
                  <a:cubicBezTo>
                    <a:pt x="230" y="1036"/>
                    <a:pt x="135" y="1020"/>
                    <a:pt x="76" y="1038"/>
                  </a:cubicBezTo>
                  <a:cubicBezTo>
                    <a:pt x="55" y="1044"/>
                    <a:pt x="0" y="1142"/>
                    <a:pt x="43" y="1140"/>
                  </a:cubicBezTo>
                  <a:cubicBezTo>
                    <a:pt x="80" y="1084"/>
                    <a:pt x="80" y="1084"/>
                    <a:pt x="80" y="1084"/>
                  </a:cubicBezTo>
                  <a:cubicBezTo>
                    <a:pt x="88" y="1084"/>
                    <a:pt x="88" y="1084"/>
                    <a:pt x="88" y="1084"/>
                  </a:cubicBezTo>
                  <a:cubicBezTo>
                    <a:pt x="98" y="1109"/>
                    <a:pt x="110" y="1139"/>
                    <a:pt x="126" y="1160"/>
                  </a:cubicBezTo>
                  <a:cubicBezTo>
                    <a:pt x="142" y="1181"/>
                    <a:pt x="155" y="1177"/>
                    <a:pt x="156" y="1152"/>
                  </a:cubicBezTo>
                  <a:cubicBezTo>
                    <a:pt x="160" y="1152"/>
                    <a:pt x="160" y="1152"/>
                    <a:pt x="160" y="1152"/>
                  </a:cubicBezTo>
                  <a:cubicBezTo>
                    <a:pt x="168" y="1185"/>
                    <a:pt x="206" y="1218"/>
                    <a:pt x="203" y="1252"/>
                  </a:cubicBezTo>
                  <a:cubicBezTo>
                    <a:pt x="200" y="1277"/>
                    <a:pt x="196" y="1310"/>
                    <a:pt x="184" y="1332"/>
                  </a:cubicBezTo>
                  <a:cubicBezTo>
                    <a:pt x="175" y="1351"/>
                    <a:pt x="155" y="1358"/>
                    <a:pt x="160" y="1380"/>
                  </a:cubicBezTo>
                  <a:cubicBezTo>
                    <a:pt x="148" y="1384"/>
                    <a:pt x="148" y="1384"/>
                    <a:pt x="148" y="1384"/>
                  </a:cubicBezTo>
                  <a:cubicBezTo>
                    <a:pt x="160" y="1407"/>
                    <a:pt x="184" y="1417"/>
                    <a:pt x="196" y="1440"/>
                  </a:cubicBezTo>
                  <a:cubicBezTo>
                    <a:pt x="221" y="1486"/>
                    <a:pt x="218" y="1539"/>
                    <a:pt x="224" y="1588"/>
                  </a:cubicBezTo>
                  <a:cubicBezTo>
                    <a:pt x="227" y="1611"/>
                    <a:pt x="234" y="1629"/>
                    <a:pt x="231" y="1652"/>
                  </a:cubicBezTo>
                  <a:cubicBezTo>
                    <a:pt x="217" y="1756"/>
                    <a:pt x="144" y="1837"/>
                    <a:pt x="144" y="1944"/>
                  </a:cubicBezTo>
                  <a:cubicBezTo>
                    <a:pt x="192" y="1937"/>
                    <a:pt x="175" y="1884"/>
                    <a:pt x="220" y="1872"/>
                  </a:cubicBezTo>
                  <a:cubicBezTo>
                    <a:pt x="231" y="1889"/>
                    <a:pt x="280" y="1885"/>
                    <a:pt x="300" y="1883"/>
                  </a:cubicBezTo>
                  <a:cubicBezTo>
                    <a:pt x="371" y="1872"/>
                    <a:pt x="445" y="1846"/>
                    <a:pt x="520" y="1860"/>
                  </a:cubicBezTo>
                  <a:cubicBezTo>
                    <a:pt x="559" y="1868"/>
                    <a:pt x="571" y="1915"/>
                    <a:pt x="600" y="1935"/>
                  </a:cubicBezTo>
                  <a:cubicBezTo>
                    <a:pt x="624" y="1951"/>
                    <a:pt x="649" y="1940"/>
                    <a:pt x="672" y="1949"/>
                  </a:cubicBezTo>
                  <a:cubicBezTo>
                    <a:pt x="718" y="1967"/>
                    <a:pt x="707" y="2066"/>
                    <a:pt x="768" y="2056"/>
                  </a:cubicBezTo>
                  <a:cubicBezTo>
                    <a:pt x="784" y="2084"/>
                    <a:pt x="784" y="2084"/>
                    <a:pt x="784" y="2084"/>
                  </a:cubicBezTo>
                  <a:cubicBezTo>
                    <a:pt x="776" y="2100"/>
                    <a:pt x="776" y="2100"/>
                    <a:pt x="776" y="2100"/>
                  </a:cubicBezTo>
                  <a:cubicBezTo>
                    <a:pt x="796" y="2114"/>
                    <a:pt x="820" y="2123"/>
                    <a:pt x="839" y="2137"/>
                  </a:cubicBezTo>
                  <a:cubicBezTo>
                    <a:pt x="867" y="2159"/>
                    <a:pt x="881" y="2197"/>
                    <a:pt x="928" y="2186"/>
                  </a:cubicBezTo>
                  <a:cubicBezTo>
                    <a:pt x="998" y="2169"/>
                    <a:pt x="947" y="2083"/>
                    <a:pt x="1004" y="2049"/>
                  </a:cubicBezTo>
                  <a:cubicBezTo>
                    <a:pt x="1010" y="2045"/>
                    <a:pt x="1020" y="2036"/>
                    <a:pt x="1028" y="2037"/>
                  </a:cubicBezTo>
                  <a:cubicBezTo>
                    <a:pt x="1040" y="2038"/>
                    <a:pt x="1046" y="2055"/>
                    <a:pt x="1054" y="2062"/>
                  </a:cubicBezTo>
                  <a:cubicBezTo>
                    <a:pt x="1076" y="2083"/>
                    <a:pt x="1103" y="2107"/>
                    <a:pt x="1128" y="2124"/>
                  </a:cubicBezTo>
                  <a:cubicBezTo>
                    <a:pt x="1148" y="2085"/>
                    <a:pt x="1177" y="2059"/>
                    <a:pt x="1224" y="2067"/>
                  </a:cubicBezTo>
                  <a:cubicBezTo>
                    <a:pt x="1241" y="2069"/>
                    <a:pt x="1258" y="2080"/>
                    <a:pt x="1276" y="2080"/>
                  </a:cubicBezTo>
                  <a:cubicBezTo>
                    <a:pt x="1313" y="2079"/>
                    <a:pt x="1347" y="2064"/>
                    <a:pt x="1384" y="2064"/>
                  </a:cubicBezTo>
                  <a:cubicBezTo>
                    <a:pt x="1396" y="2024"/>
                    <a:pt x="1396" y="2024"/>
                    <a:pt x="1396" y="2024"/>
                  </a:cubicBezTo>
                  <a:cubicBezTo>
                    <a:pt x="1397" y="2063"/>
                    <a:pt x="1424" y="2056"/>
                    <a:pt x="1456" y="2056"/>
                  </a:cubicBezTo>
                  <a:cubicBezTo>
                    <a:pt x="1632" y="2056"/>
                    <a:pt x="1632" y="2056"/>
                    <a:pt x="1632" y="2056"/>
                  </a:cubicBezTo>
                  <a:cubicBezTo>
                    <a:pt x="1948" y="2056"/>
                    <a:pt x="1948" y="2056"/>
                    <a:pt x="1948" y="2056"/>
                  </a:cubicBezTo>
                  <a:cubicBezTo>
                    <a:pt x="1973" y="2056"/>
                    <a:pt x="2041" y="2068"/>
                    <a:pt x="2061" y="2052"/>
                  </a:cubicBezTo>
                  <a:cubicBezTo>
                    <a:pt x="2071" y="2045"/>
                    <a:pt x="2070" y="2023"/>
                    <a:pt x="2073" y="2012"/>
                  </a:cubicBezTo>
                  <a:cubicBezTo>
                    <a:pt x="2080" y="1977"/>
                    <a:pt x="2085" y="1940"/>
                    <a:pt x="2092" y="1904"/>
                  </a:cubicBezTo>
                  <a:cubicBezTo>
                    <a:pt x="2038" y="1874"/>
                    <a:pt x="2042" y="1832"/>
                    <a:pt x="2035" y="1776"/>
                  </a:cubicBezTo>
                  <a:cubicBezTo>
                    <a:pt x="2025" y="1688"/>
                    <a:pt x="2013" y="1601"/>
                    <a:pt x="2007" y="1512"/>
                  </a:cubicBezTo>
                  <a:cubicBezTo>
                    <a:pt x="2000" y="1406"/>
                    <a:pt x="1980" y="1302"/>
                    <a:pt x="1968" y="1196"/>
                  </a:cubicBezTo>
                  <a:cubicBezTo>
                    <a:pt x="1951" y="1037"/>
                    <a:pt x="1938" y="879"/>
                    <a:pt x="1919" y="720"/>
                  </a:cubicBezTo>
                  <a:cubicBezTo>
                    <a:pt x="1907" y="617"/>
                    <a:pt x="1880" y="512"/>
                    <a:pt x="1876" y="408"/>
                  </a:cubicBezTo>
                  <a:cubicBezTo>
                    <a:pt x="2180" y="408"/>
                    <a:pt x="2180" y="408"/>
                    <a:pt x="2180" y="408"/>
                  </a:cubicBezTo>
                  <a:cubicBezTo>
                    <a:pt x="2136" y="373"/>
                    <a:pt x="2136" y="373"/>
                    <a:pt x="2136" y="373"/>
                  </a:cubicBezTo>
                  <a:cubicBezTo>
                    <a:pt x="2024" y="304"/>
                    <a:pt x="2024" y="304"/>
                    <a:pt x="2024" y="304"/>
                  </a:cubicBezTo>
                  <a:cubicBezTo>
                    <a:pt x="1668" y="94"/>
                    <a:pt x="1668" y="94"/>
                    <a:pt x="1668" y="94"/>
                  </a:cubicBezTo>
                  <a:moveTo>
                    <a:pt x="176" y="1340"/>
                  </a:moveTo>
                  <a:cubicBezTo>
                    <a:pt x="188" y="1292"/>
                    <a:pt x="188" y="1292"/>
                    <a:pt x="188" y="1292"/>
                  </a:cubicBezTo>
                  <a:cubicBezTo>
                    <a:pt x="159" y="1300"/>
                    <a:pt x="129" y="1334"/>
                    <a:pt x="176" y="134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" name="Freeform 24"/>
            <p:cNvSpPr/>
            <p:nvPr/>
          </p:nvSpPr>
          <p:spPr bwMode="auto">
            <a:xfrm>
              <a:off x="3359150" y="2039938"/>
              <a:ext cx="747713" cy="569913"/>
            </a:xfrm>
            <a:custGeom>
              <a:avLst/>
              <a:gdLst/>
              <a:ahLst/>
              <a:cxnLst>
                <a:cxn ang="0">
                  <a:pos x="808" y="132"/>
                </a:cxn>
                <a:cxn ang="0">
                  <a:pos x="724" y="104"/>
                </a:cxn>
                <a:cxn ang="0">
                  <a:pos x="613" y="192"/>
                </a:cxn>
                <a:cxn ang="0">
                  <a:pos x="560" y="376"/>
                </a:cxn>
                <a:cxn ang="0">
                  <a:pos x="376" y="536"/>
                </a:cxn>
                <a:cxn ang="0">
                  <a:pos x="356" y="700"/>
                </a:cxn>
                <a:cxn ang="0">
                  <a:pos x="243" y="744"/>
                </a:cxn>
                <a:cxn ang="0">
                  <a:pos x="205" y="928"/>
                </a:cxn>
                <a:cxn ang="0">
                  <a:pos x="144" y="1128"/>
                </a:cxn>
                <a:cxn ang="0">
                  <a:pos x="48" y="1172"/>
                </a:cxn>
                <a:cxn ang="0">
                  <a:pos x="88" y="1242"/>
                </a:cxn>
                <a:cxn ang="0">
                  <a:pos x="233" y="1371"/>
                </a:cxn>
                <a:cxn ang="0">
                  <a:pos x="402" y="1624"/>
                </a:cxn>
                <a:cxn ang="0">
                  <a:pos x="456" y="1646"/>
                </a:cxn>
                <a:cxn ang="0">
                  <a:pos x="533" y="1808"/>
                </a:cxn>
                <a:cxn ang="0">
                  <a:pos x="901" y="1956"/>
                </a:cxn>
                <a:cxn ang="0">
                  <a:pos x="1140" y="1984"/>
                </a:cxn>
                <a:cxn ang="0">
                  <a:pos x="1300" y="1875"/>
                </a:cxn>
                <a:cxn ang="0">
                  <a:pos x="1444" y="1903"/>
                </a:cxn>
                <a:cxn ang="0">
                  <a:pos x="1559" y="1897"/>
                </a:cxn>
                <a:cxn ang="0">
                  <a:pos x="1724" y="1840"/>
                </a:cxn>
                <a:cxn ang="0">
                  <a:pos x="1864" y="1741"/>
                </a:cxn>
                <a:cxn ang="0">
                  <a:pos x="2100" y="1728"/>
                </a:cxn>
                <a:cxn ang="0">
                  <a:pos x="2277" y="1536"/>
                </a:cxn>
                <a:cxn ang="0">
                  <a:pos x="2620" y="1192"/>
                </a:cxn>
                <a:cxn ang="0">
                  <a:pos x="2208" y="1109"/>
                </a:cxn>
                <a:cxn ang="0">
                  <a:pos x="1845" y="951"/>
                </a:cxn>
                <a:cxn ang="0">
                  <a:pos x="1730" y="804"/>
                </a:cxn>
                <a:cxn ang="0">
                  <a:pos x="1740" y="676"/>
                </a:cxn>
                <a:cxn ang="0">
                  <a:pos x="1548" y="676"/>
                </a:cxn>
                <a:cxn ang="0">
                  <a:pos x="1586" y="520"/>
                </a:cxn>
                <a:cxn ang="0">
                  <a:pos x="1640" y="412"/>
                </a:cxn>
                <a:cxn ang="0">
                  <a:pos x="1547" y="292"/>
                </a:cxn>
                <a:cxn ang="0">
                  <a:pos x="1378" y="130"/>
                </a:cxn>
                <a:cxn ang="0">
                  <a:pos x="1276" y="76"/>
                </a:cxn>
                <a:cxn ang="0">
                  <a:pos x="1069" y="42"/>
                </a:cxn>
                <a:cxn ang="0">
                  <a:pos x="940" y="36"/>
                </a:cxn>
                <a:cxn ang="0">
                  <a:pos x="868" y="0"/>
                </a:cxn>
              </a:cxnLst>
              <a:rect l="0" t="0" r="r" b="b"/>
              <a:pathLst>
                <a:path w="2620" h="1996">
                  <a:moveTo>
                    <a:pt x="868" y="0"/>
                  </a:moveTo>
                  <a:cubicBezTo>
                    <a:pt x="808" y="132"/>
                    <a:pt x="808" y="132"/>
                    <a:pt x="808" y="132"/>
                  </a:cubicBezTo>
                  <a:cubicBezTo>
                    <a:pt x="797" y="115"/>
                    <a:pt x="789" y="89"/>
                    <a:pt x="772" y="78"/>
                  </a:cubicBezTo>
                  <a:cubicBezTo>
                    <a:pt x="748" y="63"/>
                    <a:pt x="726" y="80"/>
                    <a:pt x="724" y="104"/>
                  </a:cubicBezTo>
                  <a:cubicBezTo>
                    <a:pt x="699" y="100"/>
                    <a:pt x="661" y="85"/>
                    <a:pt x="637" y="103"/>
                  </a:cubicBezTo>
                  <a:cubicBezTo>
                    <a:pt x="612" y="123"/>
                    <a:pt x="620" y="165"/>
                    <a:pt x="613" y="192"/>
                  </a:cubicBezTo>
                  <a:cubicBezTo>
                    <a:pt x="606" y="221"/>
                    <a:pt x="587" y="241"/>
                    <a:pt x="576" y="268"/>
                  </a:cubicBezTo>
                  <a:cubicBezTo>
                    <a:pt x="561" y="306"/>
                    <a:pt x="567" y="339"/>
                    <a:pt x="560" y="376"/>
                  </a:cubicBezTo>
                  <a:cubicBezTo>
                    <a:pt x="480" y="353"/>
                    <a:pt x="450" y="440"/>
                    <a:pt x="416" y="492"/>
                  </a:cubicBezTo>
                  <a:cubicBezTo>
                    <a:pt x="405" y="508"/>
                    <a:pt x="383" y="519"/>
                    <a:pt x="376" y="536"/>
                  </a:cubicBezTo>
                  <a:cubicBezTo>
                    <a:pt x="368" y="554"/>
                    <a:pt x="378" y="574"/>
                    <a:pt x="372" y="592"/>
                  </a:cubicBezTo>
                  <a:cubicBezTo>
                    <a:pt x="361" y="624"/>
                    <a:pt x="343" y="666"/>
                    <a:pt x="356" y="700"/>
                  </a:cubicBezTo>
                  <a:cubicBezTo>
                    <a:pt x="324" y="717"/>
                    <a:pt x="323" y="696"/>
                    <a:pt x="292" y="697"/>
                  </a:cubicBezTo>
                  <a:cubicBezTo>
                    <a:pt x="269" y="698"/>
                    <a:pt x="252" y="725"/>
                    <a:pt x="243" y="744"/>
                  </a:cubicBezTo>
                  <a:cubicBezTo>
                    <a:pt x="232" y="766"/>
                    <a:pt x="252" y="789"/>
                    <a:pt x="247" y="812"/>
                  </a:cubicBezTo>
                  <a:cubicBezTo>
                    <a:pt x="238" y="851"/>
                    <a:pt x="211" y="885"/>
                    <a:pt x="205" y="928"/>
                  </a:cubicBezTo>
                  <a:cubicBezTo>
                    <a:pt x="198" y="977"/>
                    <a:pt x="234" y="1056"/>
                    <a:pt x="199" y="1100"/>
                  </a:cubicBezTo>
                  <a:cubicBezTo>
                    <a:pt x="186" y="1116"/>
                    <a:pt x="162" y="1119"/>
                    <a:pt x="144" y="1128"/>
                  </a:cubicBezTo>
                  <a:cubicBezTo>
                    <a:pt x="133" y="1107"/>
                    <a:pt x="66" y="1102"/>
                    <a:pt x="49" y="1119"/>
                  </a:cubicBezTo>
                  <a:cubicBezTo>
                    <a:pt x="36" y="1133"/>
                    <a:pt x="44" y="1156"/>
                    <a:pt x="48" y="1172"/>
                  </a:cubicBezTo>
                  <a:cubicBezTo>
                    <a:pt x="26" y="1180"/>
                    <a:pt x="0" y="1211"/>
                    <a:pt x="24" y="1232"/>
                  </a:cubicBezTo>
                  <a:cubicBezTo>
                    <a:pt x="40" y="1246"/>
                    <a:pt x="69" y="1239"/>
                    <a:pt x="88" y="1242"/>
                  </a:cubicBezTo>
                  <a:cubicBezTo>
                    <a:pt x="124" y="1247"/>
                    <a:pt x="152" y="1263"/>
                    <a:pt x="177" y="1289"/>
                  </a:cubicBezTo>
                  <a:cubicBezTo>
                    <a:pt x="199" y="1313"/>
                    <a:pt x="207" y="1346"/>
                    <a:pt x="233" y="1371"/>
                  </a:cubicBezTo>
                  <a:cubicBezTo>
                    <a:pt x="260" y="1396"/>
                    <a:pt x="301" y="1413"/>
                    <a:pt x="322" y="1445"/>
                  </a:cubicBezTo>
                  <a:cubicBezTo>
                    <a:pt x="359" y="1502"/>
                    <a:pt x="356" y="1570"/>
                    <a:pt x="402" y="1624"/>
                  </a:cubicBezTo>
                  <a:cubicBezTo>
                    <a:pt x="410" y="1633"/>
                    <a:pt x="409" y="1650"/>
                    <a:pt x="421" y="1655"/>
                  </a:cubicBezTo>
                  <a:cubicBezTo>
                    <a:pt x="433" y="1660"/>
                    <a:pt x="444" y="1647"/>
                    <a:pt x="456" y="1646"/>
                  </a:cubicBezTo>
                  <a:cubicBezTo>
                    <a:pt x="472" y="1646"/>
                    <a:pt x="488" y="1657"/>
                    <a:pt x="504" y="1660"/>
                  </a:cubicBezTo>
                  <a:cubicBezTo>
                    <a:pt x="490" y="1708"/>
                    <a:pt x="491" y="1773"/>
                    <a:pt x="533" y="1808"/>
                  </a:cubicBezTo>
                  <a:cubicBezTo>
                    <a:pt x="573" y="1840"/>
                    <a:pt x="654" y="1801"/>
                    <a:pt x="700" y="1820"/>
                  </a:cubicBezTo>
                  <a:cubicBezTo>
                    <a:pt x="772" y="1849"/>
                    <a:pt x="832" y="1920"/>
                    <a:pt x="901" y="1956"/>
                  </a:cubicBezTo>
                  <a:cubicBezTo>
                    <a:pt x="922" y="1967"/>
                    <a:pt x="957" y="1959"/>
                    <a:pt x="980" y="1961"/>
                  </a:cubicBezTo>
                  <a:cubicBezTo>
                    <a:pt x="1033" y="1964"/>
                    <a:pt x="1086" y="1993"/>
                    <a:pt x="1140" y="1984"/>
                  </a:cubicBezTo>
                  <a:cubicBezTo>
                    <a:pt x="1160" y="1996"/>
                    <a:pt x="1160" y="1996"/>
                    <a:pt x="1160" y="1996"/>
                  </a:cubicBezTo>
                  <a:cubicBezTo>
                    <a:pt x="1179" y="1930"/>
                    <a:pt x="1244" y="1901"/>
                    <a:pt x="1300" y="1875"/>
                  </a:cubicBezTo>
                  <a:cubicBezTo>
                    <a:pt x="1319" y="1866"/>
                    <a:pt x="1346" y="1844"/>
                    <a:pt x="1368" y="1849"/>
                  </a:cubicBezTo>
                  <a:cubicBezTo>
                    <a:pt x="1401" y="1856"/>
                    <a:pt x="1410" y="1903"/>
                    <a:pt x="1444" y="1903"/>
                  </a:cubicBezTo>
                  <a:cubicBezTo>
                    <a:pt x="1470" y="1904"/>
                    <a:pt x="1495" y="1895"/>
                    <a:pt x="1520" y="1894"/>
                  </a:cubicBezTo>
                  <a:cubicBezTo>
                    <a:pt x="1533" y="1894"/>
                    <a:pt x="1547" y="1902"/>
                    <a:pt x="1559" y="1897"/>
                  </a:cubicBezTo>
                  <a:cubicBezTo>
                    <a:pt x="1579" y="1890"/>
                    <a:pt x="1585" y="1865"/>
                    <a:pt x="1608" y="1858"/>
                  </a:cubicBezTo>
                  <a:cubicBezTo>
                    <a:pt x="1646" y="1848"/>
                    <a:pt x="1686" y="1855"/>
                    <a:pt x="1724" y="1840"/>
                  </a:cubicBezTo>
                  <a:cubicBezTo>
                    <a:pt x="1747" y="1831"/>
                    <a:pt x="1748" y="1807"/>
                    <a:pt x="1764" y="1791"/>
                  </a:cubicBezTo>
                  <a:cubicBezTo>
                    <a:pt x="1790" y="1766"/>
                    <a:pt x="1830" y="1750"/>
                    <a:pt x="1864" y="1741"/>
                  </a:cubicBezTo>
                  <a:cubicBezTo>
                    <a:pt x="1918" y="1727"/>
                    <a:pt x="1972" y="1728"/>
                    <a:pt x="2028" y="1728"/>
                  </a:cubicBezTo>
                  <a:cubicBezTo>
                    <a:pt x="2048" y="1728"/>
                    <a:pt x="2083" y="1738"/>
                    <a:pt x="2100" y="1728"/>
                  </a:cubicBezTo>
                  <a:cubicBezTo>
                    <a:pt x="2120" y="1717"/>
                    <a:pt x="2132" y="1692"/>
                    <a:pt x="2148" y="1676"/>
                  </a:cubicBezTo>
                  <a:cubicBezTo>
                    <a:pt x="2193" y="1631"/>
                    <a:pt x="2234" y="1583"/>
                    <a:pt x="2277" y="1536"/>
                  </a:cubicBezTo>
                  <a:cubicBezTo>
                    <a:pt x="2352" y="1452"/>
                    <a:pt x="2436" y="1375"/>
                    <a:pt x="2516" y="1296"/>
                  </a:cubicBezTo>
                  <a:cubicBezTo>
                    <a:pt x="2549" y="1263"/>
                    <a:pt x="2597" y="1233"/>
                    <a:pt x="2620" y="1192"/>
                  </a:cubicBezTo>
                  <a:cubicBezTo>
                    <a:pt x="2444" y="1191"/>
                    <a:pt x="2444" y="1191"/>
                    <a:pt x="2444" y="1191"/>
                  </a:cubicBezTo>
                  <a:cubicBezTo>
                    <a:pt x="2208" y="1109"/>
                    <a:pt x="2208" y="1109"/>
                    <a:pt x="2208" y="1109"/>
                  </a:cubicBezTo>
                  <a:cubicBezTo>
                    <a:pt x="1936" y="1018"/>
                    <a:pt x="1936" y="1018"/>
                    <a:pt x="1936" y="1018"/>
                  </a:cubicBezTo>
                  <a:cubicBezTo>
                    <a:pt x="1845" y="951"/>
                    <a:pt x="1845" y="951"/>
                    <a:pt x="1845" y="951"/>
                  </a:cubicBezTo>
                  <a:cubicBezTo>
                    <a:pt x="1796" y="872"/>
                    <a:pt x="1796" y="872"/>
                    <a:pt x="1796" y="872"/>
                  </a:cubicBezTo>
                  <a:cubicBezTo>
                    <a:pt x="1730" y="804"/>
                    <a:pt x="1730" y="804"/>
                    <a:pt x="1730" y="804"/>
                  </a:cubicBezTo>
                  <a:cubicBezTo>
                    <a:pt x="1700" y="752"/>
                    <a:pt x="1700" y="752"/>
                    <a:pt x="1700" y="752"/>
                  </a:cubicBezTo>
                  <a:cubicBezTo>
                    <a:pt x="1740" y="676"/>
                    <a:pt x="1740" y="676"/>
                    <a:pt x="1740" y="676"/>
                  </a:cubicBezTo>
                  <a:cubicBezTo>
                    <a:pt x="1696" y="656"/>
                    <a:pt x="1696" y="656"/>
                    <a:pt x="1696" y="656"/>
                  </a:cubicBezTo>
                  <a:cubicBezTo>
                    <a:pt x="1548" y="676"/>
                    <a:pt x="1548" y="676"/>
                    <a:pt x="1548" y="676"/>
                  </a:cubicBezTo>
                  <a:cubicBezTo>
                    <a:pt x="1545" y="572"/>
                    <a:pt x="1545" y="572"/>
                    <a:pt x="1545" y="572"/>
                  </a:cubicBezTo>
                  <a:cubicBezTo>
                    <a:pt x="1586" y="520"/>
                    <a:pt x="1586" y="520"/>
                    <a:pt x="1586" y="520"/>
                  </a:cubicBezTo>
                  <a:cubicBezTo>
                    <a:pt x="1660" y="412"/>
                    <a:pt x="1660" y="412"/>
                    <a:pt x="1660" y="412"/>
                  </a:cubicBezTo>
                  <a:cubicBezTo>
                    <a:pt x="1640" y="412"/>
                    <a:pt x="1640" y="412"/>
                    <a:pt x="1640" y="412"/>
                  </a:cubicBezTo>
                  <a:cubicBezTo>
                    <a:pt x="1630" y="375"/>
                    <a:pt x="1601" y="367"/>
                    <a:pt x="1577" y="343"/>
                  </a:cubicBezTo>
                  <a:cubicBezTo>
                    <a:pt x="1563" y="328"/>
                    <a:pt x="1560" y="308"/>
                    <a:pt x="1547" y="292"/>
                  </a:cubicBezTo>
                  <a:cubicBezTo>
                    <a:pt x="1524" y="267"/>
                    <a:pt x="1495" y="254"/>
                    <a:pt x="1468" y="234"/>
                  </a:cubicBezTo>
                  <a:cubicBezTo>
                    <a:pt x="1430" y="206"/>
                    <a:pt x="1417" y="159"/>
                    <a:pt x="1378" y="130"/>
                  </a:cubicBezTo>
                  <a:cubicBezTo>
                    <a:pt x="1363" y="118"/>
                    <a:pt x="1341" y="119"/>
                    <a:pt x="1324" y="110"/>
                  </a:cubicBezTo>
                  <a:cubicBezTo>
                    <a:pt x="1306" y="101"/>
                    <a:pt x="1295" y="84"/>
                    <a:pt x="1276" y="76"/>
                  </a:cubicBezTo>
                  <a:cubicBezTo>
                    <a:pt x="1221" y="53"/>
                    <a:pt x="1152" y="68"/>
                    <a:pt x="1096" y="68"/>
                  </a:cubicBezTo>
                  <a:cubicBezTo>
                    <a:pt x="1093" y="55"/>
                    <a:pt x="1085" y="40"/>
                    <a:pt x="1069" y="42"/>
                  </a:cubicBezTo>
                  <a:cubicBezTo>
                    <a:pt x="1058" y="43"/>
                    <a:pt x="1049" y="56"/>
                    <a:pt x="1040" y="62"/>
                  </a:cubicBezTo>
                  <a:cubicBezTo>
                    <a:pt x="1006" y="81"/>
                    <a:pt x="941" y="90"/>
                    <a:pt x="940" y="36"/>
                  </a:cubicBezTo>
                  <a:cubicBezTo>
                    <a:pt x="911" y="27"/>
                    <a:pt x="894" y="28"/>
                    <a:pt x="876" y="0"/>
                  </a:cubicBezTo>
                  <a:lnTo>
                    <a:pt x="86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" name="Freeform 25"/>
            <p:cNvSpPr/>
            <p:nvPr/>
          </p:nvSpPr>
          <p:spPr bwMode="auto">
            <a:xfrm>
              <a:off x="3756025" y="2179638"/>
              <a:ext cx="515938" cy="679450"/>
            </a:xfrm>
            <a:custGeom>
              <a:avLst/>
              <a:gdLst/>
              <a:ahLst/>
              <a:cxnLst>
                <a:cxn ang="0">
                  <a:pos x="1214" y="703"/>
                </a:cxn>
                <a:cxn ang="0">
                  <a:pos x="1214" y="707"/>
                </a:cxn>
                <a:cxn ang="0">
                  <a:pos x="1089" y="826"/>
                </a:cxn>
                <a:cxn ang="0">
                  <a:pos x="883" y="1027"/>
                </a:cxn>
                <a:cxn ang="0">
                  <a:pos x="697" y="1227"/>
                </a:cxn>
                <a:cxn ang="0">
                  <a:pos x="526" y="1225"/>
                </a:cxn>
                <a:cxn ang="0">
                  <a:pos x="382" y="1276"/>
                </a:cxn>
                <a:cxn ang="0">
                  <a:pos x="326" y="1337"/>
                </a:cxn>
                <a:cxn ang="0">
                  <a:pos x="190" y="1365"/>
                </a:cxn>
                <a:cxn ang="0">
                  <a:pos x="115" y="1471"/>
                </a:cxn>
                <a:cxn ang="0">
                  <a:pos x="13" y="1592"/>
                </a:cxn>
                <a:cxn ang="0">
                  <a:pos x="10" y="1711"/>
                </a:cxn>
                <a:cxn ang="0">
                  <a:pos x="10" y="1995"/>
                </a:cxn>
                <a:cxn ang="0">
                  <a:pos x="10" y="2159"/>
                </a:cxn>
                <a:cxn ang="0">
                  <a:pos x="13" y="2235"/>
                </a:cxn>
                <a:cxn ang="0">
                  <a:pos x="110" y="2379"/>
                </a:cxn>
                <a:cxn ang="0">
                  <a:pos x="118" y="2379"/>
                </a:cxn>
                <a:cxn ang="0">
                  <a:pos x="193" y="2255"/>
                </a:cxn>
                <a:cxn ang="0">
                  <a:pos x="337" y="2099"/>
                </a:cxn>
                <a:cxn ang="0">
                  <a:pos x="654" y="1801"/>
                </a:cxn>
                <a:cxn ang="0">
                  <a:pos x="890" y="1665"/>
                </a:cxn>
                <a:cxn ang="0">
                  <a:pos x="1136" y="1414"/>
                </a:cxn>
                <a:cxn ang="0">
                  <a:pos x="1238" y="1303"/>
                </a:cxn>
                <a:cxn ang="0">
                  <a:pos x="1306" y="1187"/>
                </a:cxn>
                <a:cxn ang="0">
                  <a:pos x="1415" y="1019"/>
                </a:cxn>
                <a:cxn ang="0">
                  <a:pos x="1424" y="963"/>
                </a:cxn>
                <a:cxn ang="0">
                  <a:pos x="1478" y="863"/>
                </a:cxn>
                <a:cxn ang="0">
                  <a:pos x="1524" y="791"/>
                </a:cxn>
                <a:cxn ang="0">
                  <a:pos x="1557" y="703"/>
                </a:cxn>
                <a:cxn ang="0">
                  <a:pos x="1602" y="663"/>
                </a:cxn>
                <a:cxn ang="0">
                  <a:pos x="1714" y="475"/>
                </a:cxn>
                <a:cxn ang="0">
                  <a:pos x="1739" y="307"/>
                </a:cxn>
                <a:cxn ang="0">
                  <a:pos x="1772" y="275"/>
                </a:cxn>
                <a:cxn ang="0">
                  <a:pos x="1786" y="151"/>
                </a:cxn>
                <a:cxn ang="0">
                  <a:pos x="1770" y="147"/>
                </a:cxn>
                <a:cxn ang="0">
                  <a:pos x="1806" y="39"/>
                </a:cxn>
                <a:cxn ang="0">
                  <a:pos x="1766" y="21"/>
                </a:cxn>
                <a:cxn ang="0">
                  <a:pos x="1682" y="13"/>
                </a:cxn>
                <a:cxn ang="0">
                  <a:pos x="1646" y="54"/>
                </a:cxn>
                <a:cxn ang="0">
                  <a:pos x="1578" y="89"/>
                </a:cxn>
                <a:cxn ang="0">
                  <a:pos x="1506" y="95"/>
                </a:cxn>
                <a:cxn ang="0">
                  <a:pos x="1402" y="130"/>
                </a:cxn>
                <a:cxn ang="0">
                  <a:pos x="1322" y="120"/>
                </a:cxn>
                <a:cxn ang="0">
                  <a:pos x="1234" y="154"/>
                </a:cxn>
                <a:cxn ang="0">
                  <a:pos x="1122" y="144"/>
                </a:cxn>
                <a:cxn ang="0">
                  <a:pos x="982" y="222"/>
                </a:cxn>
                <a:cxn ang="0">
                  <a:pos x="842" y="197"/>
                </a:cxn>
                <a:cxn ang="0">
                  <a:pos x="794" y="227"/>
                </a:cxn>
                <a:cxn ang="0">
                  <a:pos x="594" y="270"/>
                </a:cxn>
                <a:cxn ang="0">
                  <a:pos x="449" y="127"/>
                </a:cxn>
                <a:cxn ang="0">
                  <a:pos x="401" y="98"/>
                </a:cxn>
                <a:cxn ang="0">
                  <a:pos x="360" y="159"/>
                </a:cxn>
                <a:cxn ang="0">
                  <a:pos x="302" y="235"/>
                </a:cxn>
                <a:cxn ang="0">
                  <a:pos x="320" y="279"/>
                </a:cxn>
                <a:cxn ang="0">
                  <a:pos x="394" y="380"/>
                </a:cxn>
                <a:cxn ang="0">
                  <a:pos x="443" y="459"/>
                </a:cxn>
                <a:cxn ang="0">
                  <a:pos x="762" y="601"/>
                </a:cxn>
                <a:cxn ang="0">
                  <a:pos x="1054" y="701"/>
                </a:cxn>
                <a:cxn ang="0">
                  <a:pos x="1214" y="703"/>
                </a:cxn>
              </a:cxnLst>
              <a:rect l="0" t="0" r="r" b="b"/>
              <a:pathLst>
                <a:path w="1806" h="2379">
                  <a:moveTo>
                    <a:pt x="1214" y="703"/>
                  </a:moveTo>
                  <a:cubicBezTo>
                    <a:pt x="1214" y="707"/>
                    <a:pt x="1214" y="707"/>
                    <a:pt x="1214" y="707"/>
                  </a:cubicBezTo>
                  <a:cubicBezTo>
                    <a:pt x="1165" y="730"/>
                    <a:pt x="1127" y="788"/>
                    <a:pt x="1089" y="826"/>
                  </a:cubicBezTo>
                  <a:cubicBezTo>
                    <a:pt x="1022" y="894"/>
                    <a:pt x="946" y="954"/>
                    <a:pt x="883" y="1027"/>
                  </a:cubicBezTo>
                  <a:cubicBezTo>
                    <a:pt x="827" y="1091"/>
                    <a:pt x="768" y="1179"/>
                    <a:pt x="697" y="1227"/>
                  </a:cubicBezTo>
                  <a:cubicBezTo>
                    <a:pt x="655" y="1257"/>
                    <a:pt x="576" y="1215"/>
                    <a:pt x="526" y="1225"/>
                  </a:cubicBezTo>
                  <a:cubicBezTo>
                    <a:pt x="478" y="1234"/>
                    <a:pt x="423" y="1247"/>
                    <a:pt x="382" y="1276"/>
                  </a:cubicBezTo>
                  <a:cubicBezTo>
                    <a:pt x="360" y="1292"/>
                    <a:pt x="349" y="1326"/>
                    <a:pt x="326" y="1337"/>
                  </a:cubicBezTo>
                  <a:cubicBezTo>
                    <a:pt x="283" y="1356"/>
                    <a:pt x="230" y="1339"/>
                    <a:pt x="190" y="1365"/>
                  </a:cubicBezTo>
                  <a:cubicBezTo>
                    <a:pt x="158" y="1386"/>
                    <a:pt x="137" y="1439"/>
                    <a:pt x="115" y="1471"/>
                  </a:cubicBezTo>
                  <a:cubicBezTo>
                    <a:pt x="87" y="1509"/>
                    <a:pt x="30" y="1551"/>
                    <a:pt x="13" y="1592"/>
                  </a:cubicBezTo>
                  <a:cubicBezTo>
                    <a:pt x="0" y="1623"/>
                    <a:pt x="10" y="1677"/>
                    <a:pt x="10" y="1711"/>
                  </a:cubicBezTo>
                  <a:cubicBezTo>
                    <a:pt x="10" y="1995"/>
                    <a:pt x="10" y="1995"/>
                    <a:pt x="10" y="1995"/>
                  </a:cubicBezTo>
                  <a:cubicBezTo>
                    <a:pt x="10" y="2159"/>
                    <a:pt x="10" y="2159"/>
                    <a:pt x="10" y="2159"/>
                  </a:cubicBezTo>
                  <a:cubicBezTo>
                    <a:pt x="10" y="2182"/>
                    <a:pt x="5" y="2213"/>
                    <a:pt x="13" y="2235"/>
                  </a:cubicBezTo>
                  <a:cubicBezTo>
                    <a:pt x="31" y="2289"/>
                    <a:pt x="90" y="2324"/>
                    <a:pt x="110" y="2379"/>
                  </a:cubicBezTo>
                  <a:cubicBezTo>
                    <a:pt x="118" y="2379"/>
                    <a:pt x="118" y="2379"/>
                    <a:pt x="118" y="2379"/>
                  </a:cubicBezTo>
                  <a:cubicBezTo>
                    <a:pt x="145" y="2339"/>
                    <a:pt x="165" y="2293"/>
                    <a:pt x="193" y="2255"/>
                  </a:cubicBezTo>
                  <a:cubicBezTo>
                    <a:pt x="234" y="2198"/>
                    <a:pt x="290" y="2150"/>
                    <a:pt x="337" y="2099"/>
                  </a:cubicBezTo>
                  <a:cubicBezTo>
                    <a:pt x="436" y="1992"/>
                    <a:pt x="537" y="1888"/>
                    <a:pt x="654" y="1801"/>
                  </a:cubicBezTo>
                  <a:cubicBezTo>
                    <a:pt x="727" y="1747"/>
                    <a:pt x="820" y="1726"/>
                    <a:pt x="890" y="1665"/>
                  </a:cubicBezTo>
                  <a:cubicBezTo>
                    <a:pt x="977" y="1590"/>
                    <a:pt x="1059" y="1500"/>
                    <a:pt x="1136" y="1414"/>
                  </a:cubicBezTo>
                  <a:cubicBezTo>
                    <a:pt x="1170" y="1377"/>
                    <a:pt x="1199" y="1334"/>
                    <a:pt x="1238" y="1303"/>
                  </a:cubicBezTo>
                  <a:cubicBezTo>
                    <a:pt x="1243" y="1262"/>
                    <a:pt x="1282" y="1218"/>
                    <a:pt x="1306" y="1187"/>
                  </a:cubicBezTo>
                  <a:cubicBezTo>
                    <a:pt x="1345" y="1135"/>
                    <a:pt x="1385" y="1077"/>
                    <a:pt x="1415" y="1019"/>
                  </a:cubicBezTo>
                  <a:cubicBezTo>
                    <a:pt x="1424" y="1001"/>
                    <a:pt x="1420" y="982"/>
                    <a:pt x="1424" y="963"/>
                  </a:cubicBezTo>
                  <a:cubicBezTo>
                    <a:pt x="1431" y="931"/>
                    <a:pt x="1455" y="885"/>
                    <a:pt x="1478" y="863"/>
                  </a:cubicBezTo>
                  <a:cubicBezTo>
                    <a:pt x="1485" y="836"/>
                    <a:pt x="1512" y="815"/>
                    <a:pt x="1524" y="791"/>
                  </a:cubicBezTo>
                  <a:cubicBezTo>
                    <a:pt x="1538" y="765"/>
                    <a:pt x="1541" y="726"/>
                    <a:pt x="1557" y="703"/>
                  </a:cubicBezTo>
                  <a:cubicBezTo>
                    <a:pt x="1569" y="686"/>
                    <a:pt x="1591" y="680"/>
                    <a:pt x="1602" y="663"/>
                  </a:cubicBezTo>
                  <a:cubicBezTo>
                    <a:pt x="1641" y="602"/>
                    <a:pt x="1657" y="522"/>
                    <a:pt x="1714" y="475"/>
                  </a:cubicBezTo>
                  <a:cubicBezTo>
                    <a:pt x="1739" y="307"/>
                    <a:pt x="1739" y="307"/>
                    <a:pt x="1739" y="307"/>
                  </a:cubicBezTo>
                  <a:cubicBezTo>
                    <a:pt x="1772" y="275"/>
                    <a:pt x="1772" y="275"/>
                    <a:pt x="1772" y="275"/>
                  </a:cubicBezTo>
                  <a:cubicBezTo>
                    <a:pt x="1786" y="151"/>
                    <a:pt x="1786" y="151"/>
                    <a:pt x="1786" y="151"/>
                  </a:cubicBezTo>
                  <a:cubicBezTo>
                    <a:pt x="1770" y="147"/>
                    <a:pt x="1770" y="147"/>
                    <a:pt x="1770" y="147"/>
                  </a:cubicBezTo>
                  <a:cubicBezTo>
                    <a:pt x="1769" y="104"/>
                    <a:pt x="1782" y="74"/>
                    <a:pt x="1806" y="39"/>
                  </a:cubicBezTo>
                  <a:cubicBezTo>
                    <a:pt x="1795" y="27"/>
                    <a:pt x="1782" y="25"/>
                    <a:pt x="1766" y="21"/>
                  </a:cubicBezTo>
                  <a:cubicBezTo>
                    <a:pt x="1738" y="13"/>
                    <a:pt x="1711" y="0"/>
                    <a:pt x="1682" y="13"/>
                  </a:cubicBezTo>
                  <a:cubicBezTo>
                    <a:pt x="1663" y="21"/>
                    <a:pt x="1660" y="40"/>
                    <a:pt x="1646" y="54"/>
                  </a:cubicBezTo>
                  <a:cubicBezTo>
                    <a:pt x="1629" y="70"/>
                    <a:pt x="1601" y="83"/>
                    <a:pt x="1578" y="89"/>
                  </a:cubicBezTo>
                  <a:cubicBezTo>
                    <a:pt x="1554" y="95"/>
                    <a:pt x="1529" y="88"/>
                    <a:pt x="1506" y="95"/>
                  </a:cubicBezTo>
                  <a:cubicBezTo>
                    <a:pt x="1470" y="106"/>
                    <a:pt x="1442" y="128"/>
                    <a:pt x="1402" y="130"/>
                  </a:cubicBezTo>
                  <a:cubicBezTo>
                    <a:pt x="1375" y="132"/>
                    <a:pt x="1350" y="116"/>
                    <a:pt x="1322" y="120"/>
                  </a:cubicBezTo>
                  <a:cubicBezTo>
                    <a:pt x="1290" y="124"/>
                    <a:pt x="1264" y="151"/>
                    <a:pt x="1234" y="154"/>
                  </a:cubicBezTo>
                  <a:cubicBezTo>
                    <a:pt x="1197" y="157"/>
                    <a:pt x="1156" y="137"/>
                    <a:pt x="1122" y="144"/>
                  </a:cubicBezTo>
                  <a:cubicBezTo>
                    <a:pt x="1071" y="155"/>
                    <a:pt x="1033" y="206"/>
                    <a:pt x="982" y="222"/>
                  </a:cubicBezTo>
                  <a:cubicBezTo>
                    <a:pt x="936" y="237"/>
                    <a:pt x="888" y="194"/>
                    <a:pt x="842" y="197"/>
                  </a:cubicBezTo>
                  <a:cubicBezTo>
                    <a:pt x="823" y="199"/>
                    <a:pt x="811" y="220"/>
                    <a:pt x="794" y="227"/>
                  </a:cubicBezTo>
                  <a:cubicBezTo>
                    <a:pt x="736" y="252"/>
                    <a:pt x="661" y="295"/>
                    <a:pt x="594" y="270"/>
                  </a:cubicBezTo>
                  <a:cubicBezTo>
                    <a:pt x="531" y="246"/>
                    <a:pt x="481" y="185"/>
                    <a:pt x="449" y="127"/>
                  </a:cubicBezTo>
                  <a:cubicBezTo>
                    <a:pt x="443" y="115"/>
                    <a:pt x="416" y="89"/>
                    <a:pt x="401" y="98"/>
                  </a:cubicBezTo>
                  <a:cubicBezTo>
                    <a:pt x="382" y="110"/>
                    <a:pt x="372" y="141"/>
                    <a:pt x="360" y="159"/>
                  </a:cubicBezTo>
                  <a:cubicBezTo>
                    <a:pt x="344" y="184"/>
                    <a:pt x="310" y="205"/>
                    <a:pt x="302" y="235"/>
                  </a:cubicBezTo>
                  <a:cubicBezTo>
                    <a:pt x="297" y="254"/>
                    <a:pt x="313" y="264"/>
                    <a:pt x="320" y="279"/>
                  </a:cubicBezTo>
                  <a:cubicBezTo>
                    <a:pt x="340" y="323"/>
                    <a:pt x="367" y="344"/>
                    <a:pt x="394" y="380"/>
                  </a:cubicBezTo>
                  <a:cubicBezTo>
                    <a:pt x="412" y="404"/>
                    <a:pt x="417" y="439"/>
                    <a:pt x="443" y="459"/>
                  </a:cubicBezTo>
                  <a:cubicBezTo>
                    <a:pt x="538" y="534"/>
                    <a:pt x="648" y="563"/>
                    <a:pt x="762" y="601"/>
                  </a:cubicBezTo>
                  <a:cubicBezTo>
                    <a:pt x="856" y="633"/>
                    <a:pt x="956" y="685"/>
                    <a:pt x="1054" y="701"/>
                  </a:cubicBezTo>
                  <a:cubicBezTo>
                    <a:pt x="1105" y="710"/>
                    <a:pt x="1163" y="703"/>
                    <a:pt x="1214" y="70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" name="Freeform 26"/>
            <p:cNvSpPr/>
            <p:nvPr/>
          </p:nvSpPr>
          <p:spPr bwMode="auto">
            <a:xfrm>
              <a:off x="3795713" y="2147888"/>
              <a:ext cx="87313" cy="92075"/>
            </a:xfrm>
            <a:custGeom>
              <a:avLst/>
              <a:gdLst/>
              <a:ahLst/>
              <a:cxnLst>
                <a:cxn ang="0">
                  <a:pos x="179" y="27"/>
                </a:cxn>
                <a:cxn ang="0">
                  <a:pos x="183" y="51"/>
                </a:cxn>
                <a:cxn ang="0">
                  <a:pos x="147" y="27"/>
                </a:cxn>
                <a:cxn ang="0">
                  <a:pos x="63" y="111"/>
                </a:cxn>
                <a:cxn ang="0">
                  <a:pos x="2" y="207"/>
                </a:cxn>
                <a:cxn ang="0">
                  <a:pos x="7" y="255"/>
                </a:cxn>
                <a:cxn ang="0">
                  <a:pos x="10" y="302"/>
                </a:cxn>
                <a:cxn ang="0">
                  <a:pos x="111" y="298"/>
                </a:cxn>
                <a:cxn ang="0">
                  <a:pos x="159" y="289"/>
                </a:cxn>
                <a:cxn ang="0">
                  <a:pos x="199" y="304"/>
                </a:cxn>
                <a:cxn ang="0">
                  <a:pos x="267" y="211"/>
                </a:cxn>
                <a:cxn ang="0">
                  <a:pos x="191" y="197"/>
                </a:cxn>
                <a:cxn ang="0">
                  <a:pos x="143" y="203"/>
                </a:cxn>
                <a:cxn ang="0">
                  <a:pos x="195" y="170"/>
                </a:cxn>
                <a:cxn ang="0">
                  <a:pos x="296" y="115"/>
                </a:cxn>
                <a:cxn ang="0">
                  <a:pos x="238" y="2"/>
                </a:cxn>
                <a:cxn ang="0">
                  <a:pos x="179" y="27"/>
                </a:cxn>
              </a:cxnLst>
              <a:rect l="0" t="0" r="r" b="b"/>
              <a:pathLst>
                <a:path w="307" h="325">
                  <a:moveTo>
                    <a:pt x="179" y="27"/>
                  </a:moveTo>
                  <a:cubicBezTo>
                    <a:pt x="183" y="51"/>
                    <a:pt x="183" y="51"/>
                    <a:pt x="183" y="51"/>
                  </a:cubicBezTo>
                  <a:cubicBezTo>
                    <a:pt x="163" y="57"/>
                    <a:pt x="154" y="46"/>
                    <a:pt x="147" y="27"/>
                  </a:cubicBezTo>
                  <a:cubicBezTo>
                    <a:pt x="103" y="29"/>
                    <a:pt x="85" y="79"/>
                    <a:pt x="63" y="111"/>
                  </a:cubicBezTo>
                  <a:cubicBezTo>
                    <a:pt x="41" y="144"/>
                    <a:pt x="8" y="167"/>
                    <a:pt x="2" y="207"/>
                  </a:cubicBezTo>
                  <a:cubicBezTo>
                    <a:pt x="0" y="223"/>
                    <a:pt x="6" y="240"/>
                    <a:pt x="7" y="255"/>
                  </a:cubicBezTo>
                  <a:cubicBezTo>
                    <a:pt x="8" y="269"/>
                    <a:pt x="1" y="291"/>
                    <a:pt x="10" y="302"/>
                  </a:cubicBezTo>
                  <a:cubicBezTo>
                    <a:pt x="28" y="325"/>
                    <a:pt x="88" y="303"/>
                    <a:pt x="111" y="298"/>
                  </a:cubicBezTo>
                  <a:cubicBezTo>
                    <a:pt x="125" y="295"/>
                    <a:pt x="145" y="287"/>
                    <a:pt x="159" y="289"/>
                  </a:cubicBezTo>
                  <a:cubicBezTo>
                    <a:pt x="174" y="291"/>
                    <a:pt x="183" y="306"/>
                    <a:pt x="199" y="304"/>
                  </a:cubicBezTo>
                  <a:cubicBezTo>
                    <a:pt x="225" y="301"/>
                    <a:pt x="261" y="235"/>
                    <a:pt x="267" y="211"/>
                  </a:cubicBezTo>
                  <a:cubicBezTo>
                    <a:pt x="243" y="194"/>
                    <a:pt x="221" y="191"/>
                    <a:pt x="191" y="197"/>
                  </a:cubicBezTo>
                  <a:cubicBezTo>
                    <a:pt x="172" y="201"/>
                    <a:pt x="161" y="218"/>
                    <a:pt x="143" y="203"/>
                  </a:cubicBezTo>
                  <a:cubicBezTo>
                    <a:pt x="166" y="198"/>
                    <a:pt x="176" y="181"/>
                    <a:pt x="195" y="170"/>
                  </a:cubicBezTo>
                  <a:cubicBezTo>
                    <a:pt x="222" y="156"/>
                    <a:pt x="282" y="146"/>
                    <a:pt x="296" y="115"/>
                  </a:cubicBezTo>
                  <a:cubicBezTo>
                    <a:pt x="307" y="89"/>
                    <a:pt x="271" y="4"/>
                    <a:pt x="238" y="2"/>
                  </a:cubicBezTo>
                  <a:cubicBezTo>
                    <a:pt x="218" y="0"/>
                    <a:pt x="197" y="20"/>
                    <a:pt x="179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" name="Freeform 27"/>
            <p:cNvSpPr/>
            <p:nvPr/>
          </p:nvSpPr>
          <p:spPr bwMode="auto">
            <a:xfrm>
              <a:off x="3409950" y="2540000"/>
              <a:ext cx="395288" cy="469900"/>
            </a:xfrm>
            <a:custGeom>
              <a:avLst/>
              <a:gdLst/>
              <a:ahLst/>
              <a:cxnLst>
                <a:cxn ang="0">
                  <a:pos x="13" y="101"/>
                </a:cxn>
                <a:cxn ang="0">
                  <a:pos x="50" y="171"/>
                </a:cxn>
                <a:cxn ang="0">
                  <a:pos x="91" y="198"/>
                </a:cxn>
                <a:cxn ang="0">
                  <a:pos x="83" y="242"/>
                </a:cxn>
                <a:cxn ang="0">
                  <a:pos x="129" y="337"/>
                </a:cxn>
                <a:cxn ang="0">
                  <a:pos x="166" y="413"/>
                </a:cxn>
                <a:cxn ang="0">
                  <a:pos x="149" y="581"/>
                </a:cxn>
                <a:cxn ang="0">
                  <a:pos x="157" y="609"/>
                </a:cxn>
                <a:cxn ang="0">
                  <a:pos x="117" y="633"/>
                </a:cxn>
                <a:cxn ang="0">
                  <a:pos x="90" y="673"/>
                </a:cxn>
                <a:cxn ang="0">
                  <a:pos x="41" y="717"/>
                </a:cxn>
                <a:cxn ang="0">
                  <a:pos x="0" y="809"/>
                </a:cxn>
                <a:cxn ang="0">
                  <a:pos x="7" y="861"/>
                </a:cxn>
                <a:cxn ang="0">
                  <a:pos x="5" y="1005"/>
                </a:cxn>
                <a:cxn ang="0">
                  <a:pos x="137" y="1074"/>
                </a:cxn>
                <a:cxn ang="0">
                  <a:pos x="473" y="1261"/>
                </a:cxn>
                <a:cxn ang="0">
                  <a:pos x="641" y="1354"/>
                </a:cxn>
                <a:cxn ang="0">
                  <a:pos x="641" y="1435"/>
                </a:cxn>
                <a:cxn ang="0">
                  <a:pos x="733" y="1508"/>
                </a:cxn>
                <a:cxn ang="0">
                  <a:pos x="929" y="1645"/>
                </a:cxn>
                <a:cxn ang="0">
                  <a:pos x="929" y="1629"/>
                </a:cxn>
                <a:cxn ang="0">
                  <a:pos x="937" y="1637"/>
                </a:cxn>
                <a:cxn ang="0">
                  <a:pos x="986" y="1573"/>
                </a:cxn>
                <a:cxn ang="0">
                  <a:pos x="1031" y="1489"/>
                </a:cxn>
                <a:cxn ang="0">
                  <a:pos x="1085" y="1397"/>
                </a:cxn>
                <a:cxn ang="0">
                  <a:pos x="1114" y="1285"/>
                </a:cxn>
                <a:cxn ang="0">
                  <a:pos x="1205" y="1245"/>
                </a:cxn>
                <a:cxn ang="0">
                  <a:pos x="1213" y="1217"/>
                </a:cxn>
                <a:cxn ang="0">
                  <a:pos x="1209" y="1229"/>
                </a:cxn>
                <a:cxn ang="0">
                  <a:pos x="1229" y="1209"/>
                </a:cxn>
                <a:cxn ang="0">
                  <a:pos x="1265" y="1197"/>
                </a:cxn>
                <a:cxn ang="0">
                  <a:pos x="1245" y="1177"/>
                </a:cxn>
                <a:cxn ang="0">
                  <a:pos x="1245" y="1173"/>
                </a:cxn>
                <a:cxn ang="0">
                  <a:pos x="1341" y="1105"/>
                </a:cxn>
                <a:cxn ang="0">
                  <a:pos x="1239" y="979"/>
                </a:cxn>
                <a:cxn ang="0">
                  <a:pos x="1237" y="845"/>
                </a:cxn>
                <a:cxn ang="0">
                  <a:pos x="1237" y="541"/>
                </a:cxn>
                <a:cxn ang="0">
                  <a:pos x="1237" y="401"/>
                </a:cxn>
                <a:cxn ang="0">
                  <a:pos x="1240" y="337"/>
                </a:cxn>
                <a:cxn ang="0">
                  <a:pos x="1291" y="281"/>
                </a:cxn>
                <a:cxn ang="0">
                  <a:pos x="1351" y="197"/>
                </a:cxn>
                <a:cxn ang="0">
                  <a:pos x="1385" y="133"/>
                </a:cxn>
                <a:cxn ang="0">
                  <a:pos x="1265" y="139"/>
                </a:cxn>
                <a:cxn ang="0">
                  <a:pos x="1193" y="87"/>
                </a:cxn>
                <a:cxn ang="0">
                  <a:pos x="1116" y="115"/>
                </a:cxn>
                <a:cxn ang="0">
                  <a:pos x="981" y="233"/>
                </a:cxn>
                <a:cxn ang="0">
                  <a:pos x="861" y="212"/>
                </a:cxn>
                <a:cxn ang="0">
                  <a:pos x="809" y="198"/>
                </a:cxn>
                <a:cxn ang="0">
                  <a:pos x="737" y="195"/>
                </a:cxn>
                <a:cxn ang="0">
                  <a:pos x="545" y="66"/>
                </a:cxn>
                <a:cxn ang="0">
                  <a:pos x="381" y="53"/>
                </a:cxn>
                <a:cxn ang="0">
                  <a:pos x="349" y="21"/>
                </a:cxn>
                <a:cxn ang="0">
                  <a:pos x="253" y="25"/>
                </a:cxn>
                <a:cxn ang="0">
                  <a:pos x="13" y="101"/>
                </a:cxn>
              </a:cxnLst>
              <a:rect l="0" t="0" r="r" b="b"/>
              <a:pathLst>
                <a:path w="1386" h="1645">
                  <a:moveTo>
                    <a:pt x="13" y="101"/>
                  </a:moveTo>
                  <a:cubicBezTo>
                    <a:pt x="50" y="171"/>
                    <a:pt x="50" y="171"/>
                    <a:pt x="50" y="171"/>
                  </a:cubicBezTo>
                  <a:cubicBezTo>
                    <a:pt x="91" y="198"/>
                    <a:pt x="91" y="198"/>
                    <a:pt x="91" y="198"/>
                  </a:cubicBezTo>
                  <a:cubicBezTo>
                    <a:pt x="83" y="242"/>
                    <a:pt x="83" y="242"/>
                    <a:pt x="83" y="242"/>
                  </a:cubicBezTo>
                  <a:cubicBezTo>
                    <a:pt x="129" y="337"/>
                    <a:pt x="129" y="337"/>
                    <a:pt x="129" y="337"/>
                  </a:cubicBezTo>
                  <a:cubicBezTo>
                    <a:pt x="153" y="338"/>
                    <a:pt x="163" y="392"/>
                    <a:pt x="166" y="413"/>
                  </a:cubicBezTo>
                  <a:cubicBezTo>
                    <a:pt x="176" y="470"/>
                    <a:pt x="218" y="540"/>
                    <a:pt x="149" y="581"/>
                  </a:cubicBezTo>
                  <a:cubicBezTo>
                    <a:pt x="157" y="609"/>
                    <a:pt x="157" y="609"/>
                    <a:pt x="157" y="609"/>
                  </a:cubicBezTo>
                  <a:cubicBezTo>
                    <a:pt x="141" y="614"/>
                    <a:pt x="123" y="616"/>
                    <a:pt x="117" y="633"/>
                  </a:cubicBezTo>
                  <a:cubicBezTo>
                    <a:pt x="95" y="637"/>
                    <a:pt x="99" y="656"/>
                    <a:pt x="90" y="673"/>
                  </a:cubicBezTo>
                  <a:cubicBezTo>
                    <a:pt x="80" y="694"/>
                    <a:pt x="63" y="710"/>
                    <a:pt x="41" y="717"/>
                  </a:cubicBezTo>
                  <a:cubicBezTo>
                    <a:pt x="0" y="809"/>
                    <a:pt x="0" y="809"/>
                    <a:pt x="0" y="809"/>
                  </a:cubicBezTo>
                  <a:cubicBezTo>
                    <a:pt x="7" y="861"/>
                    <a:pt x="7" y="861"/>
                    <a:pt x="7" y="861"/>
                  </a:cubicBezTo>
                  <a:cubicBezTo>
                    <a:pt x="5" y="1005"/>
                    <a:pt x="5" y="1005"/>
                    <a:pt x="5" y="1005"/>
                  </a:cubicBezTo>
                  <a:cubicBezTo>
                    <a:pt x="52" y="1016"/>
                    <a:pt x="95" y="1052"/>
                    <a:pt x="137" y="1074"/>
                  </a:cubicBezTo>
                  <a:cubicBezTo>
                    <a:pt x="251" y="1132"/>
                    <a:pt x="364" y="1195"/>
                    <a:pt x="473" y="1261"/>
                  </a:cubicBezTo>
                  <a:cubicBezTo>
                    <a:pt x="524" y="1292"/>
                    <a:pt x="599" y="1313"/>
                    <a:pt x="641" y="1354"/>
                  </a:cubicBezTo>
                  <a:cubicBezTo>
                    <a:pt x="673" y="1386"/>
                    <a:pt x="624" y="1410"/>
                    <a:pt x="641" y="1435"/>
                  </a:cubicBezTo>
                  <a:cubicBezTo>
                    <a:pt x="662" y="1465"/>
                    <a:pt x="704" y="1488"/>
                    <a:pt x="733" y="1508"/>
                  </a:cubicBezTo>
                  <a:cubicBezTo>
                    <a:pt x="791" y="1550"/>
                    <a:pt x="860" y="1627"/>
                    <a:pt x="929" y="1645"/>
                  </a:cubicBezTo>
                  <a:cubicBezTo>
                    <a:pt x="929" y="1629"/>
                    <a:pt x="929" y="1629"/>
                    <a:pt x="929" y="1629"/>
                  </a:cubicBezTo>
                  <a:cubicBezTo>
                    <a:pt x="937" y="1637"/>
                    <a:pt x="937" y="1637"/>
                    <a:pt x="937" y="1637"/>
                  </a:cubicBezTo>
                  <a:cubicBezTo>
                    <a:pt x="967" y="1629"/>
                    <a:pt x="974" y="1599"/>
                    <a:pt x="986" y="1573"/>
                  </a:cubicBezTo>
                  <a:cubicBezTo>
                    <a:pt x="1001" y="1545"/>
                    <a:pt x="1018" y="1519"/>
                    <a:pt x="1031" y="1489"/>
                  </a:cubicBezTo>
                  <a:cubicBezTo>
                    <a:pt x="1047" y="1451"/>
                    <a:pt x="1047" y="1422"/>
                    <a:pt x="1085" y="1397"/>
                  </a:cubicBezTo>
                  <a:cubicBezTo>
                    <a:pt x="1085" y="1365"/>
                    <a:pt x="1087" y="1305"/>
                    <a:pt x="1114" y="1285"/>
                  </a:cubicBezTo>
                  <a:cubicBezTo>
                    <a:pt x="1141" y="1264"/>
                    <a:pt x="1175" y="1267"/>
                    <a:pt x="1205" y="1245"/>
                  </a:cubicBezTo>
                  <a:cubicBezTo>
                    <a:pt x="1213" y="1217"/>
                    <a:pt x="1213" y="1217"/>
                    <a:pt x="1213" y="1217"/>
                  </a:cubicBezTo>
                  <a:cubicBezTo>
                    <a:pt x="1209" y="1229"/>
                    <a:pt x="1209" y="1229"/>
                    <a:pt x="1209" y="1229"/>
                  </a:cubicBezTo>
                  <a:cubicBezTo>
                    <a:pt x="1226" y="1232"/>
                    <a:pt x="1232" y="1226"/>
                    <a:pt x="1229" y="1209"/>
                  </a:cubicBezTo>
                  <a:cubicBezTo>
                    <a:pt x="1265" y="1197"/>
                    <a:pt x="1265" y="1197"/>
                    <a:pt x="1265" y="1197"/>
                  </a:cubicBezTo>
                  <a:cubicBezTo>
                    <a:pt x="1245" y="1177"/>
                    <a:pt x="1245" y="1177"/>
                    <a:pt x="1245" y="1177"/>
                  </a:cubicBezTo>
                  <a:cubicBezTo>
                    <a:pt x="1245" y="1173"/>
                    <a:pt x="1245" y="1173"/>
                    <a:pt x="1245" y="1173"/>
                  </a:cubicBezTo>
                  <a:cubicBezTo>
                    <a:pt x="1291" y="1173"/>
                    <a:pt x="1319" y="1145"/>
                    <a:pt x="1341" y="1105"/>
                  </a:cubicBezTo>
                  <a:cubicBezTo>
                    <a:pt x="1308" y="1081"/>
                    <a:pt x="1252" y="1019"/>
                    <a:pt x="1239" y="979"/>
                  </a:cubicBezTo>
                  <a:cubicBezTo>
                    <a:pt x="1226" y="943"/>
                    <a:pt x="1237" y="884"/>
                    <a:pt x="1237" y="845"/>
                  </a:cubicBezTo>
                  <a:cubicBezTo>
                    <a:pt x="1237" y="541"/>
                    <a:pt x="1237" y="541"/>
                    <a:pt x="1237" y="541"/>
                  </a:cubicBezTo>
                  <a:cubicBezTo>
                    <a:pt x="1237" y="401"/>
                    <a:pt x="1237" y="401"/>
                    <a:pt x="1237" y="401"/>
                  </a:cubicBezTo>
                  <a:cubicBezTo>
                    <a:pt x="1237" y="382"/>
                    <a:pt x="1233" y="356"/>
                    <a:pt x="1240" y="337"/>
                  </a:cubicBezTo>
                  <a:cubicBezTo>
                    <a:pt x="1248" y="314"/>
                    <a:pt x="1275" y="299"/>
                    <a:pt x="1291" y="281"/>
                  </a:cubicBezTo>
                  <a:cubicBezTo>
                    <a:pt x="1314" y="256"/>
                    <a:pt x="1331" y="225"/>
                    <a:pt x="1351" y="197"/>
                  </a:cubicBezTo>
                  <a:cubicBezTo>
                    <a:pt x="1365" y="179"/>
                    <a:pt x="1386" y="158"/>
                    <a:pt x="1385" y="133"/>
                  </a:cubicBezTo>
                  <a:cubicBezTo>
                    <a:pt x="1354" y="136"/>
                    <a:pt x="1294" y="150"/>
                    <a:pt x="1265" y="139"/>
                  </a:cubicBezTo>
                  <a:cubicBezTo>
                    <a:pt x="1237" y="128"/>
                    <a:pt x="1227" y="90"/>
                    <a:pt x="1193" y="87"/>
                  </a:cubicBezTo>
                  <a:cubicBezTo>
                    <a:pt x="1168" y="84"/>
                    <a:pt x="1138" y="105"/>
                    <a:pt x="1116" y="115"/>
                  </a:cubicBezTo>
                  <a:cubicBezTo>
                    <a:pt x="1064" y="140"/>
                    <a:pt x="992" y="167"/>
                    <a:pt x="981" y="233"/>
                  </a:cubicBezTo>
                  <a:cubicBezTo>
                    <a:pt x="945" y="214"/>
                    <a:pt x="901" y="219"/>
                    <a:pt x="861" y="212"/>
                  </a:cubicBezTo>
                  <a:cubicBezTo>
                    <a:pt x="844" y="209"/>
                    <a:pt x="827" y="199"/>
                    <a:pt x="809" y="198"/>
                  </a:cubicBezTo>
                  <a:cubicBezTo>
                    <a:pt x="786" y="197"/>
                    <a:pt x="761" y="203"/>
                    <a:pt x="737" y="195"/>
                  </a:cubicBezTo>
                  <a:cubicBezTo>
                    <a:pt x="669" y="171"/>
                    <a:pt x="607" y="104"/>
                    <a:pt x="545" y="66"/>
                  </a:cubicBezTo>
                  <a:cubicBezTo>
                    <a:pt x="497" y="37"/>
                    <a:pt x="434" y="61"/>
                    <a:pt x="381" y="53"/>
                  </a:cubicBezTo>
                  <a:cubicBezTo>
                    <a:pt x="360" y="49"/>
                    <a:pt x="366" y="26"/>
                    <a:pt x="349" y="21"/>
                  </a:cubicBezTo>
                  <a:cubicBezTo>
                    <a:pt x="322" y="12"/>
                    <a:pt x="281" y="25"/>
                    <a:pt x="253" y="25"/>
                  </a:cubicBezTo>
                  <a:cubicBezTo>
                    <a:pt x="163" y="28"/>
                    <a:pt x="58" y="0"/>
                    <a:pt x="13" y="10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" name="Freeform 28"/>
            <p:cNvSpPr/>
            <p:nvPr/>
          </p:nvSpPr>
          <p:spPr bwMode="auto">
            <a:xfrm>
              <a:off x="3179763" y="2822575"/>
              <a:ext cx="554038" cy="533400"/>
            </a:xfrm>
            <a:custGeom>
              <a:avLst/>
              <a:gdLst/>
              <a:ahLst/>
              <a:cxnLst>
                <a:cxn ang="0">
                  <a:pos x="257" y="109"/>
                </a:cxn>
                <a:cxn ang="0">
                  <a:pos x="188" y="324"/>
                </a:cxn>
                <a:cxn ang="0">
                  <a:pos x="261" y="383"/>
                </a:cxn>
                <a:cxn ang="0">
                  <a:pos x="184" y="484"/>
                </a:cxn>
                <a:cxn ang="0">
                  <a:pos x="16" y="596"/>
                </a:cxn>
                <a:cxn ang="0">
                  <a:pos x="52" y="816"/>
                </a:cxn>
                <a:cxn ang="0">
                  <a:pos x="41" y="920"/>
                </a:cxn>
                <a:cxn ang="0">
                  <a:pos x="196" y="1144"/>
                </a:cxn>
                <a:cxn ang="0">
                  <a:pos x="272" y="1296"/>
                </a:cxn>
                <a:cxn ang="0">
                  <a:pos x="404" y="1374"/>
                </a:cxn>
                <a:cxn ang="0">
                  <a:pos x="464" y="1403"/>
                </a:cxn>
                <a:cxn ang="0">
                  <a:pos x="644" y="1460"/>
                </a:cxn>
                <a:cxn ang="0">
                  <a:pos x="807" y="1511"/>
                </a:cxn>
                <a:cxn ang="0">
                  <a:pos x="906" y="1584"/>
                </a:cxn>
                <a:cxn ang="0">
                  <a:pos x="927" y="1696"/>
                </a:cxn>
                <a:cxn ang="0">
                  <a:pos x="976" y="1836"/>
                </a:cxn>
                <a:cxn ang="0">
                  <a:pos x="1144" y="1816"/>
                </a:cxn>
                <a:cxn ang="0">
                  <a:pos x="1280" y="1863"/>
                </a:cxn>
                <a:cxn ang="0">
                  <a:pos x="1407" y="1866"/>
                </a:cxn>
                <a:cxn ang="0">
                  <a:pos x="1524" y="1788"/>
                </a:cxn>
                <a:cxn ang="0">
                  <a:pos x="1676" y="1768"/>
                </a:cxn>
                <a:cxn ang="0">
                  <a:pos x="1776" y="1739"/>
                </a:cxn>
                <a:cxn ang="0">
                  <a:pos x="1904" y="1596"/>
                </a:cxn>
                <a:cxn ang="0">
                  <a:pos x="1884" y="1592"/>
                </a:cxn>
                <a:cxn ang="0">
                  <a:pos x="1808" y="1488"/>
                </a:cxn>
                <a:cxn ang="0">
                  <a:pos x="1764" y="1380"/>
                </a:cxn>
                <a:cxn ang="0">
                  <a:pos x="1742" y="1296"/>
                </a:cxn>
                <a:cxn ang="0">
                  <a:pos x="1738" y="1128"/>
                </a:cxn>
                <a:cxn ang="0">
                  <a:pos x="1724" y="992"/>
                </a:cxn>
                <a:cxn ang="0">
                  <a:pos x="1686" y="780"/>
                </a:cxn>
                <a:cxn ang="0">
                  <a:pos x="1727" y="660"/>
                </a:cxn>
                <a:cxn ang="0">
                  <a:pos x="1504" y="481"/>
                </a:cxn>
                <a:cxn ang="0">
                  <a:pos x="1468" y="404"/>
                </a:cxn>
                <a:cxn ang="0">
                  <a:pos x="1364" y="303"/>
                </a:cxn>
                <a:cxn ang="0">
                  <a:pos x="924" y="59"/>
                </a:cxn>
                <a:cxn ang="0">
                  <a:pos x="656" y="0"/>
                </a:cxn>
                <a:cxn ang="0">
                  <a:pos x="192" y="8"/>
                </a:cxn>
              </a:cxnLst>
              <a:rect l="0" t="0" r="r" b="b"/>
              <a:pathLst>
                <a:path w="1944" h="1868">
                  <a:moveTo>
                    <a:pt x="192" y="8"/>
                  </a:moveTo>
                  <a:cubicBezTo>
                    <a:pt x="257" y="109"/>
                    <a:pt x="257" y="109"/>
                    <a:pt x="257" y="109"/>
                  </a:cubicBezTo>
                  <a:cubicBezTo>
                    <a:pt x="264" y="236"/>
                    <a:pt x="264" y="236"/>
                    <a:pt x="264" y="236"/>
                  </a:cubicBezTo>
                  <a:cubicBezTo>
                    <a:pt x="197" y="226"/>
                    <a:pt x="211" y="282"/>
                    <a:pt x="188" y="324"/>
                  </a:cubicBezTo>
                  <a:cubicBezTo>
                    <a:pt x="188" y="328"/>
                    <a:pt x="188" y="328"/>
                    <a:pt x="188" y="328"/>
                  </a:cubicBezTo>
                  <a:cubicBezTo>
                    <a:pt x="205" y="342"/>
                    <a:pt x="275" y="346"/>
                    <a:pt x="261" y="383"/>
                  </a:cubicBezTo>
                  <a:cubicBezTo>
                    <a:pt x="254" y="403"/>
                    <a:pt x="229" y="399"/>
                    <a:pt x="228" y="424"/>
                  </a:cubicBezTo>
                  <a:cubicBezTo>
                    <a:pt x="200" y="433"/>
                    <a:pt x="188" y="456"/>
                    <a:pt x="184" y="484"/>
                  </a:cubicBezTo>
                  <a:cubicBezTo>
                    <a:pt x="156" y="493"/>
                    <a:pt x="152" y="531"/>
                    <a:pt x="135" y="552"/>
                  </a:cubicBezTo>
                  <a:cubicBezTo>
                    <a:pt x="101" y="592"/>
                    <a:pt x="64" y="596"/>
                    <a:pt x="16" y="596"/>
                  </a:cubicBezTo>
                  <a:cubicBezTo>
                    <a:pt x="22" y="628"/>
                    <a:pt x="0" y="658"/>
                    <a:pt x="6" y="692"/>
                  </a:cubicBezTo>
                  <a:cubicBezTo>
                    <a:pt x="13" y="734"/>
                    <a:pt x="50" y="773"/>
                    <a:pt x="52" y="816"/>
                  </a:cubicBezTo>
                  <a:cubicBezTo>
                    <a:pt x="52" y="833"/>
                    <a:pt x="39" y="844"/>
                    <a:pt x="34" y="860"/>
                  </a:cubicBezTo>
                  <a:cubicBezTo>
                    <a:pt x="29" y="878"/>
                    <a:pt x="36" y="903"/>
                    <a:pt x="41" y="920"/>
                  </a:cubicBezTo>
                  <a:cubicBezTo>
                    <a:pt x="63" y="993"/>
                    <a:pt x="132" y="1009"/>
                    <a:pt x="170" y="1068"/>
                  </a:cubicBezTo>
                  <a:cubicBezTo>
                    <a:pt x="186" y="1093"/>
                    <a:pt x="187" y="1117"/>
                    <a:pt x="196" y="1144"/>
                  </a:cubicBezTo>
                  <a:cubicBezTo>
                    <a:pt x="206" y="1169"/>
                    <a:pt x="226" y="1188"/>
                    <a:pt x="237" y="1212"/>
                  </a:cubicBezTo>
                  <a:cubicBezTo>
                    <a:pt x="251" y="1239"/>
                    <a:pt x="255" y="1271"/>
                    <a:pt x="272" y="1296"/>
                  </a:cubicBezTo>
                  <a:cubicBezTo>
                    <a:pt x="299" y="1335"/>
                    <a:pt x="332" y="1316"/>
                    <a:pt x="368" y="1334"/>
                  </a:cubicBezTo>
                  <a:cubicBezTo>
                    <a:pt x="386" y="1343"/>
                    <a:pt x="389" y="1363"/>
                    <a:pt x="404" y="1374"/>
                  </a:cubicBezTo>
                  <a:cubicBezTo>
                    <a:pt x="417" y="1382"/>
                    <a:pt x="431" y="1374"/>
                    <a:pt x="443" y="1380"/>
                  </a:cubicBezTo>
                  <a:cubicBezTo>
                    <a:pt x="452" y="1386"/>
                    <a:pt x="454" y="1398"/>
                    <a:pt x="464" y="1403"/>
                  </a:cubicBezTo>
                  <a:cubicBezTo>
                    <a:pt x="488" y="1414"/>
                    <a:pt x="529" y="1420"/>
                    <a:pt x="556" y="1420"/>
                  </a:cubicBezTo>
                  <a:cubicBezTo>
                    <a:pt x="560" y="1446"/>
                    <a:pt x="620" y="1465"/>
                    <a:pt x="644" y="1460"/>
                  </a:cubicBezTo>
                  <a:cubicBezTo>
                    <a:pt x="666" y="1498"/>
                    <a:pt x="732" y="1490"/>
                    <a:pt x="768" y="1497"/>
                  </a:cubicBezTo>
                  <a:cubicBezTo>
                    <a:pt x="780" y="1500"/>
                    <a:pt x="794" y="1516"/>
                    <a:pt x="807" y="1511"/>
                  </a:cubicBezTo>
                  <a:cubicBezTo>
                    <a:pt x="818" y="1506"/>
                    <a:pt x="816" y="1489"/>
                    <a:pt x="816" y="1480"/>
                  </a:cubicBezTo>
                  <a:cubicBezTo>
                    <a:pt x="851" y="1498"/>
                    <a:pt x="896" y="1545"/>
                    <a:pt x="906" y="1584"/>
                  </a:cubicBezTo>
                  <a:cubicBezTo>
                    <a:pt x="912" y="1606"/>
                    <a:pt x="906" y="1627"/>
                    <a:pt x="910" y="1648"/>
                  </a:cubicBezTo>
                  <a:cubicBezTo>
                    <a:pt x="913" y="1665"/>
                    <a:pt x="926" y="1679"/>
                    <a:pt x="927" y="1696"/>
                  </a:cubicBezTo>
                  <a:cubicBezTo>
                    <a:pt x="928" y="1715"/>
                    <a:pt x="912" y="1732"/>
                    <a:pt x="917" y="1752"/>
                  </a:cubicBezTo>
                  <a:cubicBezTo>
                    <a:pt x="925" y="1786"/>
                    <a:pt x="972" y="1800"/>
                    <a:pt x="976" y="1836"/>
                  </a:cubicBezTo>
                  <a:cubicBezTo>
                    <a:pt x="1004" y="1844"/>
                    <a:pt x="1067" y="1850"/>
                    <a:pt x="1095" y="1843"/>
                  </a:cubicBezTo>
                  <a:cubicBezTo>
                    <a:pt x="1113" y="1838"/>
                    <a:pt x="1123" y="1815"/>
                    <a:pt x="1144" y="1816"/>
                  </a:cubicBezTo>
                  <a:cubicBezTo>
                    <a:pt x="1177" y="1817"/>
                    <a:pt x="1178" y="1857"/>
                    <a:pt x="1201" y="1863"/>
                  </a:cubicBezTo>
                  <a:cubicBezTo>
                    <a:pt x="1219" y="1867"/>
                    <a:pt x="1262" y="1868"/>
                    <a:pt x="1280" y="1863"/>
                  </a:cubicBezTo>
                  <a:cubicBezTo>
                    <a:pt x="1294" y="1858"/>
                    <a:pt x="1305" y="1843"/>
                    <a:pt x="1320" y="1842"/>
                  </a:cubicBezTo>
                  <a:cubicBezTo>
                    <a:pt x="1347" y="1840"/>
                    <a:pt x="1377" y="1867"/>
                    <a:pt x="1407" y="1866"/>
                  </a:cubicBezTo>
                  <a:cubicBezTo>
                    <a:pt x="1432" y="1866"/>
                    <a:pt x="1467" y="1840"/>
                    <a:pt x="1488" y="1828"/>
                  </a:cubicBezTo>
                  <a:cubicBezTo>
                    <a:pt x="1482" y="1804"/>
                    <a:pt x="1498" y="1786"/>
                    <a:pt x="1524" y="1788"/>
                  </a:cubicBezTo>
                  <a:cubicBezTo>
                    <a:pt x="1546" y="1790"/>
                    <a:pt x="1566" y="1809"/>
                    <a:pt x="1588" y="1809"/>
                  </a:cubicBezTo>
                  <a:cubicBezTo>
                    <a:pt x="1615" y="1808"/>
                    <a:pt x="1648" y="1776"/>
                    <a:pt x="1676" y="1768"/>
                  </a:cubicBezTo>
                  <a:cubicBezTo>
                    <a:pt x="1695" y="1762"/>
                    <a:pt x="1713" y="1775"/>
                    <a:pt x="1731" y="1769"/>
                  </a:cubicBezTo>
                  <a:cubicBezTo>
                    <a:pt x="1748" y="1763"/>
                    <a:pt x="1760" y="1746"/>
                    <a:pt x="1776" y="1739"/>
                  </a:cubicBezTo>
                  <a:cubicBezTo>
                    <a:pt x="1833" y="1714"/>
                    <a:pt x="1900" y="1692"/>
                    <a:pt x="1944" y="1644"/>
                  </a:cubicBezTo>
                  <a:cubicBezTo>
                    <a:pt x="1904" y="1596"/>
                    <a:pt x="1904" y="1596"/>
                    <a:pt x="1904" y="1596"/>
                  </a:cubicBezTo>
                  <a:cubicBezTo>
                    <a:pt x="1880" y="1604"/>
                    <a:pt x="1880" y="1604"/>
                    <a:pt x="1880" y="1604"/>
                  </a:cubicBezTo>
                  <a:cubicBezTo>
                    <a:pt x="1884" y="1592"/>
                    <a:pt x="1884" y="1592"/>
                    <a:pt x="1884" y="1592"/>
                  </a:cubicBezTo>
                  <a:cubicBezTo>
                    <a:pt x="1824" y="1560"/>
                    <a:pt x="1824" y="1560"/>
                    <a:pt x="1824" y="1560"/>
                  </a:cubicBezTo>
                  <a:cubicBezTo>
                    <a:pt x="1808" y="1488"/>
                    <a:pt x="1808" y="1488"/>
                    <a:pt x="1808" y="1488"/>
                  </a:cubicBezTo>
                  <a:cubicBezTo>
                    <a:pt x="1801" y="1428"/>
                    <a:pt x="1801" y="1428"/>
                    <a:pt x="1801" y="1428"/>
                  </a:cubicBezTo>
                  <a:cubicBezTo>
                    <a:pt x="1764" y="1380"/>
                    <a:pt x="1764" y="1380"/>
                    <a:pt x="1764" y="1380"/>
                  </a:cubicBezTo>
                  <a:cubicBezTo>
                    <a:pt x="1780" y="1376"/>
                    <a:pt x="1780" y="1376"/>
                    <a:pt x="1780" y="1376"/>
                  </a:cubicBezTo>
                  <a:cubicBezTo>
                    <a:pt x="1762" y="1350"/>
                    <a:pt x="1741" y="1330"/>
                    <a:pt x="1742" y="1296"/>
                  </a:cubicBezTo>
                  <a:cubicBezTo>
                    <a:pt x="1743" y="1262"/>
                    <a:pt x="1771" y="1229"/>
                    <a:pt x="1767" y="1196"/>
                  </a:cubicBezTo>
                  <a:cubicBezTo>
                    <a:pt x="1764" y="1168"/>
                    <a:pt x="1730" y="1162"/>
                    <a:pt x="1738" y="1128"/>
                  </a:cubicBezTo>
                  <a:cubicBezTo>
                    <a:pt x="1744" y="1098"/>
                    <a:pt x="1779" y="1080"/>
                    <a:pt x="1782" y="1052"/>
                  </a:cubicBezTo>
                  <a:cubicBezTo>
                    <a:pt x="1785" y="1028"/>
                    <a:pt x="1745" y="993"/>
                    <a:pt x="1724" y="992"/>
                  </a:cubicBezTo>
                  <a:cubicBezTo>
                    <a:pt x="1704" y="943"/>
                    <a:pt x="1655" y="940"/>
                    <a:pt x="1652" y="878"/>
                  </a:cubicBezTo>
                  <a:cubicBezTo>
                    <a:pt x="1650" y="840"/>
                    <a:pt x="1672" y="813"/>
                    <a:pt x="1686" y="780"/>
                  </a:cubicBezTo>
                  <a:cubicBezTo>
                    <a:pt x="1696" y="757"/>
                    <a:pt x="1699" y="731"/>
                    <a:pt x="1708" y="708"/>
                  </a:cubicBezTo>
                  <a:cubicBezTo>
                    <a:pt x="1714" y="692"/>
                    <a:pt x="1727" y="678"/>
                    <a:pt x="1727" y="660"/>
                  </a:cubicBezTo>
                  <a:cubicBezTo>
                    <a:pt x="1728" y="630"/>
                    <a:pt x="1689" y="616"/>
                    <a:pt x="1668" y="601"/>
                  </a:cubicBezTo>
                  <a:cubicBezTo>
                    <a:pt x="1612" y="562"/>
                    <a:pt x="1559" y="521"/>
                    <a:pt x="1504" y="481"/>
                  </a:cubicBezTo>
                  <a:cubicBezTo>
                    <a:pt x="1484" y="467"/>
                    <a:pt x="1473" y="438"/>
                    <a:pt x="1448" y="436"/>
                  </a:cubicBezTo>
                  <a:cubicBezTo>
                    <a:pt x="1468" y="404"/>
                    <a:pt x="1468" y="404"/>
                    <a:pt x="1468" y="404"/>
                  </a:cubicBezTo>
                  <a:cubicBezTo>
                    <a:pt x="1449" y="353"/>
                    <a:pt x="1449" y="353"/>
                    <a:pt x="1449" y="353"/>
                  </a:cubicBezTo>
                  <a:cubicBezTo>
                    <a:pt x="1364" y="303"/>
                    <a:pt x="1364" y="303"/>
                    <a:pt x="1364" y="303"/>
                  </a:cubicBezTo>
                  <a:cubicBezTo>
                    <a:pt x="1176" y="199"/>
                    <a:pt x="1176" y="199"/>
                    <a:pt x="1176" y="199"/>
                  </a:cubicBezTo>
                  <a:cubicBezTo>
                    <a:pt x="924" y="59"/>
                    <a:pt x="924" y="59"/>
                    <a:pt x="924" y="59"/>
                  </a:cubicBezTo>
                  <a:cubicBezTo>
                    <a:pt x="816" y="1"/>
                    <a:pt x="816" y="1"/>
                    <a:pt x="816" y="1"/>
                  </a:cubicBezTo>
                  <a:cubicBezTo>
                    <a:pt x="656" y="0"/>
                    <a:pt x="656" y="0"/>
                    <a:pt x="656" y="0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192" y="8"/>
                    <a:pt x="192" y="8"/>
                    <a:pt x="192" y="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" name="Freeform 29"/>
            <p:cNvSpPr/>
            <p:nvPr/>
          </p:nvSpPr>
          <p:spPr bwMode="auto">
            <a:xfrm>
              <a:off x="3197225" y="2562225"/>
              <a:ext cx="271463" cy="293688"/>
            </a:xfrm>
            <a:custGeom>
              <a:avLst/>
              <a:gdLst/>
              <a:ahLst/>
              <a:cxnLst>
                <a:cxn ang="0">
                  <a:pos x="768" y="0"/>
                </a:cxn>
                <a:cxn ang="0">
                  <a:pos x="672" y="83"/>
                </a:cxn>
                <a:cxn ang="0">
                  <a:pos x="600" y="66"/>
                </a:cxn>
                <a:cxn ang="0">
                  <a:pos x="552" y="82"/>
                </a:cxn>
                <a:cxn ang="0">
                  <a:pos x="452" y="124"/>
                </a:cxn>
                <a:cxn ang="0">
                  <a:pos x="412" y="108"/>
                </a:cxn>
                <a:cxn ang="0">
                  <a:pos x="344" y="97"/>
                </a:cxn>
                <a:cxn ang="0">
                  <a:pos x="296" y="78"/>
                </a:cxn>
                <a:cxn ang="0">
                  <a:pos x="216" y="132"/>
                </a:cxn>
                <a:cxn ang="0">
                  <a:pos x="232" y="132"/>
                </a:cxn>
                <a:cxn ang="0">
                  <a:pos x="206" y="192"/>
                </a:cxn>
                <a:cxn ang="0">
                  <a:pos x="221" y="241"/>
                </a:cxn>
                <a:cxn ang="0">
                  <a:pos x="196" y="316"/>
                </a:cxn>
                <a:cxn ang="0">
                  <a:pos x="244" y="328"/>
                </a:cxn>
                <a:cxn ang="0">
                  <a:pos x="248" y="328"/>
                </a:cxn>
                <a:cxn ang="0">
                  <a:pos x="290" y="369"/>
                </a:cxn>
                <a:cxn ang="0">
                  <a:pos x="229" y="441"/>
                </a:cxn>
                <a:cxn ang="0">
                  <a:pos x="155" y="519"/>
                </a:cxn>
                <a:cxn ang="0">
                  <a:pos x="118" y="537"/>
                </a:cxn>
                <a:cxn ang="0">
                  <a:pos x="101" y="571"/>
                </a:cxn>
                <a:cxn ang="0">
                  <a:pos x="72" y="593"/>
                </a:cxn>
                <a:cxn ang="0">
                  <a:pos x="24" y="732"/>
                </a:cxn>
                <a:cxn ang="0">
                  <a:pos x="0" y="984"/>
                </a:cxn>
                <a:cxn ang="0">
                  <a:pos x="52" y="972"/>
                </a:cxn>
                <a:cxn ang="0">
                  <a:pos x="132" y="948"/>
                </a:cxn>
                <a:cxn ang="0">
                  <a:pos x="140" y="924"/>
                </a:cxn>
                <a:cxn ang="0">
                  <a:pos x="216" y="917"/>
                </a:cxn>
                <a:cxn ang="0">
                  <a:pos x="312" y="916"/>
                </a:cxn>
                <a:cxn ang="0">
                  <a:pos x="756" y="916"/>
                </a:cxn>
                <a:cxn ang="0">
                  <a:pos x="766" y="768"/>
                </a:cxn>
                <a:cxn ang="0">
                  <a:pos x="763" y="715"/>
                </a:cxn>
                <a:cxn ang="0">
                  <a:pos x="800" y="642"/>
                </a:cxn>
                <a:cxn ang="0">
                  <a:pos x="860" y="552"/>
                </a:cxn>
                <a:cxn ang="0">
                  <a:pos x="908" y="496"/>
                </a:cxn>
                <a:cxn ang="0">
                  <a:pos x="924" y="492"/>
                </a:cxn>
                <a:cxn ang="0">
                  <a:pos x="943" y="448"/>
                </a:cxn>
                <a:cxn ang="0">
                  <a:pos x="929" y="330"/>
                </a:cxn>
                <a:cxn ang="0">
                  <a:pos x="908" y="280"/>
                </a:cxn>
                <a:cxn ang="0">
                  <a:pos x="881" y="230"/>
                </a:cxn>
                <a:cxn ang="0">
                  <a:pos x="854" y="176"/>
                </a:cxn>
                <a:cxn ang="0">
                  <a:pos x="854" y="105"/>
                </a:cxn>
                <a:cxn ang="0">
                  <a:pos x="807" y="75"/>
                </a:cxn>
                <a:cxn ang="0">
                  <a:pos x="768" y="0"/>
                </a:cxn>
              </a:cxnLst>
              <a:rect l="0" t="0" r="r" b="b"/>
              <a:pathLst>
                <a:path w="951" h="1028">
                  <a:moveTo>
                    <a:pt x="768" y="0"/>
                  </a:moveTo>
                  <a:cubicBezTo>
                    <a:pt x="743" y="25"/>
                    <a:pt x="707" y="73"/>
                    <a:pt x="672" y="83"/>
                  </a:cubicBezTo>
                  <a:cubicBezTo>
                    <a:pt x="644" y="90"/>
                    <a:pt x="626" y="70"/>
                    <a:pt x="600" y="66"/>
                  </a:cubicBezTo>
                  <a:cubicBezTo>
                    <a:pt x="583" y="64"/>
                    <a:pt x="568" y="78"/>
                    <a:pt x="552" y="82"/>
                  </a:cubicBezTo>
                  <a:cubicBezTo>
                    <a:pt x="519" y="91"/>
                    <a:pt x="460" y="76"/>
                    <a:pt x="452" y="124"/>
                  </a:cubicBezTo>
                  <a:cubicBezTo>
                    <a:pt x="412" y="108"/>
                    <a:pt x="412" y="108"/>
                    <a:pt x="412" y="108"/>
                  </a:cubicBezTo>
                  <a:cubicBezTo>
                    <a:pt x="411" y="52"/>
                    <a:pt x="369" y="99"/>
                    <a:pt x="344" y="97"/>
                  </a:cubicBezTo>
                  <a:cubicBezTo>
                    <a:pt x="327" y="96"/>
                    <a:pt x="313" y="81"/>
                    <a:pt x="296" y="78"/>
                  </a:cubicBezTo>
                  <a:cubicBezTo>
                    <a:pt x="258" y="71"/>
                    <a:pt x="232" y="103"/>
                    <a:pt x="216" y="132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06" y="192"/>
                    <a:pt x="206" y="192"/>
                    <a:pt x="206" y="192"/>
                  </a:cubicBezTo>
                  <a:cubicBezTo>
                    <a:pt x="221" y="241"/>
                    <a:pt x="221" y="241"/>
                    <a:pt x="221" y="241"/>
                  </a:cubicBezTo>
                  <a:cubicBezTo>
                    <a:pt x="196" y="316"/>
                    <a:pt x="196" y="316"/>
                    <a:pt x="196" y="316"/>
                  </a:cubicBezTo>
                  <a:cubicBezTo>
                    <a:pt x="212" y="328"/>
                    <a:pt x="226" y="342"/>
                    <a:pt x="244" y="328"/>
                  </a:cubicBezTo>
                  <a:cubicBezTo>
                    <a:pt x="248" y="328"/>
                    <a:pt x="248" y="328"/>
                    <a:pt x="248" y="328"/>
                  </a:cubicBezTo>
                  <a:cubicBezTo>
                    <a:pt x="258" y="341"/>
                    <a:pt x="287" y="353"/>
                    <a:pt x="290" y="369"/>
                  </a:cubicBezTo>
                  <a:cubicBezTo>
                    <a:pt x="294" y="395"/>
                    <a:pt x="246" y="427"/>
                    <a:pt x="229" y="441"/>
                  </a:cubicBezTo>
                  <a:cubicBezTo>
                    <a:pt x="200" y="463"/>
                    <a:pt x="181" y="494"/>
                    <a:pt x="155" y="519"/>
                  </a:cubicBezTo>
                  <a:cubicBezTo>
                    <a:pt x="144" y="529"/>
                    <a:pt x="129" y="529"/>
                    <a:pt x="118" y="537"/>
                  </a:cubicBezTo>
                  <a:cubicBezTo>
                    <a:pt x="107" y="545"/>
                    <a:pt x="109" y="561"/>
                    <a:pt x="101" y="571"/>
                  </a:cubicBezTo>
                  <a:cubicBezTo>
                    <a:pt x="93" y="581"/>
                    <a:pt x="79" y="583"/>
                    <a:pt x="72" y="593"/>
                  </a:cubicBezTo>
                  <a:cubicBezTo>
                    <a:pt x="48" y="632"/>
                    <a:pt x="75" y="707"/>
                    <a:pt x="24" y="732"/>
                  </a:cubicBezTo>
                  <a:cubicBezTo>
                    <a:pt x="0" y="984"/>
                    <a:pt x="0" y="984"/>
                    <a:pt x="0" y="984"/>
                  </a:cubicBezTo>
                  <a:cubicBezTo>
                    <a:pt x="52" y="972"/>
                    <a:pt x="52" y="972"/>
                    <a:pt x="52" y="972"/>
                  </a:cubicBezTo>
                  <a:cubicBezTo>
                    <a:pt x="47" y="1028"/>
                    <a:pt x="118" y="959"/>
                    <a:pt x="132" y="948"/>
                  </a:cubicBezTo>
                  <a:cubicBezTo>
                    <a:pt x="140" y="924"/>
                    <a:pt x="140" y="924"/>
                    <a:pt x="140" y="924"/>
                  </a:cubicBezTo>
                  <a:cubicBezTo>
                    <a:pt x="216" y="917"/>
                    <a:pt x="216" y="917"/>
                    <a:pt x="216" y="917"/>
                  </a:cubicBezTo>
                  <a:cubicBezTo>
                    <a:pt x="312" y="916"/>
                    <a:pt x="312" y="916"/>
                    <a:pt x="312" y="916"/>
                  </a:cubicBezTo>
                  <a:cubicBezTo>
                    <a:pt x="756" y="916"/>
                    <a:pt x="756" y="916"/>
                    <a:pt x="756" y="916"/>
                  </a:cubicBezTo>
                  <a:cubicBezTo>
                    <a:pt x="756" y="866"/>
                    <a:pt x="763" y="818"/>
                    <a:pt x="766" y="768"/>
                  </a:cubicBezTo>
                  <a:cubicBezTo>
                    <a:pt x="767" y="751"/>
                    <a:pt x="758" y="731"/>
                    <a:pt x="763" y="715"/>
                  </a:cubicBezTo>
                  <a:cubicBezTo>
                    <a:pt x="770" y="695"/>
                    <a:pt x="787" y="658"/>
                    <a:pt x="800" y="642"/>
                  </a:cubicBezTo>
                  <a:cubicBezTo>
                    <a:pt x="823" y="611"/>
                    <a:pt x="857" y="597"/>
                    <a:pt x="860" y="552"/>
                  </a:cubicBezTo>
                  <a:cubicBezTo>
                    <a:pt x="889" y="543"/>
                    <a:pt x="925" y="529"/>
                    <a:pt x="908" y="496"/>
                  </a:cubicBezTo>
                  <a:cubicBezTo>
                    <a:pt x="924" y="492"/>
                    <a:pt x="924" y="492"/>
                    <a:pt x="924" y="492"/>
                  </a:cubicBezTo>
                  <a:cubicBezTo>
                    <a:pt x="926" y="476"/>
                    <a:pt x="940" y="465"/>
                    <a:pt x="943" y="448"/>
                  </a:cubicBezTo>
                  <a:cubicBezTo>
                    <a:pt x="951" y="406"/>
                    <a:pt x="939" y="370"/>
                    <a:pt x="929" y="330"/>
                  </a:cubicBezTo>
                  <a:cubicBezTo>
                    <a:pt x="923" y="310"/>
                    <a:pt x="928" y="293"/>
                    <a:pt x="908" y="280"/>
                  </a:cubicBezTo>
                  <a:cubicBezTo>
                    <a:pt x="918" y="247"/>
                    <a:pt x="897" y="251"/>
                    <a:pt x="881" y="230"/>
                  </a:cubicBezTo>
                  <a:cubicBezTo>
                    <a:pt x="871" y="216"/>
                    <a:pt x="863" y="192"/>
                    <a:pt x="854" y="176"/>
                  </a:cubicBezTo>
                  <a:cubicBezTo>
                    <a:pt x="837" y="148"/>
                    <a:pt x="864" y="131"/>
                    <a:pt x="854" y="105"/>
                  </a:cubicBezTo>
                  <a:cubicBezTo>
                    <a:pt x="846" y="87"/>
                    <a:pt x="820" y="89"/>
                    <a:pt x="807" y="75"/>
                  </a:cubicBezTo>
                  <a:cubicBezTo>
                    <a:pt x="787" y="53"/>
                    <a:pt x="792" y="20"/>
                    <a:pt x="768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" name="Freeform 30"/>
            <p:cNvSpPr/>
            <p:nvPr/>
          </p:nvSpPr>
          <p:spPr bwMode="auto">
            <a:xfrm>
              <a:off x="3149600" y="2887663"/>
              <a:ext cx="107950" cy="111125"/>
            </a:xfrm>
            <a:custGeom>
              <a:avLst/>
              <a:gdLst/>
              <a:ahLst/>
              <a:cxnLst>
                <a:cxn ang="0">
                  <a:pos x="205" y="11"/>
                </a:cxn>
                <a:cxn ang="0">
                  <a:pos x="113" y="95"/>
                </a:cxn>
                <a:cxn ang="0">
                  <a:pos x="58" y="119"/>
                </a:cxn>
                <a:cxn ang="0">
                  <a:pos x="85" y="139"/>
                </a:cxn>
                <a:cxn ang="0">
                  <a:pos x="85" y="231"/>
                </a:cxn>
                <a:cxn ang="0">
                  <a:pos x="83" y="283"/>
                </a:cxn>
                <a:cxn ang="0">
                  <a:pos x="113" y="387"/>
                </a:cxn>
                <a:cxn ang="0">
                  <a:pos x="231" y="350"/>
                </a:cxn>
                <a:cxn ang="0">
                  <a:pos x="297" y="267"/>
                </a:cxn>
                <a:cxn ang="0">
                  <a:pos x="337" y="187"/>
                </a:cxn>
                <a:cxn ang="0">
                  <a:pos x="369" y="123"/>
                </a:cxn>
                <a:cxn ang="0">
                  <a:pos x="301" y="111"/>
                </a:cxn>
                <a:cxn ang="0">
                  <a:pos x="301" y="10"/>
                </a:cxn>
                <a:cxn ang="0">
                  <a:pos x="249" y="23"/>
                </a:cxn>
                <a:cxn ang="0">
                  <a:pos x="205" y="11"/>
                </a:cxn>
              </a:cxnLst>
              <a:rect l="0" t="0" r="r" b="b"/>
              <a:pathLst>
                <a:path w="379" h="387">
                  <a:moveTo>
                    <a:pt x="205" y="11"/>
                  </a:moveTo>
                  <a:cubicBezTo>
                    <a:pt x="206" y="87"/>
                    <a:pt x="178" y="84"/>
                    <a:pt x="113" y="95"/>
                  </a:cubicBezTo>
                  <a:cubicBezTo>
                    <a:pt x="117" y="32"/>
                    <a:pt x="0" y="60"/>
                    <a:pt x="58" y="119"/>
                  </a:cubicBezTo>
                  <a:cubicBezTo>
                    <a:pt x="66" y="128"/>
                    <a:pt x="74" y="134"/>
                    <a:pt x="85" y="139"/>
                  </a:cubicBezTo>
                  <a:cubicBezTo>
                    <a:pt x="85" y="231"/>
                    <a:pt x="85" y="231"/>
                    <a:pt x="85" y="231"/>
                  </a:cubicBezTo>
                  <a:cubicBezTo>
                    <a:pt x="83" y="283"/>
                    <a:pt x="83" y="283"/>
                    <a:pt x="83" y="283"/>
                  </a:cubicBezTo>
                  <a:cubicBezTo>
                    <a:pt x="113" y="387"/>
                    <a:pt x="113" y="387"/>
                    <a:pt x="113" y="387"/>
                  </a:cubicBezTo>
                  <a:cubicBezTo>
                    <a:pt x="157" y="384"/>
                    <a:pt x="197" y="383"/>
                    <a:pt x="231" y="350"/>
                  </a:cubicBezTo>
                  <a:cubicBezTo>
                    <a:pt x="258" y="322"/>
                    <a:pt x="257" y="278"/>
                    <a:pt x="297" y="267"/>
                  </a:cubicBezTo>
                  <a:cubicBezTo>
                    <a:pt x="279" y="228"/>
                    <a:pt x="340" y="221"/>
                    <a:pt x="337" y="187"/>
                  </a:cubicBezTo>
                  <a:cubicBezTo>
                    <a:pt x="379" y="176"/>
                    <a:pt x="370" y="160"/>
                    <a:pt x="369" y="123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7" y="84"/>
                    <a:pt x="335" y="27"/>
                    <a:pt x="301" y="10"/>
                  </a:cubicBezTo>
                  <a:cubicBezTo>
                    <a:pt x="282" y="0"/>
                    <a:pt x="268" y="22"/>
                    <a:pt x="249" y="23"/>
                  </a:cubicBezTo>
                  <a:cubicBezTo>
                    <a:pt x="235" y="23"/>
                    <a:pt x="221" y="12"/>
                    <a:pt x="205" y="1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" name="Freeform 31"/>
            <p:cNvSpPr/>
            <p:nvPr/>
          </p:nvSpPr>
          <p:spPr bwMode="auto">
            <a:xfrm>
              <a:off x="3157538" y="2827338"/>
              <a:ext cx="106363" cy="92075"/>
            </a:xfrm>
            <a:custGeom>
              <a:avLst/>
              <a:gdLst/>
              <a:ahLst/>
              <a:cxnLst>
                <a:cxn ang="0">
                  <a:pos x="193" y="72"/>
                </a:cxn>
                <a:cxn ang="0">
                  <a:pos x="78" y="100"/>
                </a:cxn>
                <a:cxn ang="0">
                  <a:pos x="48" y="207"/>
                </a:cxn>
                <a:cxn ang="0">
                  <a:pos x="3" y="248"/>
                </a:cxn>
                <a:cxn ang="0">
                  <a:pos x="49" y="276"/>
                </a:cxn>
                <a:cxn ang="0">
                  <a:pos x="98" y="313"/>
                </a:cxn>
                <a:cxn ang="0">
                  <a:pos x="197" y="287"/>
                </a:cxn>
                <a:cxn ang="0">
                  <a:pos x="201" y="232"/>
                </a:cxn>
                <a:cxn ang="0">
                  <a:pos x="273" y="224"/>
                </a:cxn>
                <a:cxn ang="0">
                  <a:pos x="277" y="224"/>
                </a:cxn>
                <a:cxn ang="0">
                  <a:pos x="293" y="248"/>
                </a:cxn>
                <a:cxn ang="0">
                  <a:pos x="352" y="233"/>
                </a:cxn>
                <a:cxn ang="0">
                  <a:pos x="358" y="160"/>
                </a:cxn>
                <a:cxn ang="0">
                  <a:pos x="342" y="76"/>
                </a:cxn>
                <a:cxn ang="0">
                  <a:pos x="293" y="0"/>
                </a:cxn>
                <a:cxn ang="0">
                  <a:pos x="193" y="72"/>
                </a:cxn>
              </a:cxnLst>
              <a:rect l="0" t="0" r="r" b="b"/>
              <a:pathLst>
                <a:path w="372" h="322">
                  <a:moveTo>
                    <a:pt x="193" y="72"/>
                  </a:moveTo>
                  <a:cubicBezTo>
                    <a:pt x="191" y="18"/>
                    <a:pt x="94" y="81"/>
                    <a:pt x="78" y="100"/>
                  </a:cubicBezTo>
                  <a:cubicBezTo>
                    <a:pt x="46" y="137"/>
                    <a:pt x="71" y="173"/>
                    <a:pt x="48" y="207"/>
                  </a:cubicBezTo>
                  <a:cubicBezTo>
                    <a:pt x="37" y="224"/>
                    <a:pt x="5" y="226"/>
                    <a:pt x="3" y="248"/>
                  </a:cubicBezTo>
                  <a:cubicBezTo>
                    <a:pt x="0" y="274"/>
                    <a:pt x="36" y="313"/>
                    <a:pt x="49" y="276"/>
                  </a:cubicBezTo>
                  <a:cubicBezTo>
                    <a:pt x="79" y="280"/>
                    <a:pt x="77" y="305"/>
                    <a:pt x="98" y="313"/>
                  </a:cubicBezTo>
                  <a:cubicBezTo>
                    <a:pt x="122" y="322"/>
                    <a:pt x="187" y="314"/>
                    <a:pt x="197" y="287"/>
                  </a:cubicBezTo>
                  <a:cubicBezTo>
                    <a:pt x="204" y="271"/>
                    <a:pt x="197" y="250"/>
                    <a:pt x="201" y="232"/>
                  </a:cubicBezTo>
                  <a:cubicBezTo>
                    <a:pt x="226" y="246"/>
                    <a:pt x="253" y="250"/>
                    <a:pt x="273" y="224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93" y="248"/>
                    <a:pt x="293" y="248"/>
                    <a:pt x="293" y="248"/>
                  </a:cubicBezTo>
                  <a:cubicBezTo>
                    <a:pt x="308" y="242"/>
                    <a:pt x="340" y="241"/>
                    <a:pt x="352" y="233"/>
                  </a:cubicBezTo>
                  <a:cubicBezTo>
                    <a:pt x="372" y="217"/>
                    <a:pt x="363" y="179"/>
                    <a:pt x="358" y="160"/>
                  </a:cubicBezTo>
                  <a:cubicBezTo>
                    <a:pt x="351" y="130"/>
                    <a:pt x="357" y="104"/>
                    <a:pt x="342" y="76"/>
                  </a:cubicBezTo>
                  <a:cubicBezTo>
                    <a:pt x="326" y="44"/>
                    <a:pt x="292" y="43"/>
                    <a:pt x="293" y="0"/>
                  </a:cubicBezTo>
                  <a:cubicBezTo>
                    <a:pt x="249" y="1"/>
                    <a:pt x="235" y="60"/>
                    <a:pt x="193" y="7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" name="Freeform 32"/>
            <p:cNvSpPr>
              <a:spLocks noEditPoints="1"/>
            </p:cNvSpPr>
            <p:nvPr/>
          </p:nvSpPr>
          <p:spPr bwMode="auto">
            <a:xfrm>
              <a:off x="2333625" y="2511425"/>
              <a:ext cx="955675" cy="963613"/>
            </a:xfrm>
            <a:custGeom>
              <a:avLst/>
              <a:gdLst/>
              <a:ahLst/>
              <a:cxnLst>
                <a:cxn ang="0">
                  <a:pos x="1948" y="136"/>
                </a:cxn>
                <a:cxn ang="0">
                  <a:pos x="1664" y="186"/>
                </a:cxn>
                <a:cxn ang="0">
                  <a:pos x="1464" y="163"/>
                </a:cxn>
                <a:cxn ang="0">
                  <a:pos x="1280" y="40"/>
                </a:cxn>
                <a:cxn ang="0">
                  <a:pos x="1115" y="372"/>
                </a:cxn>
                <a:cxn ang="0">
                  <a:pos x="1021" y="556"/>
                </a:cxn>
                <a:cxn ang="0">
                  <a:pos x="998" y="860"/>
                </a:cxn>
                <a:cxn ang="0">
                  <a:pos x="821" y="1138"/>
                </a:cxn>
                <a:cxn ang="0">
                  <a:pos x="696" y="1392"/>
                </a:cxn>
                <a:cxn ang="0">
                  <a:pos x="536" y="1672"/>
                </a:cxn>
                <a:cxn ang="0">
                  <a:pos x="396" y="1772"/>
                </a:cxn>
                <a:cxn ang="0">
                  <a:pos x="314" y="1702"/>
                </a:cxn>
                <a:cxn ang="0">
                  <a:pos x="248" y="1760"/>
                </a:cxn>
                <a:cxn ang="0">
                  <a:pos x="168" y="1727"/>
                </a:cxn>
                <a:cxn ang="0">
                  <a:pos x="60" y="1924"/>
                </a:cxn>
                <a:cxn ang="0">
                  <a:pos x="129" y="1954"/>
                </a:cxn>
                <a:cxn ang="0">
                  <a:pos x="624" y="1953"/>
                </a:cxn>
                <a:cxn ang="0">
                  <a:pos x="824" y="2144"/>
                </a:cxn>
                <a:cxn ang="0">
                  <a:pos x="934" y="2337"/>
                </a:cxn>
                <a:cxn ang="0">
                  <a:pos x="1036" y="2324"/>
                </a:cxn>
                <a:cxn ang="0">
                  <a:pos x="1252" y="2324"/>
                </a:cxn>
                <a:cxn ang="0">
                  <a:pos x="1420" y="2136"/>
                </a:cxn>
                <a:cxn ang="0">
                  <a:pos x="1612" y="2200"/>
                </a:cxn>
                <a:cxn ang="0">
                  <a:pos x="1688" y="2408"/>
                </a:cxn>
                <a:cxn ang="0">
                  <a:pos x="1732" y="2832"/>
                </a:cxn>
                <a:cxn ang="0">
                  <a:pos x="1952" y="2840"/>
                </a:cxn>
                <a:cxn ang="0">
                  <a:pos x="2056" y="2824"/>
                </a:cxn>
                <a:cxn ang="0">
                  <a:pos x="2188" y="2899"/>
                </a:cxn>
                <a:cxn ang="0">
                  <a:pos x="2392" y="2998"/>
                </a:cxn>
                <a:cxn ang="0">
                  <a:pos x="2604" y="2944"/>
                </a:cxn>
                <a:cxn ang="0">
                  <a:pos x="2806" y="3098"/>
                </a:cxn>
                <a:cxn ang="0">
                  <a:pos x="2956" y="3264"/>
                </a:cxn>
                <a:cxn ang="0">
                  <a:pos x="3064" y="3208"/>
                </a:cxn>
                <a:cxn ang="0">
                  <a:pos x="2929" y="3072"/>
                </a:cxn>
                <a:cxn ang="0">
                  <a:pos x="2848" y="2810"/>
                </a:cxn>
                <a:cxn ang="0">
                  <a:pos x="2848" y="2588"/>
                </a:cxn>
                <a:cxn ang="0">
                  <a:pos x="2908" y="2404"/>
                </a:cxn>
                <a:cxn ang="0">
                  <a:pos x="3123" y="2132"/>
                </a:cxn>
                <a:cxn ang="0">
                  <a:pos x="3032" y="1924"/>
                </a:cxn>
                <a:cxn ang="0">
                  <a:pos x="2965" y="1600"/>
                </a:cxn>
                <a:cxn ang="0">
                  <a:pos x="2932" y="1392"/>
                </a:cxn>
                <a:cxn ang="0">
                  <a:pos x="2970" y="1216"/>
                </a:cxn>
                <a:cxn ang="0">
                  <a:pos x="3033" y="1068"/>
                </a:cxn>
                <a:cxn ang="0">
                  <a:pos x="3089" y="848"/>
                </a:cxn>
                <a:cxn ang="0">
                  <a:pos x="3142" y="740"/>
                </a:cxn>
                <a:cxn ang="0">
                  <a:pos x="3324" y="560"/>
                </a:cxn>
                <a:cxn ang="0">
                  <a:pos x="3233" y="388"/>
                </a:cxn>
                <a:cxn ang="0">
                  <a:pos x="3192" y="260"/>
                </a:cxn>
                <a:cxn ang="0">
                  <a:pos x="2960" y="170"/>
                </a:cxn>
                <a:cxn ang="0">
                  <a:pos x="2637" y="44"/>
                </a:cxn>
                <a:cxn ang="0">
                  <a:pos x="2372" y="26"/>
                </a:cxn>
                <a:cxn ang="0">
                  <a:pos x="2172" y="80"/>
                </a:cxn>
                <a:cxn ang="0">
                  <a:pos x="3340" y="292"/>
                </a:cxn>
                <a:cxn ang="0">
                  <a:pos x="1712" y="3376"/>
                </a:cxn>
              </a:cxnLst>
              <a:rect l="0" t="0" r="r" b="b"/>
              <a:pathLst>
                <a:path w="3344" h="3376">
                  <a:moveTo>
                    <a:pt x="2172" y="80"/>
                  </a:moveTo>
                  <a:cubicBezTo>
                    <a:pt x="2163" y="63"/>
                    <a:pt x="2111" y="22"/>
                    <a:pt x="2112" y="64"/>
                  </a:cubicBezTo>
                  <a:cubicBezTo>
                    <a:pt x="2067" y="81"/>
                    <a:pt x="1972" y="91"/>
                    <a:pt x="1948" y="136"/>
                  </a:cubicBezTo>
                  <a:cubicBezTo>
                    <a:pt x="1901" y="109"/>
                    <a:pt x="1834" y="70"/>
                    <a:pt x="1824" y="152"/>
                  </a:cubicBezTo>
                  <a:cubicBezTo>
                    <a:pt x="1790" y="157"/>
                    <a:pt x="1803" y="204"/>
                    <a:pt x="1768" y="213"/>
                  </a:cubicBezTo>
                  <a:cubicBezTo>
                    <a:pt x="1743" y="219"/>
                    <a:pt x="1691" y="192"/>
                    <a:pt x="1664" y="186"/>
                  </a:cubicBezTo>
                  <a:cubicBezTo>
                    <a:pt x="1640" y="181"/>
                    <a:pt x="1614" y="194"/>
                    <a:pt x="1588" y="191"/>
                  </a:cubicBezTo>
                  <a:cubicBezTo>
                    <a:pt x="1564" y="189"/>
                    <a:pt x="1551" y="168"/>
                    <a:pt x="1528" y="162"/>
                  </a:cubicBezTo>
                  <a:cubicBezTo>
                    <a:pt x="1507" y="157"/>
                    <a:pt x="1485" y="168"/>
                    <a:pt x="1464" y="163"/>
                  </a:cubicBezTo>
                  <a:cubicBezTo>
                    <a:pt x="1445" y="158"/>
                    <a:pt x="1445" y="138"/>
                    <a:pt x="1435" y="124"/>
                  </a:cubicBezTo>
                  <a:cubicBezTo>
                    <a:pt x="1418" y="100"/>
                    <a:pt x="1383" y="72"/>
                    <a:pt x="1352" y="72"/>
                  </a:cubicBezTo>
                  <a:cubicBezTo>
                    <a:pt x="1338" y="43"/>
                    <a:pt x="1310" y="40"/>
                    <a:pt x="1280" y="40"/>
                  </a:cubicBezTo>
                  <a:cubicBezTo>
                    <a:pt x="1215" y="40"/>
                    <a:pt x="1161" y="112"/>
                    <a:pt x="1140" y="168"/>
                  </a:cubicBezTo>
                  <a:cubicBezTo>
                    <a:pt x="1082" y="165"/>
                    <a:pt x="1120" y="223"/>
                    <a:pt x="1114" y="256"/>
                  </a:cubicBezTo>
                  <a:cubicBezTo>
                    <a:pt x="1108" y="295"/>
                    <a:pt x="1121" y="335"/>
                    <a:pt x="1115" y="372"/>
                  </a:cubicBezTo>
                  <a:cubicBezTo>
                    <a:pt x="1112" y="395"/>
                    <a:pt x="1091" y="418"/>
                    <a:pt x="1081" y="440"/>
                  </a:cubicBezTo>
                  <a:cubicBezTo>
                    <a:pt x="1072" y="461"/>
                    <a:pt x="1065" y="484"/>
                    <a:pt x="1044" y="496"/>
                  </a:cubicBezTo>
                  <a:cubicBezTo>
                    <a:pt x="1042" y="519"/>
                    <a:pt x="1024" y="533"/>
                    <a:pt x="1021" y="556"/>
                  </a:cubicBezTo>
                  <a:cubicBezTo>
                    <a:pt x="1015" y="597"/>
                    <a:pt x="1027" y="640"/>
                    <a:pt x="1017" y="680"/>
                  </a:cubicBezTo>
                  <a:cubicBezTo>
                    <a:pt x="1010" y="707"/>
                    <a:pt x="988" y="732"/>
                    <a:pt x="985" y="760"/>
                  </a:cubicBezTo>
                  <a:cubicBezTo>
                    <a:pt x="981" y="793"/>
                    <a:pt x="1000" y="828"/>
                    <a:pt x="998" y="860"/>
                  </a:cubicBezTo>
                  <a:cubicBezTo>
                    <a:pt x="996" y="890"/>
                    <a:pt x="963" y="924"/>
                    <a:pt x="957" y="956"/>
                  </a:cubicBezTo>
                  <a:cubicBezTo>
                    <a:pt x="952" y="987"/>
                    <a:pt x="965" y="1010"/>
                    <a:pt x="947" y="1040"/>
                  </a:cubicBezTo>
                  <a:cubicBezTo>
                    <a:pt x="913" y="1095"/>
                    <a:pt x="868" y="1101"/>
                    <a:pt x="821" y="1138"/>
                  </a:cubicBezTo>
                  <a:cubicBezTo>
                    <a:pt x="783" y="1168"/>
                    <a:pt x="776" y="1218"/>
                    <a:pt x="747" y="1256"/>
                  </a:cubicBezTo>
                  <a:cubicBezTo>
                    <a:pt x="732" y="1276"/>
                    <a:pt x="703" y="1288"/>
                    <a:pt x="694" y="1312"/>
                  </a:cubicBezTo>
                  <a:cubicBezTo>
                    <a:pt x="685" y="1336"/>
                    <a:pt x="696" y="1367"/>
                    <a:pt x="696" y="1392"/>
                  </a:cubicBezTo>
                  <a:cubicBezTo>
                    <a:pt x="697" y="1469"/>
                    <a:pt x="697" y="1545"/>
                    <a:pt x="644" y="1607"/>
                  </a:cubicBezTo>
                  <a:cubicBezTo>
                    <a:pt x="629" y="1626"/>
                    <a:pt x="604" y="1621"/>
                    <a:pt x="585" y="1632"/>
                  </a:cubicBezTo>
                  <a:cubicBezTo>
                    <a:pt x="560" y="1647"/>
                    <a:pt x="572" y="1673"/>
                    <a:pt x="536" y="1672"/>
                  </a:cubicBezTo>
                  <a:cubicBezTo>
                    <a:pt x="477" y="1736"/>
                    <a:pt x="477" y="1736"/>
                    <a:pt x="477" y="1736"/>
                  </a:cubicBezTo>
                  <a:cubicBezTo>
                    <a:pt x="444" y="1773"/>
                    <a:pt x="444" y="1773"/>
                    <a:pt x="444" y="1773"/>
                  </a:cubicBezTo>
                  <a:cubicBezTo>
                    <a:pt x="396" y="1772"/>
                    <a:pt x="396" y="1772"/>
                    <a:pt x="396" y="1772"/>
                  </a:cubicBezTo>
                  <a:cubicBezTo>
                    <a:pt x="391" y="1736"/>
                    <a:pt x="392" y="1732"/>
                    <a:pt x="408" y="1700"/>
                  </a:cubicBezTo>
                  <a:cubicBezTo>
                    <a:pt x="392" y="1672"/>
                    <a:pt x="392" y="1672"/>
                    <a:pt x="392" y="1672"/>
                  </a:cubicBezTo>
                  <a:cubicBezTo>
                    <a:pt x="314" y="1702"/>
                    <a:pt x="314" y="1702"/>
                    <a:pt x="314" y="1702"/>
                  </a:cubicBezTo>
                  <a:cubicBezTo>
                    <a:pt x="264" y="1704"/>
                    <a:pt x="264" y="1704"/>
                    <a:pt x="264" y="1704"/>
                  </a:cubicBezTo>
                  <a:cubicBezTo>
                    <a:pt x="252" y="1760"/>
                    <a:pt x="252" y="1760"/>
                    <a:pt x="252" y="1760"/>
                  </a:cubicBezTo>
                  <a:cubicBezTo>
                    <a:pt x="248" y="1760"/>
                    <a:pt x="248" y="1760"/>
                    <a:pt x="248" y="1760"/>
                  </a:cubicBezTo>
                  <a:cubicBezTo>
                    <a:pt x="233" y="1751"/>
                    <a:pt x="224" y="1763"/>
                    <a:pt x="216" y="1776"/>
                  </a:cubicBezTo>
                  <a:cubicBezTo>
                    <a:pt x="212" y="1776"/>
                    <a:pt x="212" y="1776"/>
                    <a:pt x="212" y="1776"/>
                  </a:cubicBezTo>
                  <a:cubicBezTo>
                    <a:pt x="203" y="1763"/>
                    <a:pt x="184" y="1729"/>
                    <a:pt x="168" y="1727"/>
                  </a:cubicBezTo>
                  <a:cubicBezTo>
                    <a:pt x="158" y="1726"/>
                    <a:pt x="148" y="1737"/>
                    <a:pt x="140" y="1741"/>
                  </a:cubicBezTo>
                  <a:cubicBezTo>
                    <a:pt x="110" y="1757"/>
                    <a:pt x="77" y="1778"/>
                    <a:pt x="63" y="1812"/>
                  </a:cubicBezTo>
                  <a:cubicBezTo>
                    <a:pt x="51" y="1842"/>
                    <a:pt x="60" y="1891"/>
                    <a:pt x="60" y="1924"/>
                  </a:cubicBezTo>
                  <a:cubicBezTo>
                    <a:pt x="0" y="1928"/>
                    <a:pt x="0" y="1928"/>
                    <a:pt x="0" y="1928"/>
                  </a:cubicBezTo>
                  <a:cubicBezTo>
                    <a:pt x="4" y="1937"/>
                    <a:pt x="8" y="1946"/>
                    <a:pt x="14" y="1954"/>
                  </a:cubicBezTo>
                  <a:cubicBezTo>
                    <a:pt x="53" y="2006"/>
                    <a:pt x="83" y="1966"/>
                    <a:pt x="129" y="1954"/>
                  </a:cubicBezTo>
                  <a:cubicBezTo>
                    <a:pt x="146" y="1950"/>
                    <a:pt x="177" y="1953"/>
                    <a:pt x="196" y="1952"/>
                  </a:cubicBezTo>
                  <a:cubicBezTo>
                    <a:pt x="269" y="1947"/>
                    <a:pt x="343" y="1962"/>
                    <a:pt x="416" y="1961"/>
                  </a:cubicBezTo>
                  <a:cubicBezTo>
                    <a:pt x="485" y="1961"/>
                    <a:pt x="554" y="1949"/>
                    <a:pt x="624" y="1953"/>
                  </a:cubicBezTo>
                  <a:cubicBezTo>
                    <a:pt x="660" y="1955"/>
                    <a:pt x="719" y="1938"/>
                    <a:pt x="751" y="1957"/>
                  </a:cubicBezTo>
                  <a:cubicBezTo>
                    <a:pt x="787" y="1978"/>
                    <a:pt x="785" y="2056"/>
                    <a:pt x="797" y="2092"/>
                  </a:cubicBezTo>
                  <a:cubicBezTo>
                    <a:pt x="803" y="2110"/>
                    <a:pt x="820" y="2127"/>
                    <a:pt x="824" y="2144"/>
                  </a:cubicBezTo>
                  <a:cubicBezTo>
                    <a:pt x="829" y="2162"/>
                    <a:pt x="819" y="2177"/>
                    <a:pt x="830" y="2195"/>
                  </a:cubicBezTo>
                  <a:cubicBezTo>
                    <a:pt x="843" y="2218"/>
                    <a:pt x="864" y="2236"/>
                    <a:pt x="877" y="2260"/>
                  </a:cubicBezTo>
                  <a:cubicBezTo>
                    <a:pt x="888" y="2280"/>
                    <a:pt x="913" y="2328"/>
                    <a:pt x="934" y="2337"/>
                  </a:cubicBezTo>
                  <a:cubicBezTo>
                    <a:pt x="949" y="2345"/>
                    <a:pt x="968" y="2333"/>
                    <a:pt x="984" y="2334"/>
                  </a:cubicBezTo>
                  <a:cubicBezTo>
                    <a:pt x="1002" y="2335"/>
                    <a:pt x="1018" y="2344"/>
                    <a:pt x="1036" y="2344"/>
                  </a:cubicBezTo>
                  <a:cubicBezTo>
                    <a:pt x="1036" y="2324"/>
                    <a:pt x="1036" y="2324"/>
                    <a:pt x="1036" y="2324"/>
                  </a:cubicBezTo>
                  <a:cubicBezTo>
                    <a:pt x="1124" y="2313"/>
                    <a:pt x="1124" y="2313"/>
                    <a:pt x="1124" y="2313"/>
                  </a:cubicBezTo>
                  <a:cubicBezTo>
                    <a:pt x="1156" y="2323"/>
                    <a:pt x="1156" y="2323"/>
                    <a:pt x="1156" y="2323"/>
                  </a:cubicBezTo>
                  <a:cubicBezTo>
                    <a:pt x="1252" y="2324"/>
                    <a:pt x="1252" y="2324"/>
                    <a:pt x="1252" y="2324"/>
                  </a:cubicBezTo>
                  <a:cubicBezTo>
                    <a:pt x="1256" y="2252"/>
                    <a:pt x="1256" y="2252"/>
                    <a:pt x="1256" y="2252"/>
                  </a:cubicBezTo>
                  <a:cubicBezTo>
                    <a:pt x="1304" y="2238"/>
                    <a:pt x="1259" y="2189"/>
                    <a:pt x="1289" y="2161"/>
                  </a:cubicBezTo>
                  <a:cubicBezTo>
                    <a:pt x="1318" y="2134"/>
                    <a:pt x="1407" y="2177"/>
                    <a:pt x="1420" y="2136"/>
                  </a:cubicBezTo>
                  <a:cubicBezTo>
                    <a:pt x="1460" y="2136"/>
                    <a:pt x="1460" y="2136"/>
                    <a:pt x="1460" y="2136"/>
                  </a:cubicBezTo>
                  <a:cubicBezTo>
                    <a:pt x="1455" y="2155"/>
                    <a:pt x="1429" y="2196"/>
                    <a:pt x="1464" y="2200"/>
                  </a:cubicBezTo>
                  <a:cubicBezTo>
                    <a:pt x="1513" y="2204"/>
                    <a:pt x="1563" y="2200"/>
                    <a:pt x="1612" y="2200"/>
                  </a:cubicBezTo>
                  <a:cubicBezTo>
                    <a:pt x="1628" y="2200"/>
                    <a:pt x="1657" y="2194"/>
                    <a:pt x="1667" y="2209"/>
                  </a:cubicBezTo>
                  <a:cubicBezTo>
                    <a:pt x="1686" y="2238"/>
                    <a:pt x="1656" y="2281"/>
                    <a:pt x="1657" y="2312"/>
                  </a:cubicBezTo>
                  <a:cubicBezTo>
                    <a:pt x="1658" y="2344"/>
                    <a:pt x="1686" y="2374"/>
                    <a:pt x="1688" y="2408"/>
                  </a:cubicBezTo>
                  <a:cubicBezTo>
                    <a:pt x="1691" y="2486"/>
                    <a:pt x="1617" y="2627"/>
                    <a:pt x="1736" y="2660"/>
                  </a:cubicBezTo>
                  <a:cubicBezTo>
                    <a:pt x="1729" y="2699"/>
                    <a:pt x="1753" y="2737"/>
                    <a:pt x="1752" y="2776"/>
                  </a:cubicBezTo>
                  <a:cubicBezTo>
                    <a:pt x="1751" y="2799"/>
                    <a:pt x="1726" y="2808"/>
                    <a:pt x="1732" y="2832"/>
                  </a:cubicBezTo>
                  <a:cubicBezTo>
                    <a:pt x="1742" y="2874"/>
                    <a:pt x="1770" y="2900"/>
                    <a:pt x="1800" y="2852"/>
                  </a:cubicBezTo>
                  <a:cubicBezTo>
                    <a:pt x="1828" y="2862"/>
                    <a:pt x="1883" y="2866"/>
                    <a:pt x="1912" y="2858"/>
                  </a:cubicBezTo>
                  <a:cubicBezTo>
                    <a:pt x="1927" y="2854"/>
                    <a:pt x="1937" y="2842"/>
                    <a:pt x="1952" y="2840"/>
                  </a:cubicBezTo>
                  <a:cubicBezTo>
                    <a:pt x="1970" y="2837"/>
                    <a:pt x="1987" y="2847"/>
                    <a:pt x="2004" y="2848"/>
                  </a:cubicBezTo>
                  <a:cubicBezTo>
                    <a:pt x="2024" y="2849"/>
                    <a:pt x="2035" y="2841"/>
                    <a:pt x="2052" y="2836"/>
                  </a:cubicBezTo>
                  <a:cubicBezTo>
                    <a:pt x="2056" y="2824"/>
                    <a:pt x="2056" y="2824"/>
                    <a:pt x="2056" y="2824"/>
                  </a:cubicBezTo>
                  <a:cubicBezTo>
                    <a:pt x="2071" y="2835"/>
                    <a:pt x="2108" y="2852"/>
                    <a:pt x="2116" y="2868"/>
                  </a:cubicBezTo>
                  <a:cubicBezTo>
                    <a:pt x="2123" y="2884"/>
                    <a:pt x="2102" y="2902"/>
                    <a:pt x="2118" y="2916"/>
                  </a:cubicBezTo>
                  <a:cubicBezTo>
                    <a:pt x="2142" y="2938"/>
                    <a:pt x="2167" y="2907"/>
                    <a:pt x="2188" y="2899"/>
                  </a:cubicBezTo>
                  <a:cubicBezTo>
                    <a:pt x="2216" y="2887"/>
                    <a:pt x="2250" y="2890"/>
                    <a:pt x="2280" y="2880"/>
                  </a:cubicBezTo>
                  <a:cubicBezTo>
                    <a:pt x="2280" y="2956"/>
                    <a:pt x="2280" y="2956"/>
                    <a:pt x="2280" y="2956"/>
                  </a:cubicBezTo>
                  <a:cubicBezTo>
                    <a:pt x="2318" y="2967"/>
                    <a:pt x="2355" y="2988"/>
                    <a:pt x="2392" y="2998"/>
                  </a:cubicBezTo>
                  <a:cubicBezTo>
                    <a:pt x="2415" y="3004"/>
                    <a:pt x="2441" y="2998"/>
                    <a:pt x="2464" y="3002"/>
                  </a:cubicBezTo>
                  <a:cubicBezTo>
                    <a:pt x="2495" y="3007"/>
                    <a:pt x="2520" y="3021"/>
                    <a:pt x="2552" y="3010"/>
                  </a:cubicBezTo>
                  <a:cubicBezTo>
                    <a:pt x="2591" y="2996"/>
                    <a:pt x="2559" y="2949"/>
                    <a:pt x="2604" y="2944"/>
                  </a:cubicBezTo>
                  <a:cubicBezTo>
                    <a:pt x="2604" y="2986"/>
                    <a:pt x="2634" y="2985"/>
                    <a:pt x="2652" y="3017"/>
                  </a:cubicBezTo>
                  <a:cubicBezTo>
                    <a:pt x="2664" y="3038"/>
                    <a:pt x="2660" y="3060"/>
                    <a:pt x="2688" y="3069"/>
                  </a:cubicBezTo>
                  <a:cubicBezTo>
                    <a:pt x="2722" y="3080"/>
                    <a:pt x="2775" y="3074"/>
                    <a:pt x="2806" y="3098"/>
                  </a:cubicBezTo>
                  <a:cubicBezTo>
                    <a:pt x="2828" y="3116"/>
                    <a:pt x="2828" y="3147"/>
                    <a:pt x="2836" y="3172"/>
                  </a:cubicBezTo>
                  <a:cubicBezTo>
                    <a:pt x="2864" y="3164"/>
                    <a:pt x="2864" y="3164"/>
                    <a:pt x="2864" y="3164"/>
                  </a:cubicBezTo>
                  <a:cubicBezTo>
                    <a:pt x="2882" y="3200"/>
                    <a:pt x="2907" y="3273"/>
                    <a:pt x="2956" y="3264"/>
                  </a:cubicBezTo>
                  <a:cubicBezTo>
                    <a:pt x="2984" y="3259"/>
                    <a:pt x="3004" y="3235"/>
                    <a:pt x="3032" y="3232"/>
                  </a:cubicBezTo>
                  <a:cubicBezTo>
                    <a:pt x="3018" y="3254"/>
                    <a:pt x="3041" y="3289"/>
                    <a:pt x="3060" y="3265"/>
                  </a:cubicBezTo>
                  <a:cubicBezTo>
                    <a:pt x="3070" y="3253"/>
                    <a:pt x="3064" y="3223"/>
                    <a:pt x="3064" y="3208"/>
                  </a:cubicBezTo>
                  <a:cubicBezTo>
                    <a:pt x="3064" y="3155"/>
                    <a:pt x="3075" y="3087"/>
                    <a:pt x="3060" y="3036"/>
                  </a:cubicBezTo>
                  <a:cubicBezTo>
                    <a:pt x="3029" y="3042"/>
                    <a:pt x="2990" y="3042"/>
                    <a:pt x="2996" y="3084"/>
                  </a:cubicBezTo>
                  <a:cubicBezTo>
                    <a:pt x="2977" y="3078"/>
                    <a:pt x="2944" y="3080"/>
                    <a:pt x="2929" y="3072"/>
                  </a:cubicBezTo>
                  <a:cubicBezTo>
                    <a:pt x="2916" y="3065"/>
                    <a:pt x="2910" y="3046"/>
                    <a:pt x="2900" y="3036"/>
                  </a:cubicBezTo>
                  <a:cubicBezTo>
                    <a:pt x="2862" y="3002"/>
                    <a:pt x="2813" y="2983"/>
                    <a:pt x="2814" y="2924"/>
                  </a:cubicBezTo>
                  <a:cubicBezTo>
                    <a:pt x="2814" y="2896"/>
                    <a:pt x="2835" y="2836"/>
                    <a:pt x="2848" y="2810"/>
                  </a:cubicBezTo>
                  <a:cubicBezTo>
                    <a:pt x="2852" y="2800"/>
                    <a:pt x="2863" y="2794"/>
                    <a:pt x="2865" y="2783"/>
                  </a:cubicBezTo>
                  <a:cubicBezTo>
                    <a:pt x="2868" y="2769"/>
                    <a:pt x="2858" y="2754"/>
                    <a:pt x="2857" y="2740"/>
                  </a:cubicBezTo>
                  <a:cubicBezTo>
                    <a:pt x="2850" y="2684"/>
                    <a:pt x="2869" y="2641"/>
                    <a:pt x="2848" y="2588"/>
                  </a:cubicBezTo>
                  <a:cubicBezTo>
                    <a:pt x="2838" y="2565"/>
                    <a:pt x="2843" y="2554"/>
                    <a:pt x="2816" y="2544"/>
                  </a:cubicBezTo>
                  <a:cubicBezTo>
                    <a:pt x="2816" y="2536"/>
                    <a:pt x="2816" y="2536"/>
                    <a:pt x="2816" y="2536"/>
                  </a:cubicBezTo>
                  <a:cubicBezTo>
                    <a:pt x="2868" y="2516"/>
                    <a:pt x="2920" y="2460"/>
                    <a:pt x="2908" y="2404"/>
                  </a:cubicBezTo>
                  <a:cubicBezTo>
                    <a:pt x="3228" y="2360"/>
                    <a:pt x="3228" y="2360"/>
                    <a:pt x="3228" y="2360"/>
                  </a:cubicBezTo>
                  <a:cubicBezTo>
                    <a:pt x="3221" y="2317"/>
                    <a:pt x="3196" y="2290"/>
                    <a:pt x="3180" y="2252"/>
                  </a:cubicBezTo>
                  <a:cubicBezTo>
                    <a:pt x="3162" y="2210"/>
                    <a:pt x="3153" y="2169"/>
                    <a:pt x="3123" y="2132"/>
                  </a:cubicBezTo>
                  <a:cubicBezTo>
                    <a:pt x="3106" y="2113"/>
                    <a:pt x="3083" y="2109"/>
                    <a:pt x="3064" y="2094"/>
                  </a:cubicBezTo>
                  <a:cubicBezTo>
                    <a:pt x="3038" y="2073"/>
                    <a:pt x="3019" y="2032"/>
                    <a:pt x="3012" y="2000"/>
                  </a:cubicBezTo>
                  <a:cubicBezTo>
                    <a:pt x="3005" y="1969"/>
                    <a:pt x="3036" y="1950"/>
                    <a:pt x="3032" y="1924"/>
                  </a:cubicBezTo>
                  <a:cubicBezTo>
                    <a:pt x="3024" y="1877"/>
                    <a:pt x="2985" y="1834"/>
                    <a:pt x="2984" y="1787"/>
                  </a:cubicBezTo>
                  <a:cubicBezTo>
                    <a:pt x="2983" y="1757"/>
                    <a:pt x="3016" y="1706"/>
                    <a:pt x="2988" y="1688"/>
                  </a:cubicBezTo>
                  <a:cubicBezTo>
                    <a:pt x="2965" y="1600"/>
                    <a:pt x="2965" y="1600"/>
                    <a:pt x="2965" y="1600"/>
                  </a:cubicBezTo>
                  <a:cubicBezTo>
                    <a:pt x="2965" y="1464"/>
                    <a:pt x="2965" y="1464"/>
                    <a:pt x="2965" y="1464"/>
                  </a:cubicBezTo>
                  <a:cubicBezTo>
                    <a:pt x="2928" y="1425"/>
                    <a:pt x="2928" y="1425"/>
                    <a:pt x="2928" y="1425"/>
                  </a:cubicBezTo>
                  <a:cubicBezTo>
                    <a:pt x="2932" y="1392"/>
                    <a:pt x="2932" y="1392"/>
                    <a:pt x="2932" y="1392"/>
                  </a:cubicBezTo>
                  <a:cubicBezTo>
                    <a:pt x="2908" y="1394"/>
                    <a:pt x="2887" y="1379"/>
                    <a:pt x="2904" y="1353"/>
                  </a:cubicBezTo>
                  <a:cubicBezTo>
                    <a:pt x="2917" y="1333"/>
                    <a:pt x="2942" y="1334"/>
                    <a:pt x="2950" y="1308"/>
                  </a:cubicBezTo>
                  <a:cubicBezTo>
                    <a:pt x="2962" y="1271"/>
                    <a:pt x="2938" y="1251"/>
                    <a:pt x="2970" y="1216"/>
                  </a:cubicBezTo>
                  <a:cubicBezTo>
                    <a:pt x="2990" y="1194"/>
                    <a:pt x="3028" y="1189"/>
                    <a:pt x="3044" y="1164"/>
                  </a:cubicBezTo>
                  <a:cubicBezTo>
                    <a:pt x="3028" y="1164"/>
                    <a:pt x="3028" y="1164"/>
                    <a:pt x="3028" y="1164"/>
                  </a:cubicBezTo>
                  <a:cubicBezTo>
                    <a:pt x="3033" y="1068"/>
                    <a:pt x="3033" y="1068"/>
                    <a:pt x="3033" y="1068"/>
                  </a:cubicBezTo>
                  <a:cubicBezTo>
                    <a:pt x="3028" y="1032"/>
                    <a:pt x="3028" y="1032"/>
                    <a:pt x="3028" y="1032"/>
                  </a:cubicBezTo>
                  <a:cubicBezTo>
                    <a:pt x="3038" y="1007"/>
                    <a:pt x="3035" y="978"/>
                    <a:pt x="3043" y="952"/>
                  </a:cubicBezTo>
                  <a:cubicBezTo>
                    <a:pt x="3055" y="917"/>
                    <a:pt x="3080" y="882"/>
                    <a:pt x="3089" y="848"/>
                  </a:cubicBezTo>
                  <a:cubicBezTo>
                    <a:pt x="3093" y="831"/>
                    <a:pt x="3083" y="813"/>
                    <a:pt x="3092" y="797"/>
                  </a:cubicBezTo>
                  <a:cubicBezTo>
                    <a:pt x="3100" y="785"/>
                    <a:pt x="3115" y="785"/>
                    <a:pt x="3124" y="775"/>
                  </a:cubicBezTo>
                  <a:cubicBezTo>
                    <a:pt x="3133" y="765"/>
                    <a:pt x="3133" y="749"/>
                    <a:pt x="3142" y="740"/>
                  </a:cubicBezTo>
                  <a:cubicBezTo>
                    <a:pt x="3151" y="731"/>
                    <a:pt x="3165" y="732"/>
                    <a:pt x="3175" y="724"/>
                  </a:cubicBezTo>
                  <a:cubicBezTo>
                    <a:pt x="3196" y="709"/>
                    <a:pt x="3210" y="683"/>
                    <a:pt x="3229" y="665"/>
                  </a:cubicBezTo>
                  <a:cubicBezTo>
                    <a:pt x="3262" y="631"/>
                    <a:pt x="3304" y="605"/>
                    <a:pt x="3324" y="560"/>
                  </a:cubicBezTo>
                  <a:cubicBezTo>
                    <a:pt x="3308" y="548"/>
                    <a:pt x="3264" y="501"/>
                    <a:pt x="3248" y="524"/>
                  </a:cubicBezTo>
                  <a:cubicBezTo>
                    <a:pt x="3196" y="499"/>
                    <a:pt x="3245" y="474"/>
                    <a:pt x="3249" y="440"/>
                  </a:cubicBezTo>
                  <a:cubicBezTo>
                    <a:pt x="3251" y="421"/>
                    <a:pt x="3230" y="407"/>
                    <a:pt x="3233" y="388"/>
                  </a:cubicBezTo>
                  <a:cubicBezTo>
                    <a:pt x="3236" y="370"/>
                    <a:pt x="3284" y="315"/>
                    <a:pt x="3236" y="320"/>
                  </a:cubicBezTo>
                  <a:cubicBezTo>
                    <a:pt x="3230" y="299"/>
                    <a:pt x="3220" y="297"/>
                    <a:pt x="3200" y="300"/>
                  </a:cubicBezTo>
                  <a:cubicBezTo>
                    <a:pt x="3192" y="260"/>
                    <a:pt x="3192" y="260"/>
                    <a:pt x="3192" y="260"/>
                  </a:cubicBezTo>
                  <a:cubicBezTo>
                    <a:pt x="3141" y="257"/>
                    <a:pt x="3061" y="194"/>
                    <a:pt x="3064" y="140"/>
                  </a:cubicBezTo>
                  <a:cubicBezTo>
                    <a:pt x="3047" y="135"/>
                    <a:pt x="3016" y="113"/>
                    <a:pt x="2998" y="124"/>
                  </a:cubicBezTo>
                  <a:cubicBezTo>
                    <a:pt x="2982" y="135"/>
                    <a:pt x="2985" y="165"/>
                    <a:pt x="2960" y="170"/>
                  </a:cubicBezTo>
                  <a:cubicBezTo>
                    <a:pt x="2934" y="174"/>
                    <a:pt x="2902" y="136"/>
                    <a:pt x="2873" y="144"/>
                  </a:cubicBezTo>
                  <a:cubicBezTo>
                    <a:pt x="2847" y="151"/>
                    <a:pt x="2832" y="190"/>
                    <a:pt x="2800" y="183"/>
                  </a:cubicBezTo>
                  <a:cubicBezTo>
                    <a:pt x="2720" y="167"/>
                    <a:pt x="2706" y="77"/>
                    <a:pt x="2637" y="44"/>
                  </a:cubicBezTo>
                  <a:cubicBezTo>
                    <a:pt x="2582" y="18"/>
                    <a:pt x="2551" y="54"/>
                    <a:pt x="2496" y="53"/>
                  </a:cubicBezTo>
                  <a:cubicBezTo>
                    <a:pt x="2473" y="52"/>
                    <a:pt x="2455" y="30"/>
                    <a:pt x="2432" y="25"/>
                  </a:cubicBezTo>
                  <a:cubicBezTo>
                    <a:pt x="2411" y="22"/>
                    <a:pt x="2394" y="34"/>
                    <a:pt x="2372" y="26"/>
                  </a:cubicBezTo>
                  <a:cubicBezTo>
                    <a:pt x="2354" y="19"/>
                    <a:pt x="2331" y="0"/>
                    <a:pt x="2312" y="1"/>
                  </a:cubicBezTo>
                  <a:cubicBezTo>
                    <a:pt x="2269" y="4"/>
                    <a:pt x="2288" y="43"/>
                    <a:pt x="2264" y="60"/>
                  </a:cubicBezTo>
                  <a:cubicBezTo>
                    <a:pt x="2241" y="76"/>
                    <a:pt x="2199" y="69"/>
                    <a:pt x="2172" y="80"/>
                  </a:cubicBezTo>
                  <a:moveTo>
                    <a:pt x="3340" y="292"/>
                  </a:moveTo>
                  <a:cubicBezTo>
                    <a:pt x="3344" y="296"/>
                    <a:pt x="3344" y="296"/>
                    <a:pt x="3344" y="296"/>
                  </a:cubicBezTo>
                  <a:cubicBezTo>
                    <a:pt x="3340" y="292"/>
                    <a:pt x="3340" y="292"/>
                    <a:pt x="3340" y="292"/>
                  </a:cubicBezTo>
                  <a:moveTo>
                    <a:pt x="1700" y="3368"/>
                  </a:moveTo>
                  <a:cubicBezTo>
                    <a:pt x="1700" y="3376"/>
                    <a:pt x="1700" y="3376"/>
                    <a:pt x="1700" y="3376"/>
                  </a:cubicBezTo>
                  <a:cubicBezTo>
                    <a:pt x="1712" y="3376"/>
                    <a:pt x="1712" y="3376"/>
                    <a:pt x="1712" y="3376"/>
                  </a:cubicBezTo>
                  <a:cubicBezTo>
                    <a:pt x="1712" y="3368"/>
                    <a:pt x="1712" y="3368"/>
                    <a:pt x="1712" y="3368"/>
                  </a:cubicBezTo>
                  <a:lnTo>
                    <a:pt x="1700" y="3368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" name="Freeform 33"/>
            <p:cNvSpPr/>
            <p:nvPr/>
          </p:nvSpPr>
          <p:spPr bwMode="auto">
            <a:xfrm>
              <a:off x="2306638" y="3062288"/>
              <a:ext cx="615950" cy="611188"/>
            </a:xfrm>
            <a:custGeom>
              <a:avLst/>
              <a:gdLst/>
              <a:ahLst/>
              <a:cxnLst>
                <a:cxn ang="0">
                  <a:pos x="197" y="217"/>
                </a:cxn>
                <a:cxn ang="0">
                  <a:pos x="295" y="461"/>
                </a:cxn>
                <a:cxn ang="0">
                  <a:pos x="232" y="589"/>
                </a:cxn>
                <a:cxn ang="0">
                  <a:pos x="325" y="817"/>
                </a:cxn>
                <a:cxn ang="0">
                  <a:pos x="369" y="981"/>
                </a:cxn>
                <a:cxn ang="0">
                  <a:pos x="300" y="1186"/>
                </a:cxn>
                <a:cxn ang="0">
                  <a:pos x="214" y="1269"/>
                </a:cxn>
                <a:cxn ang="0">
                  <a:pos x="146" y="1405"/>
                </a:cxn>
                <a:cxn ang="0">
                  <a:pos x="111" y="1537"/>
                </a:cxn>
                <a:cxn ang="0">
                  <a:pos x="14" y="1757"/>
                </a:cxn>
                <a:cxn ang="0">
                  <a:pos x="24" y="1913"/>
                </a:cxn>
                <a:cxn ang="0">
                  <a:pos x="0" y="1873"/>
                </a:cxn>
                <a:cxn ang="0">
                  <a:pos x="16" y="2017"/>
                </a:cxn>
                <a:cxn ang="0">
                  <a:pos x="156" y="2007"/>
                </a:cxn>
                <a:cxn ang="0">
                  <a:pos x="424" y="2036"/>
                </a:cxn>
                <a:cxn ang="0">
                  <a:pos x="1164" y="2030"/>
                </a:cxn>
                <a:cxn ang="0">
                  <a:pos x="1312" y="2103"/>
                </a:cxn>
                <a:cxn ang="0">
                  <a:pos x="1588" y="2136"/>
                </a:cxn>
                <a:cxn ang="0">
                  <a:pos x="1700" y="2136"/>
                </a:cxn>
                <a:cxn ang="0">
                  <a:pos x="2000" y="2028"/>
                </a:cxn>
                <a:cxn ang="0">
                  <a:pos x="1830" y="1869"/>
                </a:cxn>
                <a:cxn ang="0">
                  <a:pos x="1804" y="1269"/>
                </a:cxn>
                <a:cxn ang="0">
                  <a:pos x="2146" y="1265"/>
                </a:cxn>
                <a:cxn ang="0">
                  <a:pos x="2160" y="1161"/>
                </a:cxn>
                <a:cxn ang="0">
                  <a:pos x="2156" y="1133"/>
                </a:cxn>
                <a:cxn ang="0">
                  <a:pos x="2148" y="893"/>
                </a:cxn>
                <a:cxn ang="0">
                  <a:pos x="2052" y="907"/>
                </a:cxn>
                <a:cxn ang="0">
                  <a:pos x="1884" y="921"/>
                </a:cxn>
                <a:cxn ang="0">
                  <a:pos x="1833" y="905"/>
                </a:cxn>
                <a:cxn ang="0">
                  <a:pos x="1831" y="738"/>
                </a:cxn>
                <a:cxn ang="0">
                  <a:pos x="1791" y="485"/>
                </a:cxn>
                <a:cxn ang="0">
                  <a:pos x="1772" y="277"/>
                </a:cxn>
                <a:cxn ang="0">
                  <a:pos x="1560" y="211"/>
                </a:cxn>
                <a:cxn ang="0">
                  <a:pos x="1404" y="221"/>
                </a:cxn>
                <a:cxn ang="0">
                  <a:pos x="1362" y="306"/>
                </a:cxn>
                <a:cxn ang="0">
                  <a:pos x="1336" y="393"/>
                </a:cxn>
                <a:cxn ang="0">
                  <a:pos x="1182" y="388"/>
                </a:cxn>
                <a:cxn ang="0">
                  <a:pos x="1107" y="410"/>
                </a:cxn>
                <a:cxn ang="0">
                  <a:pos x="1000" y="360"/>
                </a:cxn>
                <a:cxn ang="0">
                  <a:pos x="885" y="133"/>
                </a:cxn>
                <a:cxn ang="0">
                  <a:pos x="664" y="25"/>
                </a:cxn>
                <a:cxn ang="0">
                  <a:pos x="235" y="23"/>
                </a:cxn>
                <a:cxn ang="0">
                  <a:pos x="108" y="24"/>
                </a:cxn>
              </a:cxnLst>
              <a:rect l="0" t="0" r="r" b="b"/>
              <a:pathLst>
                <a:path w="2160" h="2138">
                  <a:moveTo>
                    <a:pt x="108" y="24"/>
                  </a:moveTo>
                  <a:cubicBezTo>
                    <a:pt x="132" y="81"/>
                    <a:pt x="169" y="164"/>
                    <a:pt x="197" y="217"/>
                  </a:cubicBezTo>
                  <a:cubicBezTo>
                    <a:pt x="217" y="255"/>
                    <a:pt x="220" y="305"/>
                    <a:pt x="239" y="345"/>
                  </a:cubicBezTo>
                  <a:cubicBezTo>
                    <a:pt x="256" y="380"/>
                    <a:pt x="288" y="424"/>
                    <a:pt x="295" y="461"/>
                  </a:cubicBezTo>
                  <a:cubicBezTo>
                    <a:pt x="298" y="473"/>
                    <a:pt x="302" y="513"/>
                    <a:pt x="294" y="523"/>
                  </a:cubicBezTo>
                  <a:cubicBezTo>
                    <a:pt x="276" y="543"/>
                    <a:pt x="222" y="548"/>
                    <a:pt x="232" y="589"/>
                  </a:cubicBezTo>
                  <a:cubicBezTo>
                    <a:pt x="237" y="609"/>
                    <a:pt x="254" y="626"/>
                    <a:pt x="261" y="645"/>
                  </a:cubicBezTo>
                  <a:cubicBezTo>
                    <a:pt x="283" y="704"/>
                    <a:pt x="297" y="760"/>
                    <a:pt x="325" y="817"/>
                  </a:cubicBezTo>
                  <a:cubicBezTo>
                    <a:pt x="342" y="852"/>
                    <a:pt x="368" y="878"/>
                    <a:pt x="378" y="917"/>
                  </a:cubicBezTo>
                  <a:cubicBezTo>
                    <a:pt x="384" y="939"/>
                    <a:pt x="372" y="960"/>
                    <a:pt x="369" y="981"/>
                  </a:cubicBezTo>
                  <a:cubicBezTo>
                    <a:pt x="365" y="1010"/>
                    <a:pt x="372" y="1040"/>
                    <a:pt x="366" y="1069"/>
                  </a:cubicBezTo>
                  <a:cubicBezTo>
                    <a:pt x="360" y="1104"/>
                    <a:pt x="328" y="1165"/>
                    <a:pt x="300" y="1186"/>
                  </a:cubicBezTo>
                  <a:cubicBezTo>
                    <a:pt x="280" y="1200"/>
                    <a:pt x="256" y="1198"/>
                    <a:pt x="236" y="1216"/>
                  </a:cubicBezTo>
                  <a:cubicBezTo>
                    <a:pt x="218" y="1232"/>
                    <a:pt x="227" y="1251"/>
                    <a:pt x="214" y="1269"/>
                  </a:cubicBezTo>
                  <a:cubicBezTo>
                    <a:pt x="198" y="1293"/>
                    <a:pt x="166" y="1309"/>
                    <a:pt x="152" y="1334"/>
                  </a:cubicBezTo>
                  <a:cubicBezTo>
                    <a:pt x="141" y="1354"/>
                    <a:pt x="155" y="1382"/>
                    <a:pt x="146" y="1405"/>
                  </a:cubicBezTo>
                  <a:cubicBezTo>
                    <a:pt x="139" y="1421"/>
                    <a:pt x="125" y="1432"/>
                    <a:pt x="119" y="1449"/>
                  </a:cubicBezTo>
                  <a:cubicBezTo>
                    <a:pt x="109" y="1476"/>
                    <a:pt x="117" y="1508"/>
                    <a:pt x="111" y="1537"/>
                  </a:cubicBezTo>
                  <a:cubicBezTo>
                    <a:pt x="99" y="1592"/>
                    <a:pt x="75" y="1646"/>
                    <a:pt x="62" y="1701"/>
                  </a:cubicBezTo>
                  <a:cubicBezTo>
                    <a:pt x="56" y="1728"/>
                    <a:pt x="17" y="1736"/>
                    <a:pt x="14" y="1757"/>
                  </a:cubicBezTo>
                  <a:cubicBezTo>
                    <a:pt x="8" y="1806"/>
                    <a:pt x="38" y="1862"/>
                    <a:pt x="28" y="1913"/>
                  </a:cubicBezTo>
                  <a:cubicBezTo>
                    <a:pt x="24" y="1913"/>
                    <a:pt x="24" y="1913"/>
                    <a:pt x="24" y="1913"/>
                  </a:cubicBezTo>
                  <a:cubicBezTo>
                    <a:pt x="16" y="1873"/>
                    <a:pt x="16" y="1873"/>
                    <a:pt x="16" y="1873"/>
                  </a:cubicBezTo>
                  <a:cubicBezTo>
                    <a:pt x="0" y="1873"/>
                    <a:pt x="0" y="1873"/>
                    <a:pt x="0" y="1873"/>
                  </a:cubicBezTo>
                  <a:cubicBezTo>
                    <a:pt x="19" y="1941"/>
                    <a:pt x="19" y="1941"/>
                    <a:pt x="19" y="1941"/>
                  </a:cubicBezTo>
                  <a:cubicBezTo>
                    <a:pt x="16" y="2017"/>
                    <a:pt x="16" y="2017"/>
                    <a:pt x="16" y="2017"/>
                  </a:cubicBezTo>
                  <a:cubicBezTo>
                    <a:pt x="34" y="2010"/>
                    <a:pt x="53" y="1988"/>
                    <a:pt x="72" y="1988"/>
                  </a:cubicBezTo>
                  <a:cubicBezTo>
                    <a:pt x="98" y="1988"/>
                    <a:pt x="130" y="2012"/>
                    <a:pt x="156" y="2007"/>
                  </a:cubicBezTo>
                  <a:cubicBezTo>
                    <a:pt x="212" y="1995"/>
                    <a:pt x="237" y="1944"/>
                    <a:pt x="300" y="1959"/>
                  </a:cubicBezTo>
                  <a:cubicBezTo>
                    <a:pt x="346" y="1971"/>
                    <a:pt x="367" y="2040"/>
                    <a:pt x="424" y="2036"/>
                  </a:cubicBezTo>
                  <a:cubicBezTo>
                    <a:pt x="587" y="2028"/>
                    <a:pt x="752" y="2029"/>
                    <a:pt x="916" y="2029"/>
                  </a:cubicBezTo>
                  <a:cubicBezTo>
                    <a:pt x="996" y="2029"/>
                    <a:pt x="1086" y="2017"/>
                    <a:pt x="1164" y="2030"/>
                  </a:cubicBezTo>
                  <a:cubicBezTo>
                    <a:pt x="1200" y="2035"/>
                    <a:pt x="1215" y="2089"/>
                    <a:pt x="1252" y="2101"/>
                  </a:cubicBezTo>
                  <a:cubicBezTo>
                    <a:pt x="1272" y="2108"/>
                    <a:pt x="1292" y="2101"/>
                    <a:pt x="1312" y="2103"/>
                  </a:cubicBezTo>
                  <a:cubicBezTo>
                    <a:pt x="1376" y="2109"/>
                    <a:pt x="1442" y="2106"/>
                    <a:pt x="1504" y="2112"/>
                  </a:cubicBezTo>
                  <a:cubicBezTo>
                    <a:pt x="1533" y="2115"/>
                    <a:pt x="1555" y="2136"/>
                    <a:pt x="1588" y="2136"/>
                  </a:cubicBezTo>
                  <a:cubicBezTo>
                    <a:pt x="1605" y="2136"/>
                    <a:pt x="1620" y="2126"/>
                    <a:pt x="1636" y="2125"/>
                  </a:cubicBezTo>
                  <a:cubicBezTo>
                    <a:pt x="1659" y="2124"/>
                    <a:pt x="1678" y="2138"/>
                    <a:pt x="1700" y="2136"/>
                  </a:cubicBezTo>
                  <a:cubicBezTo>
                    <a:pt x="1818" y="2128"/>
                    <a:pt x="1939" y="2086"/>
                    <a:pt x="2056" y="2069"/>
                  </a:cubicBezTo>
                  <a:cubicBezTo>
                    <a:pt x="2044" y="2052"/>
                    <a:pt x="2017" y="2043"/>
                    <a:pt x="2000" y="2028"/>
                  </a:cubicBezTo>
                  <a:cubicBezTo>
                    <a:pt x="1959" y="1994"/>
                    <a:pt x="1925" y="1955"/>
                    <a:pt x="1887" y="1918"/>
                  </a:cubicBezTo>
                  <a:cubicBezTo>
                    <a:pt x="1870" y="1901"/>
                    <a:pt x="1843" y="1889"/>
                    <a:pt x="1830" y="1869"/>
                  </a:cubicBezTo>
                  <a:cubicBezTo>
                    <a:pt x="1793" y="1812"/>
                    <a:pt x="1804" y="1738"/>
                    <a:pt x="1804" y="1673"/>
                  </a:cubicBezTo>
                  <a:cubicBezTo>
                    <a:pt x="1804" y="1269"/>
                    <a:pt x="1804" y="1269"/>
                    <a:pt x="1804" y="1269"/>
                  </a:cubicBezTo>
                  <a:cubicBezTo>
                    <a:pt x="2056" y="1269"/>
                    <a:pt x="2056" y="1269"/>
                    <a:pt x="2056" y="1269"/>
                  </a:cubicBezTo>
                  <a:cubicBezTo>
                    <a:pt x="2076" y="1269"/>
                    <a:pt x="2130" y="1278"/>
                    <a:pt x="2146" y="1265"/>
                  </a:cubicBezTo>
                  <a:cubicBezTo>
                    <a:pt x="2156" y="1256"/>
                    <a:pt x="2134" y="1232"/>
                    <a:pt x="2132" y="1221"/>
                  </a:cubicBezTo>
                  <a:cubicBezTo>
                    <a:pt x="2129" y="1197"/>
                    <a:pt x="2145" y="1177"/>
                    <a:pt x="2160" y="1161"/>
                  </a:cubicBezTo>
                  <a:cubicBezTo>
                    <a:pt x="2160" y="1157"/>
                    <a:pt x="2160" y="1157"/>
                    <a:pt x="2160" y="1157"/>
                  </a:cubicBezTo>
                  <a:cubicBezTo>
                    <a:pt x="2156" y="1133"/>
                    <a:pt x="2156" y="1133"/>
                    <a:pt x="2156" y="1133"/>
                  </a:cubicBezTo>
                  <a:cubicBezTo>
                    <a:pt x="2118" y="1099"/>
                    <a:pt x="2157" y="1027"/>
                    <a:pt x="2157" y="985"/>
                  </a:cubicBezTo>
                  <a:cubicBezTo>
                    <a:pt x="2157" y="953"/>
                    <a:pt x="2144" y="926"/>
                    <a:pt x="2148" y="893"/>
                  </a:cubicBezTo>
                  <a:cubicBezTo>
                    <a:pt x="2112" y="916"/>
                    <a:pt x="2112" y="916"/>
                    <a:pt x="2112" y="916"/>
                  </a:cubicBezTo>
                  <a:cubicBezTo>
                    <a:pt x="2052" y="907"/>
                    <a:pt x="2052" y="907"/>
                    <a:pt x="2052" y="907"/>
                  </a:cubicBezTo>
                  <a:cubicBezTo>
                    <a:pt x="1992" y="928"/>
                    <a:pt x="1992" y="928"/>
                    <a:pt x="1992" y="928"/>
                  </a:cubicBezTo>
                  <a:cubicBezTo>
                    <a:pt x="1884" y="921"/>
                    <a:pt x="1884" y="921"/>
                    <a:pt x="1884" y="921"/>
                  </a:cubicBezTo>
                  <a:cubicBezTo>
                    <a:pt x="1848" y="953"/>
                    <a:pt x="1848" y="953"/>
                    <a:pt x="1848" y="953"/>
                  </a:cubicBezTo>
                  <a:cubicBezTo>
                    <a:pt x="1848" y="934"/>
                    <a:pt x="1833" y="922"/>
                    <a:pt x="1833" y="905"/>
                  </a:cubicBezTo>
                  <a:cubicBezTo>
                    <a:pt x="1832" y="888"/>
                    <a:pt x="1851" y="880"/>
                    <a:pt x="1855" y="865"/>
                  </a:cubicBezTo>
                  <a:cubicBezTo>
                    <a:pt x="1862" y="830"/>
                    <a:pt x="1845" y="770"/>
                    <a:pt x="1831" y="738"/>
                  </a:cubicBezTo>
                  <a:cubicBezTo>
                    <a:pt x="1818" y="706"/>
                    <a:pt x="1775" y="698"/>
                    <a:pt x="1769" y="657"/>
                  </a:cubicBezTo>
                  <a:cubicBezTo>
                    <a:pt x="1760" y="598"/>
                    <a:pt x="1788" y="542"/>
                    <a:pt x="1791" y="485"/>
                  </a:cubicBezTo>
                  <a:cubicBezTo>
                    <a:pt x="1794" y="449"/>
                    <a:pt x="1763" y="419"/>
                    <a:pt x="1760" y="385"/>
                  </a:cubicBezTo>
                  <a:cubicBezTo>
                    <a:pt x="1757" y="348"/>
                    <a:pt x="1776" y="316"/>
                    <a:pt x="1772" y="277"/>
                  </a:cubicBezTo>
                  <a:cubicBezTo>
                    <a:pt x="1715" y="249"/>
                    <a:pt x="1611" y="269"/>
                    <a:pt x="1548" y="269"/>
                  </a:cubicBezTo>
                  <a:cubicBezTo>
                    <a:pt x="1548" y="254"/>
                    <a:pt x="1566" y="222"/>
                    <a:pt x="1560" y="211"/>
                  </a:cubicBezTo>
                  <a:cubicBezTo>
                    <a:pt x="1549" y="194"/>
                    <a:pt x="1506" y="204"/>
                    <a:pt x="1500" y="221"/>
                  </a:cubicBezTo>
                  <a:cubicBezTo>
                    <a:pt x="1404" y="221"/>
                    <a:pt x="1404" y="221"/>
                    <a:pt x="1404" y="221"/>
                  </a:cubicBezTo>
                  <a:cubicBezTo>
                    <a:pt x="1366" y="230"/>
                    <a:pt x="1366" y="230"/>
                    <a:pt x="1366" y="230"/>
                  </a:cubicBezTo>
                  <a:cubicBezTo>
                    <a:pt x="1362" y="306"/>
                    <a:pt x="1362" y="306"/>
                    <a:pt x="1362" y="306"/>
                  </a:cubicBezTo>
                  <a:cubicBezTo>
                    <a:pt x="1341" y="327"/>
                    <a:pt x="1341" y="327"/>
                    <a:pt x="1341" y="327"/>
                  </a:cubicBezTo>
                  <a:cubicBezTo>
                    <a:pt x="1336" y="393"/>
                    <a:pt x="1336" y="393"/>
                    <a:pt x="1336" y="393"/>
                  </a:cubicBezTo>
                  <a:cubicBezTo>
                    <a:pt x="1297" y="393"/>
                    <a:pt x="1262" y="384"/>
                    <a:pt x="1224" y="381"/>
                  </a:cubicBezTo>
                  <a:cubicBezTo>
                    <a:pt x="1208" y="380"/>
                    <a:pt x="1188" y="372"/>
                    <a:pt x="1182" y="388"/>
                  </a:cubicBezTo>
                  <a:cubicBezTo>
                    <a:pt x="1128" y="385"/>
                    <a:pt x="1128" y="385"/>
                    <a:pt x="1128" y="385"/>
                  </a:cubicBezTo>
                  <a:cubicBezTo>
                    <a:pt x="1107" y="410"/>
                    <a:pt x="1107" y="410"/>
                    <a:pt x="1107" y="410"/>
                  </a:cubicBezTo>
                  <a:cubicBezTo>
                    <a:pt x="1080" y="400"/>
                    <a:pt x="1057" y="416"/>
                    <a:pt x="1033" y="406"/>
                  </a:cubicBezTo>
                  <a:cubicBezTo>
                    <a:pt x="1019" y="401"/>
                    <a:pt x="1009" y="372"/>
                    <a:pt x="1000" y="360"/>
                  </a:cubicBezTo>
                  <a:cubicBezTo>
                    <a:pt x="977" y="330"/>
                    <a:pt x="910" y="265"/>
                    <a:pt x="932" y="229"/>
                  </a:cubicBezTo>
                  <a:cubicBezTo>
                    <a:pt x="915" y="196"/>
                    <a:pt x="893" y="171"/>
                    <a:pt x="885" y="133"/>
                  </a:cubicBezTo>
                  <a:cubicBezTo>
                    <a:pt x="878" y="102"/>
                    <a:pt x="887" y="55"/>
                    <a:pt x="859" y="32"/>
                  </a:cubicBezTo>
                  <a:cubicBezTo>
                    <a:pt x="818" y="0"/>
                    <a:pt x="713" y="25"/>
                    <a:pt x="664" y="25"/>
                  </a:cubicBezTo>
                  <a:cubicBezTo>
                    <a:pt x="607" y="25"/>
                    <a:pt x="547" y="33"/>
                    <a:pt x="491" y="30"/>
                  </a:cubicBezTo>
                  <a:cubicBezTo>
                    <a:pt x="412" y="25"/>
                    <a:pt x="314" y="7"/>
                    <a:pt x="235" y="23"/>
                  </a:cubicBezTo>
                  <a:cubicBezTo>
                    <a:pt x="203" y="26"/>
                    <a:pt x="174" y="37"/>
                    <a:pt x="156" y="49"/>
                  </a:cubicBezTo>
                  <a:cubicBezTo>
                    <a:pt x="130" y="13"/>
                    <a:pt x="133" y="18"/>
                    <a:pt x="108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" name="Freeform 34"/>
            <p:cNvSpPr/>
            <p:nvPr/>
          </p:nvSpPr>
          <p:spPr bwMode="auto">
            <a:xfrm>
              <a:off x="2305050" y="3617913"/>
              <a:ext cx="676275" cy="596900"/>
            </a:xfrm>
            <a:custGeom>
              <a:avLst/>
              <a:gdLst/>
              <a:ahLst/>
              <a:cxnLst>
                <a:cxn ang="0">
                  <a:pos x="506" y="1039"/>
                </a:cxn>
                <a:cxn ang="0">
                  <a:pos x="502" y="1171"/>
                </a:cxn>
                <a:cxn ang="0">
                  <a:pos x="549" y="1370"/>
                </a:cxn>
                <a:cxn ang="0">
                  <a:pos x="560" y="1531"/>
                </a:cxn>
                <a:cxn ang="0">
                  <a:pos x="584" y="1626"/>
                </a:cxn>
                <a:cxn ang="0">
                  <a:pos x="634" y="1767"/>
                </a:cxn>
                <a:cxn ang="0">
                  <a:pos x="719" y="1927"/>
                </a:cxn>
                <a:cxn ang="0">
                  <a:pos x="838" y="2026"/>
                </a:cxn>
                <a:cxn ang="0">
                  <a:pos x="898" y="2001"/>
                </a:cxn>
                <a:cxn ang="0">
                  <a:pos x="999" y="1976"/>
                </a:cxn>
                <a:cxn ang="0">
                  <a:pos x="1090" y="2058"/>
                </a:cxn>
                <a:cxn ang="0">
                  <a:pos x="1254" y="2067"/>
                </a:cxn>
                <a:cxn ang="0">
                  <a:pos x="1330" y="2051"/>
                </a:cxn>
                <a:cxn ang="0">
                  <a:pos x="1460" y="1992"/>
                </a:cxn>
                <a:cxn ang="0">
                  <a:pos x="1466" y="1767"/>
                </a:cxn>
                <a:cxn ang="0">
                  <a:pos x="1586" y="883"/>
                </a:cxn>
                <a:cxn ang="0">
                  <a:pos x="1638" y="835"/>
                </a:cxn>
                <a:cxn ang="0">
                  <a:pos x="1638" y="243"/>
                </a:cxn>
                <a:cxn ang="0">
                  <a:pos x="2068" y="243"/>
                </a:cxn>
                <a:cxn ang="0">
                  <a:pos x="2118" y="252"/>
                </a:cxn>
                <a:cxn ang="0">
                  <a:pos x="2249" y="197"/>
                </a:cxn>
                <a:cxn ang="0">
                  <a:pos x="2370" y="147"/>
                </a:cxn>
                <a:cxn ang="0">
                  <a:pos x="2326" y="107"/>
                </a:cxn>
                <a:cxn ang="0">
                  <a:pos x="2322" y="119"/>
                </a:cxn>
                <a:cxn ang="0">
                  <a:pos x="2182" y="96"/>
                </a:cxn>
                <a:cxn ang="0">
                  <a:pos x="1514" y="156"/>
                </a:cxn>
                <a:cxn ang="0">
                  <a:pos x="1266" y="145"/>
                </a:cxn>
                <a:cxn ang="0">
                  <a:pos x="986" y="75"/>
                </a:cxn>
                <a:cxn ang="0">
                  <a:pos x="422" y="76"/>
                </a:cxn>
                <a:cxn ang="0">
                  <a:pos x="170" y="47"/>
                </a:cxn>
                <a:cxn ang="0">
                  <a:pos x="58" y="235"/>
                </a:cxn>
                <a:cxn ang="0">
                  <a:pos x="136" y="331"/>
                </a:cxn>
                <a:cxn ang="0">
                  <a:pos x="276" y="579"/>
                </a:cxn>
                <a:cxn ang="0">
                  <a:pos x="406" y="847"/>
                </a:cxn>
              </a:cxnLst>
              <a:rect l="0" t="0" r="r" b="b"/>
              <a:pathLst>
                <a:path w="2370" h="2091">
                  <a:moveTo>
                    <a:pt x="406" y="847"/>
                  </a:moveTo>
                  <a:cubicBezTo>
                    <a:pt x="468" y="890"/>
                    <a:pt x="515" y="961"/>
                    <a:pt x="506" y="1039"/>
                  </a:cubicBezTo>
                  <a:cubicBezTo>
                    <a:pt x="490" y="1031"/>
                    <a:pt x="490" y="1031"/>
                    <a:pt x="490" y="1031"/>
                  </a:cubicBezTo>
                  <a:cubicBezTo>
                    <a:pt x="502" y="1171"/>
                    <a:pt x="502" y="1171"/>
                    <a:pt x="502" y="1171"/>
                  </a:cubicBezTo>
                  <a:cubicBezTo>
                    <a:pt x="499" y="1259"/>
                    <a:pt x="499" y="1259"/>
                    <a:pt x="499" y="1259"/>
                  </a:cubicBezTo>
                  <a:cubicBezTo>
                    <a:pt x="549" y="1370"/>
                    <a:pt x="549" y="1370"/>
                    <a:pt x="549" y="1370"/>
                  </a:cubicBezTo>
                  <a:cubicBezTo>
                    <a:pt x="565" y="1491"/>
                    <a:pt x="565" y="1491"/>
                    <a:pt x="565" y="1491"/>
                  </a:cubicBezTo>
                  <a:cubicBezTo>
                    <a:pt x="560" y="1531"/>
                    <a:pt x="560" y="1531"/>
                    <a:pt x="560" y="1531"/>
                  </a:cubicBezTo>
                  <a:cubicBezTo>
                    <a:pt x="581" y="1579"/>
                    <a:pt x="581" y="1579"/>
                    <a:pt x="581" y="1579"/>
                  </a:cubicBezTo>
                  <a:cubicBezTo>
                    <a:pt x="584" y="1626"/>
                    <a:pt x="584" y="1626"/>
                    <a:pt x="584" y="1626"/>
                  </a:cubicBezTo>
                  <a:cubicBezTo>
                    <a:pt x="618" y="1679"/>
                    <a:pt x="618" y="1679"/>
                    <a:pt x="618" y="1679"/>
                  </a:cubicBezTo>
                  <a:cubicBezTo>
                    <a:pt x="580" y="1691"/>
                    <a:pt x="632" y="1744"/>
                    <a:pt x="634" y="1767"/>
                  </a:cubicBezTo>
                  <a:cubicBezTo>
                    <a:pt x="636" y="1802"/>
                    <a:pt x="651" y="1815"/>
                    <a:pt x="669" y="1843"/>
                  </a:cubicBezTo>
                  <a:cubicBezTo>
                    <a:pt x="687" y="1870"/>
                    <a:pt x="697" y="1902"/>
                    <a:pt x="719" y="1927"/>
                  </a:cubicBezTo>
                  <a:cubicBezTo>
                    <a:pt x="734" y="1945"/>
                    <a:pt x="756" y="1956"/>
                    <a:pt x="774" y="1972"/>
                  </a:cubicBezTo>
                  <a:cubicBezTo>
                    <a:pt x="792" y="1988"/>
                    <a:pt x="813" y="2020"/>
                    <a:pt x="838" y="2026"/>
                  </a:cubicBezTo>
                  <a:cubicBezTo>
                    <a:pt x="851" y="2029"/>
                    <a:pt x="860" y="2017"/>
                    <a:pt x="870" y="2012"/>
                  </a:cubicBezTo>
                  <a:cubicBezTo>
                    <a:pt x="879" y="2007"/>
                    <a:pt x="891" y="2009"/>
                    <a:pt x="898" y="2001"/>
                  </a:cubicBezTo>
                  <a:cubicBezTo>
                    <a:pt x="928" y="1969"/>
                    <a:pt x="907" y="1925"/>
                    <a:pt x="970" y="1939"/>
                  </a:cubicBezTo>
                  <a:cubicBezTo>
                    <a:pt x="963" y="1969"/>
                    <a:pt x="991" y="1955"/>
                    <a:pt x="999" y="1976"/>
                  </a:cubicBezTo>
                  <a:cubicBezTo>
                    <a:pt x="1011" y="2008"/>
                    <a:pt x="984" y="2053"/>
                    <a:pt x="1038" y="2039"/>
                  </a:cubicBezTo>
                  <a:cubicBezTo>
                    <a:pt x="1042" y="2057"/>
                    <a:pt x="1074" y="2054"/>
                    <a:pt x="1090" y="2058"/>
                  </a:cubicBezTo>
                  <a:cubicBezTo>
                    <a:pt x="1108" y="2063"/>
                    <a:pt x="1122" y="2077"/>
                    <a:pt x="1142" y="2078"/>
                  </a:cubicBezTo>
                  <a:cubicBezTo>
                    <a:pt x="1179" y="2079"/>
                    <a:pt x="1216" y="2064"/>
                    <a:pt x="1254" y="2067"/>
                  </a:cubicBezTo>
                  <a:cubicBezTo>
                    <a:pt x="1275" y="2068"/>
                    <a:pt x="1288" y="2091"/>
                    <a:pt x="1310" y="2089"/>
                  </a:cubicBezTo>
                  <a:cubicBezTo>
                    <a:pt x="1333" y="2086"/>
                    <a:pt x="1340" y="2070"/>
                    <a:pt x="1330" y="2051"/>
                  </a:cubicBezTo>
                  <a:cubicBezTo>
                    <a:pt x="1365" y="2049"/>
                    <a:pt x="1366" y="2032"/>
                    <a:pt x="1391" y="2015"/>
                  </a:cubicBezTo>
                  <a:cubicBezTo>
                    <a:pt x="1410" y="2002"/>
                    <a:pt x="1442" y="2010"/>
                    <a:pt x="1460" y="1992"/>
                  </a:cubicBezTo>
                  <a:cubicBezTo>
                    <a:pt x="1472" y="1979"/>
                    <a:pt x="1466" y="1947"/>
                    <a:pt x="1466" y="1931"/>
                  </a:cubicBezTo>
                  <a:cubicBezTo>
                    <a:pt x="1466" y="1767"/>
                    <a:pt x="1466" y="1767"/>
                    <a:pt x="1466" y="1767"/>
                  </a:cubicBezTo>
                  <a:cubicBezTo>
                    <a:pt x="1466" y="883"/>
                    <a:pt x="1466" y="883"/>
                    <a:pt x="1466" y="883"/>
                  </a:cubicBezTo>
                  <a:cubicBezTo>
                    <a:pt x="1586" y="883"/>
                    <a:pt x="1586" y="883"/>
                    <a:pt x="1586" y="883"/>
                  </a:cubicBezTo>
                  <a:cubicBezTo>
                    <a:pt x="1632" y="879"/>
                    <a:pt x="1632" y="879"/>
                    <a:pt x="1632" y="879"/>
                  </a:cubicBezTo>
                  <a:cubicBezTo>
                    <a:pt x="1638" y="835"/>
                    <a:pt x="1638" y="835"/>
                    <a:pt x="1638" y="835"/>
                  </a:cubicBezTo>
                  <a:cubicBezTo>
                    <a:pt x="1638" y="719"/>
                    <a:pt x="1638" y="719"/>
                    <a:pt x="1638" y="719"/>
                  </a:cubicBezTo>
                  <a:cubicBezTo>
                    <a:pt x="1638" y="243"/>
                    <a:pt x="1638" y="243"/>
                    <a:pt x="1638" y="243"/>
                  </a:cubicBezTo>
                  <a:cubicBezTo>
                    <a:pt x="2030" y="187"/>
                    <a:pt x="2030" y="187"/>
                    <a:pt x="2030" y="187"/>
                  </a:cubicBezTo>
                  <a:cubicBezTo>
                    <a:pt x="2068" y="243"/>
                    <a:pt x="2068" y="243"/>
                    <a:pt x="2068" y="243"/>
                  </a:cubicBezTo>
                  <a:cubicBezTo>
                    <a:pt x="2087" y="270"/>
                    <a:pt x="2087" y="270"/>
                    <a:pt x="2087" y="270"/>
                  </a:cubicBezTo>
                  <a:cubicBezTo>
                    <a:pt x="2118" y="252"/>
                    <a:pt x="2118" y="252"/>
                    <a:pt x="2118" y="252"/>
                  </a:cubicBezTo>
                  <a:cubicBezTo>
                    <a:pt x="2202" y="191"/>
                    <a:pt x="2202" y="191"/>
                    <a:pt x="2202" y="191"/>
                  </a:cubicBezTo>
                  <a:cubicBezTo>
                    <a:pt x="2249" y="197"/>
                    <a:pt x="2249" y="197"/>
                    <a:pt x="2249" y="197"/>
                  </a:cubicBezTo>
                  <a:cubicBezTo>
                    <a:pt x="2302" y="160"/>
                    <a:pt x="2302" y="160"/>
                    <a:pt x="2302" y="160"/>
                  </a:cubicBezTo>
                  <a:cubicBezTo>
                    <a:pt x="2370" y="147"/>
                    <a:pt x="2370" y="147"/>
                    <a:pt x="2370" y="147"/>
                  </a:cubicBezTo>
                  <a:cubicBezTo>
                    <a:pt x="2330" y="107"/>
                    <a:pt x="2330" y="107"/>
                    <a:pt x="2330" y="107"/>
                  </a:cubicBezTo>
                  <a:cubicBezTo>
                    <a:pt x="2326" y="107"/>
                    <a:pt x="2326" y="107"/>
                    <a:pt x="2326" y="107"/>
                  </a:cubicBezTo>
                  <a:cubicBezTo>
                    <a:pt x="2326" y="119"/>
                    <a:pt x="2326" y="119"/>
                    <a:pt x="2326" y="119"/>
                  </a:cubicBezTo>
                  <a:cubicBezTo>
                    <a:pt x="2322" y="119"/>
                    <a:pt x="2322" y="119"/>
                    <a:pt x="2322" y="119"/>
                  </a:cubicBezTo>
                  <a:cubicBezTo>
                    <a:pt x="2322" y="103"/>
                    <a:pt x="2322" y="103"/>
                    <a:pt x="2322" y="103"/>
                  </a:cubicBezTo>
                  <a:cubicBezTo>
                    <a:pt x="2275" y="101"/>
                    <a:pt x="2229" y="91"/>
                    <a:pt x="2182" y="96"/>
                  </a:cubicBezTo>
                  <a:cubicBezTo>
                    <a:pt x="1982" y="116"/>
                    <a:pt x="1790" y="184"/>
                    <a:pt x="1590" y="179"/>
                  </a:cubicBezTo>
                  <a:cubicBezTo>
                    <a:pt x="1562" y="178"/>
                    <a:pt x="1541" y="157"/>
                    <a:pt x="1514" y="156"/>
                  </a:cubicBezTo>
                  <a:cubicBezTo>
                    <a:pt x="1451" y="154"/>
                    <a:pt x="1390" y="153"/>
                    <a:pt x="1326" y="147"/>
                  </a:cubicBezTo>
                  <a:cubicBezTo>
                    <a:pt x="1306" y="145"/>
                    <a:pt x="1285" y="150"/>
                    <a:pt x="1266" y="145"/>
                  </a:cubicBezTo>
                  <a:cubicBezTo>
                    <a:pt x="1228" y="134"/>
                    <a:pt x="1217" y="81"/>
                    <a:pt x="1182" y="75"/>
                  </a:cubicBezTo>
                  <a:cubicBezTo>
                    <a:pt x="1119" y="66"/>
                    <a:pt x="1049" y="75"/>
                    <a:pt x="986" y="75"/>
                  </a:cubicBezTo>
                  <a:cubicBezTo>
                    <a:pt x="586" y="75"/>
                    <a:pt x="586" y="75"/>
                    <a:pt x="586" y="75"/>
                  </a:cubicBezTo>
                  <a:cubicBezTo>
                    <a:pt x="539" y="75"/>
                    <a:pt x="465" y="90"/>
                    <a:pt x="422" y="76"/>
                  </a:cubicBezTo>
                  <a:cubicBezTo>
                    <a:pt x="362" y="58"/>
                    <a:pt x="339" y="3"/>
                    <a:pt x="274" y="1"/>
                  </a:cubicBezTo>
                  <a:cubicBezTo>
                    <a:pt x="230" y="0"/>
                    <a:pt x="210" y="41"/>
                    <a:pt x="170" y="47"/>
                  </a:cubicBezTo>
                  <a:cubicBezTo>
                    <a:pt x="124" y="54"/>
                    <a:pt x="55" y="6"/>
                    <a:pt x="25" y="67"/>
                  </a:cubicBezTo>
                  <a:cubicBezTo>
                    <a:pt x="0" y="121"/>
                    <a:pt x="32" y="190"/>
                    <a:pt x="58" y="235"/>
                  </a:cubicBezTo>
                  <a:cubicBezTo>
                    <a:pt x="66" y="249"/>
                    <a:pt x="67" y="266"/>
                    <a:pt x="79" y="278"/>
                  </a:cubicBezTo>
                  <a:cubicBezTo>
                    <a:pt x="96" y="298"/>
                    <a:pt x="120" y="310"/>
                    <a:pt x="136" y="331"/>
                  </a:cubicBezTo>
                  <a:cubicBezTo>
                    <a:pt x="160" y="363"/>
                    <a:pt x="173" y="401"/>
                    <a:pt x="192" y="435"/>
                  </a:cubicBezTo>
                  <a:cubicBezTo>
                    <a:pt x="218" y="482"/>
                    <a:pt x="256" y="531"/>
                    <a:pt x="276" y="579"/>
                  </a:cubicBezTo>
                  <a:cubicBezTo>
                    <a:pt x="290" y="612"/>
                    <a:pt x="296" y="651"/>
                    <a:pt x="313" y="683"/>
                  </a:cubicBezTo>
                  <a:cubicBezTo>
                    <a:pt x="339" y="733"/>
                    <a:pt x="406" y="787"/>
                    <a:pt x="406" y="84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" name="Freeform 35"/>
            <p:cNvSpPr/>
            <p:nvPr/>
          </p:nvSpPr>
          <p:spPr bwMode="auto">
            <a:xfrm>
              <a:off x="2717800" y="3656013"/>
              <a:ext cx="469900" cy="458788"/>
            </a:xfrm>
            <a:custGeom>
              <a:avLst/>
              <a:gdLst/>
              <a:ahLst/>
              <a:cxnLst>
                <a:cxn ang="0">
                  <a:pos x="181" y="735"/>
                </a:cxn>
                <a:cxn ang="0">
                  <a:pos x="13" y="735"/>
                </a:cxn>
                <a:cxn ang="0">
                  <a:pos x="13" y="1079"/>
                </a:cxn>
                <a:cxn ang="0">
                  <a:pos x="15" y="1222"/>
                </a:cxn>
                <a:cxn ang="0">
                  <a:pos x="79" y="1271"/>
                </a:cxn>
                <a:cxn ang="0">
                  <a:pos x="152" y="1427"/>
                </a:cxn>
                <a:cxn ang="0">
                  <a:pos x="121" y="1570"/>
                </a:cxn>
                <a:cxn ang="0">
                  <a:pos x="173" y="1578"/>
                </a:cxn>
                <a:cxn ang="0">
                  <a:pos x="325" y="1551"/>
                </a:cxn>
                <a:cxn ang="0">
                  <a:pos x="422" y="1490"/>
                </a:cxn>
                <a:cxn ang="0">
                  <a:pos x="484" y="1439"/>
                </a:cxn>
                <a:cxn ang="0">
                  <a:pos x="509" y="1379"/>
                </a:cxn>
                <a:cxn ang="0">
                  <a:pos x="601" y="1309"/>
                </a:cxn>
                <a:cxn ang="0">
                  <a:pos x="690" y="1369"/>
                </a:cxn>
                <a:cxn ang="0">
                  <a:pos x="737" y="1375"/>
                </a:cxn>
                <a:cxn ang="0">
                  <a:pos x="833" y="1406"/>
                </a:cxn>
                <a:cxn ang="0">
                  <a:pos x="892" y="1395"/>
                </a:cxn>
                <a:cxn ang="0">
                  <a:pos x="953" y="1389"/>
                </a:cxn>
                <a:cxn ang="0">
                  <a:pos x="1052" y="1222"/>
                </a:cxn>
                <a:cxn ang="0">
                  <a:pos x="1129" y="1194"/>
                </a:cxn>
                <a:cxn ang="0">
                  <a:pos x="1159" y="1159"/>
                </a:cxn>
                <a:cxn ang="0">
                  <a:pos x="1202" y="1133"/>
                </a:cxn>
                <a:cxn ang="0">
                  <a:pos x="1231" y="1036"/>
                </a:cxn>
                <a:cxn ang="0">
                  <a:pos x="1285" y="989"/>
                </a:cxn>
                <a:cxn ang="0">
                  <a:pos x="1324" y="976"/>
                </a:cxn>
                <a:cxn ang="0">
                  <a:pos x="1390" y="921"/>
                </a:cxn>
                <a:cxn ang="0">
                  <a:pos x="1450" y="851"/>
                </a:cxn>
                <a:cxn ang="0">
                  <a:pos x="1545" y="827"/>
                </a:cxn>
                <a:cxn ang="0">
                  <a:pos x="1586" y="782"/>
                </a:cxn>
                <a:cxn ang="0">
                  <a:pos x="1641" y="775"/>
                </a:cxn>
                <a:cxn ang="0">
                  <a:pos x="1593" y="703"/>
                </a:cxn>
                <a:cxn ang="0">
                  <a:pos x="1509" y="674"/>
                </a:cxn>
                <a:cxn ang="0">
                  <a:pos x="1381" y="603"/>
                </a:cxn>
                <a:cxn ang="0">
                  <a:pos x="1353" y="556"/>
                </a:cxn>
                <a:cxn ang="0">
                  <a:pos x="1355" y="477"/>
                </a:cxn>
                <a:cxn ang="0">
                  <a:pos x="1294" y="466"/>
                </a:cxn>
                <a:cxn ang="0">
                  <a:pos x="1264" y="404"/>
                </a:cxn>
                <a:cxn ang="0">
                  <a:pos x="1201" y="384"/>
                </a:cxn>
                <a:cxn ang="0">
                  <a:pos x="1087" y="302"/>
                </a:cxn>
                <a:cxn ang="0">
                  <a:pos x="1055" y="207"/>
                </a:cxn>
                <a:cxn ang="0">
                  <a:pos x="1026" y="174"/>
                </a:cxn>
                <a:cxn ang="0">
                  <a:pos x="938" y="50"/>
                </a:cxn>
                <a:cxn ang="0">
                  <a:pos x="923" y="7"/>
                </a:cxn>
                <a:cxn ang="0">
                  <a:pos x="889" y="9"/>
                </a:cxn>
                <a:cxn ang="0">
                  <a:pos x="812" y="41"/>
                </a:cxn>
                <a:cxn ang="0">
                  <a:pos x="765" y="35"/>
                </a:cxn>
                <a:cxn ang="0">
                  <a:pos x="681" y="89"/>
                </a:cxn>
                <a:cxn ang="0">
                  <a:pos x="646" y="115"/>
                </a:cxn>
                <a:cxn ang="0">
                  <a:pos x="584" y="44"/>
                </a:cxn>
                <a:cxn ang="0">
                  <a:pos x="501" y="51"/>
                </a:cxn>
                <a:cxn ang="0">
                  <a:pos x="285" y="92"/>
                </a:cxn>
                <a:cxn ang="0">
                  <a:pos x="187" y="99"/>
                </a:cxn>
                <a:cxn ang="0">
                  <a:pos x="181" y="143"/>
                </a:cxn>
                <a:cxn ang="0">
                  <a:pos x="181" y="259"/>
                </a:cxn>
                <a:cxn ang="0">
                  <a:pos x="181" y="735"/>
                </a:cxn>
              </a:cxnLst>
              <a:rect l="0" t="0" r="r" b="b"/>
              <a:pathLst>
                <a:path w="1641" h="1607">
                  <a:moveTo>
                    <a:pt x="181" y="735"/>
                  </a:moveTo>
                  <a:cubicBezTo>
                    <a:pt x="13" y="735"/>
                    <a:pt x="13" y="735"/>
                    <a:pt x="13" y="735"/>
                  </a:cubicBezTo>
                  <a:cubicBezTo>
                    <a:pt x="13" y="1079"/>
                    <a:pt x="13" y="1079"/>
                    <a:pt x="13" y="1079"/>
                  </a:cubicBezTo>
                  <a:cubicBezTo>
                    <a:pt x="13" y="1119"/>
                    <a:pt x="0" y="1185"/>
                    <a:pt x="15" y="1222"/>
                  </a:cubicBezTo>
                  <a:cubicBezTo>
                    <a:pt x="25" y="1246"/>
                    <a:pt x="63" y="1251"/>
                    <a:pt x="79" y="1271"/>
                  </a:cubicBezTo>
                  <a:cubicBezTo>
                    <a:pt x="112" y="1313"/>
                    <a:pt x="138" y="1376"/>
                    <a:pt x="152" y="1427"/>
                  </a:cubicBezTo>
                  <a:cubicBezTo>
                    <a:pt x="167" y="1481"/>
                    <a:pt x="94" y="1510"/>
                    <a:pt x="121" y="1570"/>
                  </a:cubicBezTo>
                  <a:cubicBezTo>
                    <a:pt x="132" y="1595"/>
                    <a:pt x="154" y="1577"/>
                    <a:pt x="173" y="1578"/>
                  </a:cubicBezTo>
                  <a:cubicBezTo>
                    <a:pt x="207" y="1580"/>
                    <a:pt x="331" y="1607"/>
                    <a:pt x="325" y="1551"/>
                  </a:cubicBezTo>
                  <a:cubicBezTo>
                    <a:pt x="379" y="1551"/>
                    <a:pt x="385" y="1521"/>
                    <a:pt x="422" y="1490"/>
                  </a:cubicBezTo>
                  <a:cubicBezTo>
                    <a:pt x="443" y="1472"/>
                    <a:pt x="469" y="1464"/>
                    <a:pt x="484" y="1439"/>
                  </a:cubicBezTo>
                  <a:cubicBezTo>
                    <a:pt x="496" y="1419"/>
                    <a:pt x="491" y="1395"/>
                    <a:pt x="509" y="1379"/>
                  </a:cubicBezTo>
                  <a:cubicBezTo>
                    <a:pt x="507" y="1329"/>
                    <a:pt x="552" y="1295"/>
                    <a:pt x="601" y="1309"/>
                  </a:cubicBezTo>
                  <a:cubicBezTo>
                    <a:pt x="635" y="1318"/>
                    <a:pt x="659" y="1354"/>
                    <a:pt x="690" y="1369"/>
                  </a:cubicBezTo>
                  <a:cubicBezTo>
                    <a:pt x="705" y="1376"/>
                    <a:pt x="722" y="1369"/>
                    <a:pt x="737" y="1375"/>
                  </a:cubicBezTo>
                  <a:cubicBezTo>
                    <a:pt x="767" y="1387"/>
                    <a:pt x="799" y="1406"/>
                    <a:pt x="833" y="1406"/>
                  </a:cubicBezTo>
                  <a:cubicBezTo>
                    <a:pt x="854" y="1407"/>
                    <a:pt x="872" y="1397"/>
                    <a:pt x="892" y="1395"/>
                  </a:cubicBezTo>
                  <a:cubicBezTo>
                    <a:pt x="913" y="1392"/>
                    <a:pt x="933" y="1398"/>
                    <a:pt x="953" y="1389"/>
                  </a:cubicBezTo>
                  <a:cubicBezTo>
                    <a:pt x="1025" y="1357"/>
                    <a:pt x="1006" y="1272"/>
                    <a:pt x="1052" y="1222"/>
                  </a:cubicBezTo>
                  <a:cubicBezTo>
                    <a:pt x="1076" y="1197"/>
                    <a:pt x="1102" y="1207"/>
                    <a:pt x="1129" y="1194"/>
                  </a:cubicBezTo>
                  <a:cubicBezTo>
                    <a:pt x="1144" y="1187"/>
                    <a:pt x="1148" y="1170"/>
                    <a:pt x="1159" y="1159"/>
                  </a:cubicBezTo>
                  <a:cubicBezTo>
                    <a:pt x="1171" y="1148"/>
                    <a:pt x="1192" y="1146"/>
                    <a:pt x="1202" y="1133"/>
                  </a:cubicBezTo>
                  <a:cubicBezTo>
                    <a:pt x="1220" y="1108"/>
                    <a:pt x="1209" y="1063"/>
                    <a:pt x="1231" y="1036"/>
                  </a:cubicBezTo>
                  <a:cubicBezTo>
                    <a:pt x="1245" y="1019"/>
                    <a:pt x="1264" y="998"/>
                    <a:pt x="1285" y="989"/>
                  </a:cubicBezTo>
                  <a:cubicBezTo>
                    <a:pt x="1297" y="983"/>
                    <a:pt x="1313" y="985"/>
                    <a:pt x="1324" y="976"/>
                  </a:cubicBezTo>
                  <a:cubicBezTo>
                    <a:pt x="1344" y="960"/>
                    <a:pt x="1373" y="941"/>
                    <a:pt x="1390" y="921"/>
                  </a:cubicBezTo>
                  <a:cubicBezTo>
                    <a:pt x="1409" y="900"/>
                    <a:pt x="1427" y="867"/>
                    <a:pt x="1450" y="851"/>
                  </a:cubicBezTo>
                  <a:cubicBezTo>
                    <a:pt x="1475" y="833"/>
                    <a:pt x="1516" y="839"/>
                    <a:pt x="1545" y="827"/>
                  </a:cubicBezTo>
                  <a:cubicBezTo>
                    <a:pt x="1570" y="817"/>
                    <a:pt x="1567" y="796"/>
                    <a:pt x="1586" y="782"/>
                  </a:cubicBezTo>
                  <a:cubicBezTo>
                    <a:pt x="1601" y="771"/>
                    <a:pt x="1624" y="775"/>
                    <a:pt x="1641" y="775"/>
                  </a:cubicBezTo>
                  <a:cubicBezTo>
                    <a:pt x="1624" y="738"/>
                    <a:pt x="1584" y="752"/>
                    <a:pt x="1593" y="703"/>
                  </a:cubicBezTo>
                  <a:cubicBezTo>
                    <a:pt x="1568" y="692"/>
                    <a:pt x="1535" y="679"/>
                    <a:pt x="1509" y="674"/>
                  </a:cubicBezTo>
                  <a:cubicBezTo>
                    <a:pt x="1457" y="664"/>
                    <a:pt x="1393" y="670"/>
                    <a:pt x="1381" y="603"/>
                  </a:cubicBezTo>
                  <a:cubicBezTo>
                    <a:pt x="1365" y="590"/>
                    <a:pt x="1351" y="578"/>
                    <a:pt x="1353" y="556"/>
                  </a:cubicBezTo>
                  <a:cubicBezTo>
                    <a:pt x="1355" y="535"/>
                    <a:pt x="1373" y="496"/>
                    <a:pt x="1355" y="477"/>
                  </a:cubicBezTo>
                  <a:cubicBezTo>
                    <a:pt x="1339" y="462"/>
                    <a:pt x="1312" y="478"/>
                    <a:pt x="1294" y="466"/>
                  </a:cubicBezTo>
                  <a:cubicBezTo>
                    <a:pt x="1276" y="454"/>
                    <a:pt x="1285" y="419"/>
                    <a:pt x="1264" y="404"/>
                  </a:cubicBezTo>
                  <a:cubicBezTo>
                    <a:pt x="1245" y="390"/>
                    <a:pt x="1222" y="393"/>
                    <a:pt x="1201" y="384"/>
                  </a:cubicBezTo>
                  <a:cubicBezTo>
                    <a:pt x="1169" y="370"/>
                    <a:pt x="1110" y="328"/>
                    <a:pt x="1087" y="302"/>
                  </a:cubicBezTo>
                  <a:cubicBezTo>
                    <a:pt x="1061" y="274"/>
                    <a:pt x="1068" y="238"/>
                    <a:pt x="1055" y="207"/>
                  </a:cubicBezTo>
                  <a:cubicBezTo>
                    <a:pt x="1049" y="194"/>
                    <a:pt x="1034" y="186"/>
                    <a:pt x="1026" y="174"/>
                  </a:cubicBezTo>
                  <a:cubicBezTo>
                    <a:pt x="998" y="133"/>
                    <a:pt x="970" y="89"/>
                    <a:pt x="938" y="50"/>
                  </a:cubicBezTo>
                  <a:cubicBezTo>
                    <a:pt x="929" y="38"/>
                    <a:pt x="933" y="15"/>
                    <a:pt x="923" y="7"/>
                  </a:cubicBezTo>
                  <a:cubicBezTo>
                    <a:pt x="913" y="0"/>
                    <a:pt x="899" y="8"/>
                    <a:pt x="889" y="9"/>
                  </a:cubicBezTo>
                  <a:cubicBezTo>
                    <a:pt x="851" y="13"/>
                    <a:pt x="844" y="21"/>
                    <a:pt x="812" y="41"/>
                  </a:cubicBezTo>
                  <a:cubicBezTo>
                    <a:pt x="794" y="53"/>
                    <a:pt x="784" y="29"/>
                    <a:pt x="765" y="35"/>
                  </a:cubicBezTo>
                  <a:cubicBezTo>
                    <a:pt x="737" y="45"/>
                    <a:pt x="704" y="71"/>
                    <a:pt x="681" y="89"/>
                  </a:cubicBezTo>
                  <a:cubicBezTo>
                    <a:pt x="672" y="97"/>
                    <a:pt x="658" y="115"/>
                    <a:pt x="646" y="115"/>
                  </a:cubicBezTo>
                  <a:cubicBezTo>
                    <a:pt x="627" y="115"/>
                    <a:pt x="607" y="51"/>
                    <a:pt x="584" y="44"/>
                  </a:cubicBezTo>
                  <a:cubicBezTo>
                    <a:pt x="559" y="37"/>
                    <a:pt x="526" y="48"/>
                    <a:pt x="501" y="51"/>
                  </a:cubicBezTo>
                  <a:cubicBezTo>
                    <a:pt x="428" y="61"/>
                    <a:pt x="357" y="80"/>
                    <a:pt x="285" y="92"/>
                  </a:cubicBezTo>
                  <a:cubicBezTo>
                    <a:pt x="261" y="96"/>
                    <a:pt x="206" y="84"/>
                    <a:pt x="187" y="99"/>
                  </a:cubicBezTo>
                  <a:cubicBezTo>
                    <a:pt x="177" y="107"/>
                    <a:pt x="181" y="131"/>
                    <a:pt x="181" y="143"/>
                  </a:cubicBezTo>
                  <a:cubicBezTo>
                    <a:pt x="181" y="259"/>
                    <a:pt x="181" y="259"/>
                    <a:pt x="181" y="259"/>
                  </a:cubicBezTo>
                  <a:lnTo>
                    <a:pt x="181" y="73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" name="Freeform 36"/>
            <p:cNvSpPr>
              <a:spLocks noEditPoints="1"/>
            </p:cNvSpPr>
            <p:nvPr/>
          </p:nvSpPr>
          <p:spPr bwMode="auto">
            <a:xfrm>
              <a:off x="2544763" y="3873500"/>
              <a:ext cx="817563" cy="630238"/>
            </a:xfrm>
            <a:custGeom>
              <a:avLst/>
              <a:gdLst/>
              <a:ahLst/>
              <a:cxnLst>
                <a:cxn ang="0">
                  <a:pos x="2186" y="15"/>
                </a:cxn>
                <a:cxn ang="0">
                  <a:pos x="2046" y="87"/>
                </a:cxn>
                <a:cxn ang="0">
                  <a:pos x="1842" y="264"/>
                </a:cxn>
                <a:cxn ang="0">
                  <a:pos x="1806" y="336"/>
                </a:cxn>
                <a:cxn ang="0">
                  <a:pos x="1750" y="396"/>
                </a:cxn>
                <a:cxn ang="0">
                  <a:pos x="1634" y="448"/>
                </a:cxn>
                <a:cxn ang="0">
                  <a:pos x="1546" y="628"/>
                </a:cxn>
                <a:cxn ang="0">
                  <a:pos x="1430" y="640"/>
                </a:cxn>
                <a:cxn ang="0">
                  <a:pos x="1374" y="628"/>
                </a:cxn>
                <a:cxn ang="0">
                  <a:pos x="1306" y="608"/>
                </a:cxn>
                <a:cxn ang="0">
                  <a:pos x="1190" y="540"/>
                </a:cxn>
                <a:cxn ang="0">
                  <a:pos x="1102" y="628"/>
                </a:cxn>
                <a:cxn ang="0">
                  <a:pos x="973" y="775"/>
                </a:cxn>
                <a:cxn ang="0">
                  <a:pos x="906" y="815"/>
                </a:cxn>
                <a:cxn ang="0">
                  <a:pos x="739" y="813"/>
                </a:cxn>
                <a:cxn ang="0">
                  <a:pos x="774" y="700"/>
                </a:cxn>
                <a:cxn ang="0">
                  <a:pos x="734" y="588"/>
                </a:cxn>
                <a:cxn ang="0">
                  <a:pos x="618" y="500"/>
                </a:cxn>
                <a:cxn ang="0">
                  <a:pos x="618" y="1092"/>
                </a:cxn>
                <a:cxn ang="0">
                  <a:pos x="486" y="1176"/>
                </a:cxn>
                <a:cxn ang="0">
                  <a:pos x="294" y="1166"/>
                </a:cxn>
                <a:cxn ang="0">
                  <a:pos x="158" y="1052"/>
                </a:cxn>
                <a:cxn ang="0">
                  <a:pos x="138" y="1036"/>
                </a:cxn>
                <a:cxn ang="0">
                  <a:pos x="52" y="1090"/>
                </a:cxn>
                <a:cxn ang="0">
                  <a:pos x="65" y="1220"/>
                </a:cxn>
                <a:cxn ang="0">
                  <a:pos x="326" y="1784"/>
                </a:cxn>
                <a:cxn ang="0">
                  <a:pos x="245" y="1860"/>
                </a:cxn>
                <a:cxn ang="0">
                  <a:pos x="350" y="2012"/>
                </a:cxn>
                <a:cxn ang="0">
                  <a:pos x="362" y="2124"/>
                </a:cxn>
                <a:cxn ang="0">
                  <a:pos x="413" y="2125"/>
                </a:cxn>
                <a:cxn ang="0">
                  <a:pos x="614" y="2202"/>
                </a:cxn>
                <a:cxn ang="0">
                  <a:pos x="790" y="2128"/>
                </a:cxn>
                <a:cxn ang="0">
                  <a:pos x="882" y="2128"/>
                </a:cxn>
                <a:cxn ang="0">
                  <a:pos x="1014" y="2075"/>
                </a:cxn>
                <a:cxn ang="0">
                  <a:pos x="1246" y="2060"/>
                </a:cxn>
                <a:cxn ang="0">
                  <a:pos x="1614" y="2064"/>
                </a:cxn>
                <a:cxn ang="0">
                  <a:pos x="1738" y="2023"/>
                </a:cxn>
                <a:cxn ang="0">
                  <a:pos x="2122" y="1802"/>
                </a:cxn>
                <a:cxn ang="0">
                  <a:pos x="2381" y="1568"/>
                </a:cxn>
                <a:cxn ang="0">
                  <a:pos x="2554" y="1308"/>
                </a:cxn>
                <a:cxn ang="0">
                  <a:pos x="2771" y="1112"/>
                </a:cxn>
                <a:cxn ang="0">
                  <a:pos x="2854" y="808"/>
                </a:cxn>
                <a:cxn ang="0">
                  <a:pos x="2704" y="812"/>
                </a:cxn>
                <a:cxn ang="0">
                  <a:pos x="2514" y="808"/>
                </a:cxn>
                <a:cxn ang="0">
                  <a:pos x="2598" y="637"/>
                </a:cxn>
                <a:cxn ang="0">
                  <a:pos x="2695" y="632"/>
                </a:cxn>
                <a:cxn ang="0">
                  <a:pos x="2702" y="432"/>
                </a:cxn>
                <a:cxn ang="0">
                  <a:pos x="2627" y="226"/>
                </a:cxn>
                <a:cxn ang="0">
                  <a:pos x="2578" y="36"/>
                </a:cxn>
                <a:cxn ang="0">
                  <a:pos x="2402" y="34"/>
                </a:cxn>
                <a:cxn ang="0">
                  <a:pos x="2263" y="1"/>
                </a:cxn>
                <a:cxn ang="0">
                  <a:pos x="2158" y="1152"/>
                </a:cxn>
                <a:cxn ang="0">
                  <a:pos x="2194" y="1332"/>
                </a:cxn>
                <a:cxn ang="0">
                  <a:pos x="2206" y="1352"/>
                </a:cxn>
                <a:cxn ang="0">
                  <a:pos x="2068" y="1394"/>
                </a:cxn>
                <a:cxn ang="0">
                  <a:pos x="1933" y="1436"/>
                </a:cxn>
                <a:cxn ang="0">
                  <a:pos x="1902" y="1260"/>
                </a:cxn>
                <a:cxn ang="0">
                  <a:pos x="2034" y="1157"/>
                </a:cxn>
              </a:cxnLst>
              <a:rect l="0" t="0" r="r" b="b"/>
              <a:pathLst>
                <a:path w="2864" h="2205">
                  <a:moveTo>
                    <a:pt x="2263" y="1"/>
                  </a:moveTo>
                  <a:cubicBezTo>
                    <a:pt x="2235" y="2"/>
                    <a:pt x="2206" y="7"/>
                    <a:pt x="2186" y="15"/>
                  </a:cubicBezTo>
                  <a:cubicBezTo>
                    <a:pt x="2166" y="24"/>
                    <a:pt x="2169" y="45"/>
                    <a:pt x="2153" y="56"/>
                  </a:cubicBezTo>
                  <a:cubicBezTo>
                    <a:pt x="2120" y="80"/>
                    <a:pt x="2078" y="66"/>
                    <a:pt x="2046" y="87"/>
                  </a:cubicBezTo>
                  <a:cubicBezTo>
                    <a:pt x="2014" y="107"/>
                    <a:pt x="2000" y="151"/>
                    <a:pt x="1970" y="174"/>
                  </a:cubicBezTo>
                  <a:cubicBezTo>
                    <a:pt x="1931" y="204"/>
                    <a:pt x="1865" y="217"/>
                    <a:pt x="1842" y="264"/>
                  </a:cubicBezTo>
                  <a:cubicBezTo>
                    <a:pt x="1830" y="260"/>
                    <a:pt x="1830" y="260"/>
                    <a:pt x="1830" y="260"/>
                  </a:cubicBezTo>
                  <a:cubicBezTo>
                    <a:pt x="1819" y="281"/>
                    <a:pt x="1812" y="313"/>
                    <a:pt x="1806" y="336"/>
                  </a:cubicBezTo>
                  <a:cubicBezTo>
                    <a:pt x="1803" y="347"/>
                    <a:pt x="1809" y="359"/>
                    <a:pt x="1802" y="368"/>
                  </a:cubicBezTo>
                  <a:cubicBezTo>
                    <a:pt x="1791" y="382"/>
                    <a:pt x="1763" y="383"/>
                    <a:pt x="1750" y="396"/>
                  </a:cubicBezTo>
                  <a:cubicBezTo>
                    <a:pt x="1740" y="405"/>
                    <a:pt x="1740" y="425"/>
                    <a:pt x="1726" y="432"/>
                  </a:cubicBezTo>
                  <a:cubicBezTo>
                    <a:pt x="1701" y="444"/>
                    <a:pt x="1652" y="421"/>
                    <a:pt x="1634" y="448"/>
                  </a:cubicBezTo>
                  <a:cubicBezTo>
                    <a:pt x="1629" y="456"/>
                    <a:pt x="1636" y="475"/>
                    <a:pt x="1634" y="484"/>
                  </a:cubicBezTo>
                  <a:cubicBezTo>
                    <a:pt x="1621" y="535"/>
                    <a:pt x="1600" y="606"/>
                    <a:pt x="1546" y="628"/>
                  </a:cubicBezTo>
                  <a:cubicBezTo>
                    <a:pt x="1526" y="636"/>
                    <a:pt x="1505" y="614"/>
                    <a:pt x="1490" y="620"/>
                  </a:cubicBezTo>
                  <a:cubicBezTo>
                    <a:pt x="1469" y="629"/>
                    <a:pt x="1457" y="647"/>
                    <a:pt x="1430" y="640"/>
                  </a:cubicBezTo>
                  <a:cubicBezTo>
                    <a:pt x="1419" y="637"/>
                    <a:pt x="1409" y="627"/>
                    <a:pt x="1398" y="624"/>
                  </a:cubicBezTo>
                  <a:cubicBezTo>
                    <a:pt x="1388" y="622"/>
                    <a:pt x="1382" y="631"/>
                    <a:pt x="1374" y="628"/>
                  </a:cubicBezTo>
                  <a:cubicBezTo>
                    <a:pt x="1362" y="623"/>
                    <a:pt x="1362" y="608"/>
                    <a:pt x="1350" y="604"/>
                  </a:cubicBezTo>
                  <a:cubicBezTo>
                    <a:pt x="1336" y="599"/>
                    <a:pt x="1320" y="615"/>
                    <a:pt x="1306" y="608"/>
                  </a:cubicBezTo>
                  <a:cubicBezTo>
                    <a:pt x="1290" y="600"/>
                    <a:pt x="1281" y="581"/>
                    <a:pt x="1266" y="572"/>
                  </a:cubicBezTo>
                  <a:cubicBezTo>
                    <a:pt x="1241" y="557"/>
                    <a:pt x="1218" y="547"/>
                    <a:pt x="1190" y="540"/>
                  </a:cubicBezTo>
                  <a:cubicBezTo>
                    <a:pt x="1141" y="528"/>
                    <a:pt x="1109" y="572"/>
                    <a:pt x="1106" y="608"/>
                  </a:cubicBezTo>
                  <a:cubicBezTo>
                    <a:pt x="1104" y="624"/>
                    <a:pt x="1086" y="615"/>
                    <a:pt x="1102" y="628"/>
                  </a:cubicBezTo>
                  <a:cubicBezTo>
                    <a:pt x="1054" y="708"/>
                    <a:pt x="1054" y="708"/>
                    <a:pt x="1054" y="708"/>
                  </a:cubicBezTo>
                  <a:cubicBezTo>
                    <a:pt x="1009" y="715"/>
                    <a:pt x="1003" y="750"/>
                    <a:pt x="973" y="775"/>
                  </a:cubicBezTo>
                  <a:cubicBezTo>
                    <a:pt x="959" y="787"/>
                    <a:pt x="935" y="785"/>
                    <a:pt x="918" y="792"/>
                  </a:cubicBezTo>
                  <a:cubicBezTo>
                    <a:pt x="918" y="803"/>
                    <a:pt x="918" y="812"/>
                    <a:pt x="906" y="815"/>
                  </a:cubicBezTo>
                  <a:cubicBezTo>
                    <a:pt x="866" y="826"/>
                    <a:pt x="817" y="811"/>
                    <a:pt x="778" y="809"/>
                  </a:cubicBezTo>
                  <a:cubicBezTo>
                    <a:pt x="765" y="808"/>
                    <a:pt x="751" y="820"/>
                    <a:pt x="739" y="813"/>
                  </a:cubicBezTo>
                  <a:cubicBezTo>
                    <a:pt x="720" y="801"/>
                    <a:pt x="724" y="767"/>
                    <a:pt x="734" y="752"/>
                  </a:cubicBezTo>
                  <a:cubicBezTo>
                    <a:pt x="746" y="734"/>
                    <a:pt x="761" y="717"/>
                    <a:pt x="774" y="700"/>
                  </a:cubicBezTo>
                  <a:cubicBezTo>
                    <a:pt x="774" y="696"/>
                    <a:pt x="774" y="696"/>
                    <a:pt x="774" y="696"/>
                  </a:cubicBezTo>
                  <a:cubicBezTo>
                    <a:pt x="734" y="588"/>
                    <a:pt x="734" y="588"/>
                    <a:pt x="734" y="588"/>
                  </a:cubicBezTo>
                  <a:cubicBezTo>
                    <a:pt x="737" y="530"/>
                    <a:pt x="663" y="497"/>
                    <a:pt x="634" y="460"/>
                  </a:cubicBezTo>
                  <a:cubicBezTo>
                    <a:pt x="615" y="466"/>
                    <a:pt x="618" y="483"/>
                    <a:pt x="618" y="500"/>
                  </a:cubicBezTo>
                  <a:cubicBezTo>
                    <a:pt x="618" y="612"/>
                    <a:pt x="618" y="612"/>
                    <a:pt x="618" y="612"/>
                  </a:cubicBezTo>
                  <a:cubicBezTo>
                    <a:pt x="618" y="1092"/>
                    <a:pt x="618" y="1092"/>
                    <a:pt x="618" y="1092"/>
                  </a:cubicBezTo>
                  <a:cubicBezTo>
                    <a:pt x="563" y="1097"/>
                    <a:pt x="529" y="1129"/>
                    <a:pt x="482" y="1148"/>
                  </a:cubicBezTo>
                  <a:cubicBezTo>
                    <a:pt x="486" y="1176"/>
                    <a:pt x="486" y="1176"/>
                    <a:pt x="486" y="1176"/>
                  </a:cubicBezTo>
                  <a:cubicBezTo>
                    <a:pt x="461" y="1180"/>
                    <a:pt x="450" y="1166"/>
                    <a:pt x="426" y="1164"/>
                  </a:cubicBezTo>
                  <a:cubicBezTo>
                    <a:pt x="385" y="1161"/>
                    <a:pt x="332" y="1178"/>
                    <a:pt x="294" y="1166"/>
                  </a:cubicBezTo>
                  <a:cubicBezTo>
                    <a:pt x="260" y="1155"/>
                    <a:pt x="209" y="1126"/>
                    <a:pt x="174" y="1136"/>
                  </a:cubicBezTo>
                  <a:cubicBezTo>
                    <a:pt x="158" y="1052"/>
                    <a:pt x="158" y="1052"/>
                    <a:pt x="158" y="1052"/>
                  </a:cubicBezTo>
                  <a:cubicBezTo>
                    <a:pt x="142" y="1060"/>
                    <a:pt x="142" y="1060"/>
                    <a:pt x="142" y="1060"/>
                  </a:cubicBezTo>
                  <a:cubicBezTo>
                    <a:pt x="138" y="1036"/>
                    <a:pt x="138" y="1036"/>
                    <a:pt x="138" y="1036"/>
                  </a:cubicBezTo>
                  <a:cubicBezTo>
                    <a:pt x="131" y="1032"/>
                    <a:pt x="125" y="1027"/>
                    <a:pt x="118" y="1024"/>
                  </a:cubicBezTo>
                  <a:cubicBezTo>
                    <a:pt x="64" y="1002"/>
                    <a:pt x="73" y="1067"/>
                    <a:pt x="52" y="1090"/>
                  </a:cubicBezTo>
                  <a:cubicBezTo>
                    <a:pt x="39" y="1103"/>
                    <a:pt x="0" y="1108"/>
                    <a:pt x="7" y="1132"/>
                  </a:cubicBezTo>
                  <a:cubicBezTo>
                    <a:pt x="16" y="1168"/>
                    <a:pt x="50" y="1187"/>
                    <a:pt x="65" y="1220"/>
                  </a:cubicBezTo>
                  <a:cubicBezTo>
                    <a:pt x="111" y="1326"/>
                    <a:pt x="140" y="1434"/>
                    <a:pt x="204" y="1532"/>
                  </a:cubicBezTo>
                  <a:cubicBezTo>
                    <a:pt x="259" y="1616"/>
                    <a:pt x="326" y="1677"/>
                    <a:pt x="326" y="1784"/>
                  </a:cubicBezTo>
                  <a:cubicBezTo>
                    <a:pt x="326" y="1805"/>
                    <a:pt x="315" y="1831"/>
                    <a:pt x="294" y="1839"/>
                  </a:cubicBezTo>
                  <a:cubicBezTo>
                    <a:pt x="277" y="1846"/>
                    <a:pt x="248" y="1833"/>
                    <a:pt x="245" y="1860"/>
                  </a:cubicBezTo>
                  <a:cubicBezTo>
                    <a:pt x="240" y="1898"/>
                    <a:pt x="265" y="1885"/>
                    <a:pt x="280" y="1905"/>
                  </a:cubicBezTo>
                  <a:cubicBezTo>
                    <a:pt x="303" y="1937"/>
                    <a:pt x="313" y="1988"/>
                    <a:pt x="350" y="2012"/>
                  </a:cubicBezTo>
                  <a:cubicBezTo>
                    <a:pt x="350" y="2016"/>
                    <a:pt x="350" y="2016"/>
                    <a:pt x="350" y="2016"/>
                  </a:cubicBezTo>
                  <a:cubicBezTo>
                    <a:pt x="327" y="2038"/>
                    <a:pt x="305" y="2137"/>
                    <a:pt x="362" y="2124"/>
                  </a:cubicBezTo>
                  <a:cubicBezTo>
                    <a:pt x="357" y="2098"/>
                    <a:pt x="377" y="2048"/>
                    <a:pt x="408" y="2085"/>
                  </a:cubicBezTo>
                  <a:cubicBezTo>
                    <a:pt x="417" y="2097"/>
                    <a:pt x="402" y="2115"/>
                    <a:pt x="413" y="2125"/>
                  </a:cubicBezTo>
                  <a:cubicBezTo>
                    <a:pt x="432" y="2143"/>
                    <a:pt x="506" y="2114"/>
                    <a:pt x="498" y="2168"/>
                  </a:cubicBezTo>
                  <a:cubicBezTo>
                    <a:pt x="538" y="2175"/>
                    <a:pt x="570" y="2205"/>
                    <a:pt x="614" y="2202"/>
                  </a:cubicBezTo>
                  <a:cubicBezTo>
                    <a:pt x="634" y="2200"/>
                    <a:pt x="656" y="2177"/>
                    <a:pt x="674" y="2168"/>
                  </a:cubicBezTo>
                  <a:cubicBezTo>
                    <a:pt x="708" y="2149"/>
                    <a:pt x="752" y="2132"/>
                    <a:pt x="790" y="2128"/>
                  </a:cubicBezTo>
                  <a:cubicBezTo>
                    <a:pt x="806" y="2126"/>
                    <a:pt x="822" y="2136"/>
                    <a:pt x="838" y="2138"/>
                  </a:cubicBezTo>
                  <a:cubicBezTo>
                    <a:pt x="854" y="2140"/>
                    <a:pt x="866" y="2129"/>
                    <a:pt x="882" y="2128"/>
                  </a:cubicBezTo>
                  <a:cubicBezTo>
                    <a:pt x="902" y="2126"/>
                    <a:pt x="918" y="2134"/>
                    <a:pt x="938" y="2127"/>
                  </a:cubicBezTo>
                  <a:cubicBezTo>
                    <a:pt x="967" y="2116"/>
                    <a:pt x="981" y="2082"/>
                    <a:pt x="1014" y="2075"/>
                  </a:cubicBezTo>
                  <a:cubicBezTo>
                    <a:pt x="1077" y="2062"/>
                    <a:pt x="1127" y="2080"/>
                    <a:pt x="1190" y="2079"/>
                  </a:cubicBezTo>
                  <a:cubicBezTo>
                    <a:pt x="1211" y="2079"/>
                    <a:pt x="1224" y="2061"/>
                    <a:pt x="1246" y="2060"/>
                  </a:cubicBezTo>
                  <a:cubicBezTo>
                    <a:pt x="1314" y="2059"/>
                    <a:pt x="1393" y="2083"/>
                    <a:pt x="1458" y="2100"/>
                  </a:cubicBezTo>
                  <a:cubicBezTo>
                    <a:pt x="1497" y="2025"/>
                    <a:pt x="1555" y="2089"/>
                    <a:pt x="1614" y="2064"/>
                  </a:cubicBezTo>
                  <a:cubicBezTo>
                    <a:pt x="1594" y="2033"/>
                    <a:pt x="1612" y="2019"/>
                    <a:pt x="1646" y="2014"/>
                  </a:cubicBezTo>
                  <a:cubicBezTo>
                    <a:pt x="1677" y="2009"/>
                    <a:pt x="1706" y="2028"/>
                    <a:pt x="1738" y="2023"/>
                  </a:cubicBezTo>
                  <a:cubicBezTo>
                    <a:pt x="1837" y="2007"/>
                    <a:pt x="1949" y="1932"/>
                    <a:pt x="2025" y="1869"/>
                  </a:cubicBezTo>
                  <a:cubicBezTo>
                    <a:pt x="2055" y="1844"/>
                    <a:pt x="2093" y="1829"/>
                    <a:pt x="2122" y="1802"/>
                  </a:cubicBezTo>
                  <a:cubicBezTo>
                    <a:pt x="2168" y="1759"/>
                    <a:pt x="2207" y="1705"/>
                    <a:pt x="2256" y="1665"/>
                  </a:cubicBezTo>
                  <a:cubicBezTo>
                    <a:pt x="2297" y="1631"/>
                    <a:pt x="2346" y="1610"/>
                    <a:pt x="2381" y="1568"/>
                  </a:cubicBezTo>
                  <a:cubicBezTo>
                    <a:pt x="2438" y="1500"/>
                    <a:pt x="2488" y="1423"/>
                    <a:pt x="2539" y="1351"/>
                  </a:cubicBezTo>
                  <a:cubicBezTo>
                    <a:pt x="2548" y="1339"/>
                    <a:pt x="2546" y="1322"/>
                    <a:pt x="2554" y="1308"/>
                  </a:cubicBezTo>
                  <a:cubicBezTo>
                    <a:pt x="2568" y="1283"/>
                    <a:pt x="2592" y="1262"/>
                    <a:pt x="2611" y="1240"/>
                  </a:cubicBezTo>
                  <a:cubicBezTo>
                    <a:pt x="2658" y="1189"/>
                    <a:pt x="2731" y="1170"/>
                    <a:pt x="2771" y="1112"/>
                  </a:cubicBezTo>
                  <a:cubicBezTo>
                    <a:pt x="2808" y="1060"/>
                    <a:pt x="2801" y="997"/>
                    <a:pt x="2820" y="939"/>
                  </a:cubicBezTo>
                  <a:cubicBezTo>
                    <a:pt x="2834" y="894"/>
                    <a:pt x="2864" y="857"/>
                    <a:pt x="2854" y="808"/>
                  </a:cubicBezTo>
                  <a:cubicBezTo>
                    <a:pt x="2823" y="821"/>
                    <a:pt x="2783" y="818"/>
                    <a:pt x="2750" y="816"/>
                  </a:cubicBezTo>
                  <a:cubicBezTo>
                    <a:pt x="2736" y="815"/>
                    <a:pt x="2717" y="803"/>
                    <a:pt x="2704" y="812"/>
                  </a:cubicBezTo>
                  <a:cubicBezTo>
                    <a:pt x="2684" y="827"/>
                    <a:pt x="2688" y="875"/>
                    <a:pt x="2690" y="896"/>
                  </a:cubicBezTo>
                  <a:cubicBezTo>
                    <a:pt x="2623" y="896"/>
                    <a:pt x="2527" y="893"/>
                    <a:pt x="2514" y="808"/>
                  </a:cubicBezTo>
                  <a:cubicBezTo>
                    <a:pt x="2485" y="791"/>
                    <a:pt x="2495" y="733"/>
                    <a:pt x="2526" y="724"/>
                  </a:cubicBezTo>
                  <a:cubicBezTo>
                    <a:pt x="2539" y="696"/>
                    <a:pt x="2557" y="632"/>
                    <a:pt x="2598" y="637"/>
                  </a:cubicBezTo>
                  <a:cubicBezTo>
                    <a:pt x="2635" y="641"/>
                    <a:pt x="2657" y="680"/>
                    <a:pt x="2694" y="684"/>
                  </a:cubicBezTo>
                  <a:cubicBezTo>
                    <a:pt x="2697" y="666"/>
                    <a:pt x="2691" y="649"/>
                    <a:pt x="2695" y="632"/>
                  </a:cubicBezTo>
                  <a:cubicBezTo>
                    <a:pt x="2702" y="594"/>
                    <a:pt x="2727" y="528"/>
                    <a:pt x="2702" y="492"/>
                  </a:cubicBezTo>
                  <a:cubicBezTo>
                    <a:pt x="2711" y="479"/>
                    <a:pt x="2703" y="448"/>
                    <a:pt x="2702" y="432"/>
                  </a:cubicBezTo>
                  <a:cubicBezTo>
                    <a:pt x="2701" y="400"/>
                    <a:pt x="2697" y="345"/>
                    <a:pt x="2682" y="316"/>
                  </a:cubicBezTo>
                  <a:cubicBezTo>
                    <a:pt x="2666" y="287"/>
                    <a:pt x="2637" y="259"/>
                    <a:pt x="2627" y="226"/>
                  </a:cubicBezTo>
                  <a:cubicBezTo>
                    <a:pt x="2616" y="189"/>
                    <a:pt x="2627" y="128"/>
                    <a:pt x="2590" y="100"/>
                  </a:cubicBezTo>
                  <a:cubicBezTo>
                    <a:pt x="2578" y="36"/>
                    <a:pt x="2578" y="36"/>
                    <a:pt x="2578" y="36"/>
                  </a:cubicBezTo>
                  <a:cubicBezTo>
                    <a:pt x="2553" y="34"/>
                    <a:pt x="2526" y="24"/>
                    <a:pt x="2502" y="26"/>
                  </a:cubicBezTo>
                  <a:cubicBezTo>
                    <a:pt x="2470" y="27"/>
                    <a:pt x="2433" y="39"/>
                    <a:pt x="2402" y="34"/>
                  </a:cubicBezTo>
                  <a:cubicBezTo>
                    <a:pt x="2381" y="31"/>
                    <a:pt x="2362" y="15"/>
                    <a:pt x="2342" y="9"/>
                  </a:cubicBezTo>
                  <a:cubicBezTo>
                    <a:pt x="2321" y="3"/>
                    <a:pt x="2292" y="0"/>
                    <a:pt x="2263" y="1"/>
                  </a:cubicBezTo>
                  <a:close/>
                  <a:moveTo>
                    <a:pt x="2102" y="1128"/>
                  </a:moveTo>
                  <a:cubicBezTo>
                    <a:pt x="2126" y="1128"/>
                    <a:pt x="2136" y="1146"/>
                    <a:pt x="2158" y="1152"/>
                  </a:cubicBezTo>
                  <a:cubicBezTo>
                    <a:pt x="2172" y="1188"/>
                    <a:pt x="2210" y="1191"/>
                    <a:pt x="2235" y="1215"/>
                  </a:cubicBezTo>
                  <a:cubicBezTo>
                    <a:pt x="2275" y="1251"/>
                    <a:pt x="2217" y="1302"/>
                    <a:pt x="2194" y="1332"/>
                  </a:cubicBezTo>
                  <a:cubicBezTo>
                    <a:pt x="2194" y="1336"/>
                    <a:pt x="2194" y="1336"/>
                    <a:pt x="2194" y="1336"/>
                  </a:cubicBezTo>
                  <a:cubicBezTo>
                    <a:pt x="2206" y="1352"/>
                    <a:pt x="2206" y="1352"/>
                    <a:pt x="2206" y="1352"/>
                  </a:cubicBezTo>
                  <a:cubicBezTo>
                    <a:pt x="2178" y="1356"/>
                    <a:pt x="2160" y="1377"/>
                    <a:pt x="2134" y="1382"/>
                  </a:cubicBezTo>
                  <a:cubicBezTo>
                    <a:pt x="2112" y="1387"/>
                    <a:pt x="2086" y="1378"/>
                    <a:pt x="2068" y="1394"/>
                  </a:cubicBezTo>
                  <a:cubicBezTo>
                    <a:pt x="2048" y="1411"/>
                    <a:pt x="2036" y="1466"/>
                    <a:pt x="2013" y="1473"/>
                  </a:cubicBezTo>
                  <a:cubicBezTo>
                    <a:pt x="1982" y="1483"/>
                    <a:pt x="1951" y="1457"/>
                    <a:pt x="1933" y="1436"/>
                  </a:cubicBezTo>
                  <a:cubicBezTo>
                    <a:pt x="1896" y="1396"/>
                    <a:pt x="1864" y="1351"/>
                    <a:pt x="1842" y="1300"/>
                  </a:cubicBezTo>
                  <a:cubicBezTo>
                    <a:pt x="1869" y="1294"/>
                    <a:pt x="1890" y="1287"/>
                    <a:pt x="1902" y="1260"/>
                  </a:cubicBezTo>
                  <a:cubicBezTo>
                    <a:pt x="1914" y="1264"/>
                    <a:pt x="1914" y="1264"/>
                    <a:pt x="1914" y="1264"/>
                  </a:cubicBezTo>
                  <a:cubicBezTo>
                    <a:pt x="1923" y="1201"/>
                    <a:pt x="1986" y="1182"/>
                    <a:pt x="2034" y="1157"/>
                  </a:cubicBezTo>
                  <a:cubicBezTo>
                    <a:pt x="2055" y="1146"/>
                    <a:pt x="2078" y="1128"/>
                    <a:pt x="2102" y="11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" name="Freeform 37"/>
            <p:cNvSpPr/>
            <p:nvPr/>
          </p:nvSpPr>
          <p:spPr bwMode="auto">
            <a:xfrm>
              <a:off x="3741738" y="3486150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" name="Freeform 38"/>
            <p:cNvSpPr/>
            <p:nvPr/>
          </p:nvSpPr>
          <p:spPr bwMode="auto">
            <a:xfrm>
              <a:off x="3224213" y="3289300"/>
              <a:ext cx="533400" cy="822325"/>
            </a:xfrm>
            <a:custGeom>
              <a:avLst/>
              <a:gdLst/>
              <a:ahLst/>
              <a:cxnLst>
                <a:cxn ang="0">
                  <a:pos x="1320" y="184"/>
                </a:cxn>
                <a:cxn ang="0">
                  <a:pos x="1156" y="190"/>
                </a:cxn>
                <a:cxn ang="0">
                  <a:pos x="1040" y="212"/>
                </a:cxn>
                <a:cxn ang="0">
                  <a:pos x="928" y="191"/>
                </a:cxn>
                <a:cxn ang="0">
                  <a:pos x="760" y="224"/>
                </a:cxn>
                <a:cxn ang="0">
                  <a:pos x="746" y="392"/>
                </a:cxn>
                <a:cxn ang="0">
                  <a:pos x="828" y="546"/>
                </a:cxn>
                <a:cxn ang="0">
                  <a:pos x="978" y="732"/>
                </a:cxn>
                <a:cxn ang="0">
                  <a:pos x="962" y="967"/>
                </a:cxn>
                <a:cxn ang="0">
                  <a:pos x="852" y="1048"/>
                </a:cxn>
                <a:cxn ang="0">
                  <a:pos x="864" y="1128"/>
                </a:cxn>
                <a:cxn ang="0">
                  <a:pos x="732" y="988"/>
                </a:cxn>
                <a:cxn ang="0">
                  <a:pos x="716" y="928"/>
                </a:cxn>
                <a:cxn ang="0">
                  <a:pos x="760" y="760"/>
                </a:cxn>
                <a:cxn ang="0">
                  <a:pos x="732" y="676"/>
                </a:cxn>
                <a:cxn ang="0">
                  <a:pos x="544" y="644"/>
                </a:cxn>
                <a:cxn ang="0">
                  <a:pos x="128" y="739"/>
                </a:cxn>
                <a:cxn ang="0">
                  <a:pos x="35" y="908"/>
                </a:cxn>
                <a:cxn ang="0">
                  <a:pos x="176" y="966"/>
                </a:cxn>
                <a:cxn ang="0">
                  <a:pos x="268" y="1005"/>
                </a:cxn>
                <a:cxn ang="0">
                  <a:pos x="396" y="1050"/>
                </a:cxn>
                <a:cxn ang="0">
                  <a:pos x="481" y="1188"/>
                </a:cxn>
                <a:cxn ang="0">
                  <a:pos x="496" y="1368"/>
                </a:cxn>
                <a:cxn ang="0">
                  <a:pos x="429" y="1472"/>
                </a:cxn>
                <a:cxn ang="0">
                  <a:pos x="446" y="1544"/>
                </a:cxn>
                <a:cxn ang="0">
                  <a:pos x="487" y="1632"/>
                </a:cxn>
                <a:cxn ang="0">
                  <a:pos x="397" y="1757"/>
                </a:cxn>
                <a:cxn ang="0">
                  <a:pos x="388" y="1876"/>
                </a:cxn>
                <a:cxn ang="0">
                  <a:pos x="229" y="2200"/>
                </a:cxn>
                <a:cxn ang="0">
                  <a:pos x="311" y="2432"/>
                </a:cxn>
                <a:cxn ang="0">
                  <a:pos x="299" y="2664"/>
                </a:cxn>
                <a:cxn ang="0">
                  <a:pos x="320" y="2770"/>
                </a:cxn>
                <a:cxn ang="0">
                  <a:pos x="316" y="2846"/>
                </a:cxn>
                <a:cxn ang="0">
                  <a:pos x="488" y="2702"/>
                </a:cxn>
                <a:cxn ang="0">
                  <a:pos x="620" y="2539"/>
                </a:cxn>
                <a:cxn ang="0">
                  <a:pos x="900" y="2324"/>
                </a:cxn>
                <a:cxn ang="0">
                  <a:pos x="948" y="2156"/>
                </a:cxn>
                <a:cxn ang="0">
                  <a:pos x="916" y="2116"/>
                </a:cxn>
                <a:cxn ang="0">
                  <a:pos x="908" y="2080"/>
                </a:cxn>
                <a:cxn ang="0">
                  <a:pos x="900" y="2012"/>
                </a:cxn>
                <a:cxn ang="0">
                  <a:pos x="850" y="1868"/>
                </a:cxn>
                <a:cxn ang="0">
                  <a:pos x="840" y="1772"/>
                </a:cxn>
                <a:cxn ang="0">
                  <a:pos x="800" y="1644"/>
                </a:cxn>
                <a:cxn ang="0">
                  <a:pos x="960" y="1501"/>
                </a:cxn>
                <a:cxn ang="0">
                  <a:pos x="1028" y="1468"/>
                </a:cxn>
                <a:cxn ang="0">
                  <a:pos x="1220" y="1270"/>
                </a:cxn>
                <a:cxn ang="0">
                  <a:pos x="1546" y="1132"/>
                </a:cxn>
                <a:cxn ang="0">
                  <a:pos x="1688" y="1004"/>
                </a:cxn>
                <a:cxn ang="0">
                  <a:pos x="1704" y="1000"/>
                </a:cxn>
                <a:cxn ang="0">
                  <a:pos x="1801" y="875"/>
                </a:cxn>
                <a:cxn ang="0">
                  <a:pos x="1816" y="688"/>
                </a:cxn>
                <a:cxn ang="0">
                  <a:pos x="1800" y="648"/>
                </a:cxn>
                <a:cxn ang="0">
                  <a:pos x="1808" y="540"/>
                </a:cxn>
                <a:cxn ang="0">
                  <a:pos x="1808" y="508"/>
                </a:cxn>
                <a:cxn ang="0">
                  <a:pos x="1812" y="432"/>
                </a:cxn>
                <a:cxn ang="0">
                  <a:pos x="1780" y="440"/>
                </a:cxn>
                <a:cxn ang="0">
                  <a:pos x="1820" y="400"/>
                </a:cxn>
                <a:cxn ang="0">
                  <a:pos x="1779" y="212"/>
                </a:cxn>
                <a:cxn ang="0">
                  <a:pos x="1816" y="68"/>
                </a:cxn>
                <a:cxn ang="0">
                  <a:pos x="1780" y="0"/>
                </a:cxn>
                <a:cxn ang="0">
                  <a:pos x="1572" y="113"/>
                </a:cxn>
                <a:cxn ang="0">
                  <a:pos x="1432" y="153"/>
                </a:cxn>
                <a:cxn ang="0">
                  <a:pos x="1324" y="144"/>
                </a:cxn>
              </a:cxnLst>
              <a:rect l="0" t="0" r="r" b="b"/>
              <a:pathLst>
                <a:path w="1868" h="2879">
                  <a:moveTo>
                    <a:pt x="1324" y="144"/>
                  </a:moveTo>
                  <a:cubicBezTo>
                    <a:pt x="1320" y="184"/>
                    <a:pt x="1320" y="184"/>
                    <a:pt x="1320" y="184"/>
                  </a:cubicBezTo>
                  <a:cubicBezTo>
                    <a:pt x="1244" y="212"/>
                    <a:pt x="1244" y="212"/>
                    <a:pt x="1244" y="212"/>
                  </a:cubicBezTo>
                  <a:cubicBezTo>
                    <a:pt x="1156" y="190"/>
                    <a:pt x="1156" y="190"/>
                    <a:pt x="1156" y="190"/>
                  </a:cubicBezTo>
                  <a:cubicBezTo>
                    <a:pt x="1116" y="213"/>
                    <a:pt x="1116" y="213"/>
                    <a:pt x="1116" y="213"/>
                  </a:cubicBezTo>
                  <a:cubicBezTo>
                    <a:pt x="1040" y="212"/>
                    <a:pt x="1040" y="212"/>
                    <a:pt x="1040" y="212"/>
                  </a:cubicBezTo>
                  <a:cubicBezTo>
                    <a:pt x="1046" y="183"/>
                    <a:pt x="1002" y="160"/>
                    <a:pt x="976" y="165"/>
                  </a:cubicBezTo>
                  <a:cubicBezTo>
                    <a:pt x="956" y="169"/>
                    <a:pt x="947" y="188"/>
                    <a:pt x="928" y="191"/>
                  </a:cubicBezTo>
                  <a:cubicBezTo>
                    <a:pt x="882" y="199"/>
                    <a:pt x="816" y="169"/>
                    <a:pt x="773" y="190"/>
                  </a:cubicBezTo>
                  <a:cubicBezTo>
                    <a:pt x="761" y="196"/>
                    <a:pt x="764" y="213"/>
                    <a:pt x="760" y="224"/>
                  </a:cubicBezTo>
                  <a:cubicBezTo>
                    <a:pt x="750" y="248"/>
                    <a:pt x="728" y="266"/>
                    <a:pt x="722" y="292"/>
                  </a:cubicBezTo>
                  <a:cubicBezTo>
                    <a:pt x="714" y="324"/>
                    <a:pt x="739" y="362"/>
                    <a:pt x="746" y="392"/>
                  </a:cubicBezTo>
                  <a:cubicBezTo>
                    <a:pt x="755" y="428"/>
                    <a:pt x="740" y="479"/>
                    <a:pt x="759" y="512"/>
                  </a:cubicBezTo>
                  <a:cubicBezTo>
                    <a:pt x="774" y="536"/>
                    <a:pt x="807" y="526"/>
                    <a:pt x="828" y="546"/>
                  </a:cubicBezTo>
                  <a:cubicBezTo>
                    <a:pt x="865" y="583"/>
                    <a:pt x="893" y="626"/>
                    <a:pt x="925" y="667"/>
                  </a:cubicBezTo>
                  <a:cubicBezTo>
                    <a:pt x="942" y="687"/>
                    <a:pt x="970" y="706"/>
                    <a:pt x="978" y="732"/>
                  </a:cubicBezTo>
                  <a:cubicBezTo>
                    <a:pt x="987" y="765"/>
                    <a:pt x="971" y="789"/>
                    <a:pt x="972" y="820"/>
                  </a:cubicBezTo>
                  <a:cubicBezTo>
                    <a:pt x="973" y="862"/>
                    <a:pt x="994" y="931"/>
                    <a:pt x="962" y="967"/>
                  </a:cubicBezTo>
                  <a:cubicBezTo>
                    <a:pt x="941" y="991"/>
                    <a:pt x="915" y="969"/>
                    <a:pt x="892" y="985"/>
                  </a:cubicBezTo>
                  <a:cubicBezTo>
                    <a:pt x="869" y="1002"/>
                    <a:pt x="879" y="1034"/>
                    <a:pt x="852" y="1048"/>
                  </a:cubicBezTo>
                  <a:cubicBezTo>
                    <a:pt x="854" y="1077"/>
                    <a:pt x="919" y="1151"/>
                    <a:pt x="848" y="1152"/>
                  </a:cubicBezTo>
                  <a:cubicBezTo>
                    <a:pt x="864" y="1128"/>
                    <a:pt x="864" y="1128"/>
                    <a:pt x="864" y="1128"/>
                  </a:cubicBezTo>
                  <a:cubicBezTo>
                    <a:pt x="864" y="1100"/>
                    <a:pt x="864" y="1100"/>
                    <a:pt x="864" y="1100"/>
                  </a:cubicBezTo>
                  <a:cubicBezTo>
                    <a:pt x="811" y="1085"/>
                    <a:pt x="770" y="1026"/>
                    <a:pt x="732" y="988"/>
                  </a:cubicBezTo>
                  <a:cubicBezTo>
                    <a:pt x="732" y="984"/>
                    <a:pt x="732" y="984"/>
                    <a:pt x="732" y="984"/>
                  </a:cubicBezTo>
                  <a:cubicBezTo>
                    <a:pt x="747" y="961"/>
                    <a:pt x="709" y="951"/>
                    <a:pt x="716" y="928"/>
                  </a:cubicBezTo>
                  <a:cubicBezTo>
                    <a:pt x="727" y="896"/>
                    <a:pt x="758" y="866"/>
                    <a:pt x="765" y="832"/>
                  </a:cubicBezTo>
                  <a:cubicBezTo>
                    <a:pt x="769" y="811"/>
                    <a:pt x="762" y="782"/>
                    <a:pt x="760" y="760"/>
                  </a:cubicBezTo>
                  <a:cubicBezTo>
                    <a:pt x="758" y="734"/>
                    <a:pt x="761" y="710"/>
                    <a:pt x="736" y="696"/>
                  </a:cubicBezTo>
                  <a:cubicBezTo>
                    <a:pt x="732" y="676"/>
                    <a:pt x="732" y="676"/>
                    <a:pt x="732" y="676"/>
                  </a:cubicBezTo>
                  <a:cubicBezTo>
                    <a:pt x="600" y="699"/>
                    <a:pt x="600" y="699"/>
                    <a:pt x="600" y="699"/>
                  </a:cubicBezTo>
                  <a:cubicBezTo>
                    <a:pt x="544" y="644"/>
                    <a:pt x="544" y="644"/>
                    <a:pt x="544" y="644"/>
                  </a:cubicBezTo>
                  <a:cubicBezTo>
                    <a:pt x="540" y="586"/>
                    <a:pt x="447" y="637"/>
                    <a:pt x="416" y="649"/>
                  </a:cubicBezTo>
                  <a:cubicBezTo>
                    <a:pt x="323" y="686"/>
                    <a:pt x="223" y="712"/>
                    <a:pt x="128" y="739"/>
                  </a:cubicBezTo>
                  <a:cubicBezTo>
                    <a:pt x="86" y="750"/>
                    <a:pt x="42" y="776"/>
                    <a:pt x="0" y="780"/>
                  </a:cubicBezTo>
                  <a:cubicBezTo>
                    <a:pt x="35" y="908"/>
                    <a:pt x="35" y="908"/>
                    <a:pt x="35" y="908"/>
                  </a:cubicBezTo>
                  <a:cubicBezTo>
                    <a:pt x="42" y="960"/>
                    <a:pt x="42" y="960"/>
                    <a:pt x="42" y="960"/>
                  </a:cubicBezTo>
                  <a:cubicBezTo>
                    <a:pt x="176" y="966"/>
                    <a:pt x="176" y="966"/>
                    <a:pt x="176" y="966"/>
                  </a:cubicBezTo>
                  <a:cubicBezTo>
                    <a:pt x="212" y="990"/>
                    <a:pt x="212" y="990"/>
                    <a:pt x="212" y="990"/>
                  </a:cubicBezTo>
                  <a:cubicBezTo>
                    <a:pt x="268" y="1005"/>
                    <a:pt x="268" y="1005"/>
                    <a:pt x="268" y="1005"/>
                  </a:cubicBezTo>
                  <a:cubicBezTo>
                    <a:pt x="304" y="1037"/>
                    <a:pt x="304" y="1037"/>
                    <a:pt x="304" y="1037"/>
                  </a:cubicBezTo>
                  <a:cubicBezTo>
                    <a:pt x="396" y="1050"/>
                    <a:pt x="396" y="1050"/>
                    <a:pt x="396" y="1050"/>
                  </a:cubicBezTo>
                  <a:cubicBezTo>
                    <a:pt x="476" y="1092"/>
                    <a:pt x="476" y="1092"/>
                    <a:pt x="476" y="1092"/>
                  </a:cubicBezTo>
                  <a:cubicBezTo>
                    <a:pt x="453" y="1129"/>
                    <a:pt x="478" y="1149"/>
                    <a:pt x="481" y="1188"/>
                  </a:cubicBezTo>
                  <a:cubicBezTo>
                    <a:pt x="487" y="1241"/>
                    <a:pt x="465" y="1289"/>
                    <a:pt x="484" y="1340"/>
                  </a:cubicBezTo>
                  <a:cubicBezTo>
                    <a:pt x="472" y="1351"/>
                    <a:pt x="485" y="1361"/>
                    <a:pt x="496" y="1368"/>
                  </a:cubicBezTo>
                  <a:cubicBezTo>
                    <a:pt x="470" y="1399"/>
                    <a:pt x="472" y="1401"/>
                    <a:pt x="468" y="1440"/>
                  </a:cubicBezTo>
                  <a:cubicBezTo>
                    <a:pt x="447" y="1437"/>
                    <a:pt x="423" y="1446"/>
                    <a:pt x="429" y="1472"/>
                  </a:cubicBezTo>
                  <a:cubicBezTo>
                    <a:pt x="433" y="1489"/>
                    <a:pt x="456" y="1487"/>
                    <a:pt x="459" y="1504"/>
                  </a:cubicBezTo>
                  <a:cubicBezTo>
                    <a:pt x="463" y="1519"/>
                    <a:pt x="449" y="1530"/>
                    <a:pt x="446" y="1544"/>
                  </a:cubicBezTo>
                  <a:cubicBezTo>
                    <a:pt x="443" y="1556"/>
                    <a:pt x="452" y="1569"/>
                    <a:pt x="456" y="1580"/>
                  </a:cubicBezTo>
                  <a:cubicBezTo>
                    <a:pt x="465" y="1600"/>
                    <a:pt x="493" y="1607"/>
                    <a:pt x="487" y="1632"/>
                  </a:cubicBezTo>
                  <a:cubicBezTo>
                    <a:pt x="481" y="1662"/>
                    <a:pt x="456" y="1709"/>
                    <a:pt x="434" y="1731"/>
                  </a:cubicBezTo>
                  <a:cubicBezTo>
                    <a:pt x="423" y="1742"/>
                    <a:pt x="405" y="1744"/>
                    <a:pt x="397" y="1757"/>
                  </a:cubicBezTo>
                  <a:cubicBezTo>
                    <a:pt x="386" y="1774"/>
                    <a:pt x="400" y="1790"/>
                    <a:pt x="396" y="1808"/>
                  </a:cubicBezTo>
                  <a:cubicBezTo>
                    <a:pt x="389" y="1840"/>
                    <a:pt x="363" y="1842"/>
                    <a:pt x="388" y="1876"/>
                  </a:cubicBezTo>
                  <a:cubicBezTo>
                    <a:pt x="306" y="1914"/>
                    <a:pt x="270" y="2031"/>
                    <a:pt x="184" y="2064"/>
                  </a:cubicBezTo>
                  <a:cubicBezTo>
                    <a:pt x="198" y="2108"/>
                    <a:pt x="220" y="2154"/>
                    <a:pt x="229" y="2200"/>
                  </a:cubicBezTo>
                  <a:cubicBezTo>
                    <a:pt x="233" y="2217"/>
                    <a:pt x="225" y="2235"/>
                    <a:pt x="231" y="2252"/>
                  </a:cubicBezTo>
                  <a:cubicBezTo>
                    <a:pt x="255" y="2315"/>
                    <a:pt x="302" y="2363"/>
                    <a:pt x="311" y="2432"/>
                  </a:cubicBezTo>
                  <a:cubicBezTo>
                    <a:pt x="316" y="2477"/>
                    <a:pt x="316" y="2535"/>
                    <a:pt x="311" y="2580"/>
                  </a:cubicBezTo>
                  <a:cubicBezTo>
                    <a:pt x="307" y="2606"/>
                    <a:pt x="296" y="2639"/>
                    <a:pt x="299" y="2664"/>
                  </a:cubicBezTo>
                  <a:cubicBezTo>
                    <a:pt x="301" y="2684"/>
                    <a:pt x="316" y="2713"/>
                    <a:pt x="322" y="2731"/>
                  </a:cubicBezTo>
                  <a:cubicBezTo>
                    <a:pt x="327" y="2743"/>
                    <a:pt x="319" y="2757"/>
                    <a:pt x="320" y="2770"/>
                  </a:cubicBezTo>
                  <a:cubicBezTo>
                    <a:pt x="322" y="2796"/>
                    <a:pt x="332" y="2819"/>
                    <a:pt x="332" y="2846"/>
                  </a:cubicBezTo>
                  <a:cubicBezTo>
                    <a:pt x="316" y="2846"/>
                    <a:pt x="316" y="2846"/>
                    <a:pt x="316" y="2846"/>
                  </a:cubicBezTo>
                  <a:cubicBezTo>
                    <a:pt x="339" y="2879"/>
                    <a:pt x="435" y="2862"/>
                    <a:pt x="472" y="2862"/>
                  </a:cubicBezTo>
                  <a:cubicBezTo>
                    <a:pt x="488" y="2702"/>
                    <a:pt x="488" y="2702"/>
                    <a:pt x="488" y="2702"/>
                  </a:cubicBezTo>
                  <a:cubicBezTo>
                    <a:pt x="415" y="2710"/>
                    <a:pt x="468" y="2612"/>
                    <a:pt x="500" y="2595"/>
                  </a:cubicBezTo>
                  <a:cubicBezTo>
                    <a:pt x="538" y="2575"/>
                    <a:pt x="578" y="2552"/>
                    <a:pt x="620" y="2539"/>
                  </a:cubicBezTo>
                  <a:cubicBezTo>
                    <a:pt x="746" y="2500"/>
                    <a:pt x="919" y="2469"/>
                    <a:pt x="932" y="2308"/>
                  </a:cubicBezTo>
                  <a:cubicBezTo>
                    <a:pt x="900" y="2324"/>
                    <a:pt x="900" y="2324"/>
                    <a:pt x="900" y="2324"/>
                  </a:cubicBezTo>
                  <a:cubicBezTo>
                    <a:pt x="900" y="2281"/>
                    <a:pt x="917" y="2191"/>
                    <a:pt x="948" y="2160"/>
                  </a:cubicBezTo>
                  <a:cubicBezTo>
                    <a:pt x="948" y="2156"/>
                    <a:pt x="948" y="2156"/>
                    <a:pt x="948" y="2156"/>
                  </a:cubicBezTo>
                  <a:cubicBezTo>
                    <a:pt x="928" y="2156"/>
                    <a:pt x="928" y="2156"/>
                    <a:pt x="928" y="2156"/>
                  </a:cubicBezTo>
                  <a:cubicBezTo>
                    <a:pt x="916" y="2116"/>
                    <a:pt x="916" y="2116"/>
                    <a:pt x="916" y="2116"/>
                  </a:cubicBezTo>
                  <a:cubicBezTo>
                    <a:pt x="946" y="2090"/>
                    <a:pt x="930" y="2043"/>
                    <a:pt x="924" y="2012"/>
                  </a:cubicBezTo>
                  <a:cubicBezTo>
                    <a:pt x="892" y="2023"/>
                    <a:pt x="904" y="2053"/>
                    <a:pt x="908" y="2080"/>
                  </a:cubicBezTo>
                  <a:cubicBezTo>
                    <a:pt x="885" y="2067"/>
                    <a:pt x="889" y="2036"/>
                    <a:pt x="900" y="2016"/>
                  </a:cubicBezTo>
                  <a:cubicBezTo>
                    <a:pt x="900" y="2012"/>
                    <a:pt x="900" y="2012"/>
                    <a:pt x="900" y="2012"/>
                  </a:cubicBezTo>
                  <a:cubicBezTo>
                    <a:pt x="886" y="1940"/>
                    <a:pt x="886" y="1940"/>
                    <a:pt x="886" y="1940"/>
                  </a:cubicBezTo>
                  <a:cubicBezTo>
                    <a:pt x="850" y="1868"/>
                    <a:pt x="850" y="1868"/>
                    <a:pt x="850" y="1868"/>
                  </a:cubicBezTo>
                  <a:cubicBezTo>
                    <a:pt x="857" y="1820"/>
                    <a:pt x="857" y="1820"/>
                    <a:pt x="857" y="1820"/>
                  </a:cubicBezTo>
                  <a:cubicBezTo>
                    <a:pt x="840" y="1772"/>
                    <a:pt x="840" y="1772"/>
                    <a:pt x="840" y="1772"/>
                  </a:cubicBezTo>
                  <a:cubicBezTo>
                    <a:pt x="787" y="1759"/>
                    <a:pt x="787" y="1732"/>
                    <a:pt x="793" y="1688"/>
                  </a:cubicBezTo>
                  <a:cubicBezTo>
                    <a:pt x="795" y="1673"/>
                    <a:pt x="790" y="1656"/>
                    <a:pt x="800" y="1644"/>
                  </a:cubicBezTo>
                  <a:cubicBezTo>
                    <a:pt x="796" y="1628"/>
                    <a:pt x="796" y="1628"/>
                    <a:pt x="796" y="1628"/>
                  </a:cubicBezTo>
                  <a:cubicBezTo>
                    <a:pt x="858" y="1642"/>
                    <a:pt x="921" y="1537"/>
                    <a:pt x="960" y="1501"/>
                  </a:cubicBezTo>
                  <a:cubicBezTo>
                    <a:pt x="979" y="1483"/>
                    <a:pt x="1004" y="1473"/>
                    <a:pt x="1024" y="1456"/>
                  </a:cubicBezTo>
                  <a:cubicBezTo>
                    <a:pt x="1028" y="1468"/>
                    <a:pt x="1028" y="1468"/>
                    <a:pt x="1028" y="1468"/>
                  </a:cubicBezTo>
                  <a:cubicBezTo>
                    <a:pt x="1061" y="1460"/>
                    <a:pt x="1076" y="1433"/>
                    <a:pt x="1097" y="1409"/>
                  </a:cubicBezTo>
                  <a:cubicBezTo>
                    <a:pt x="1134" y="1365"/>
                    <a:pt x="1175" y="1305"/>
                    <a:pt x="1220" y="1270"/>
                  </a:cubicBezTo>
                  <a:cubicBezTo>
                    <a:pt x="1286" y="1219"/>
                    <a:pt x="1374" y="1183"/>
                    <a:pt x="1452" y="1154"/>
                  </a:cubicBezTo>
                  <a:cubicBezTo>
                    <a:pt x="1481" y="1143"/>
                    <a:pt x="1520" y="1151"/>
                    <a:pt x="1546" y="1132"/>
                  </a:cubicBezTo>
                  <a:cubicBezTo>
                    <a:pt x="1560" y="1122"/>
                    <a:pt x="1565" y="1105"/>
                    <a:pt x="1580" y="1095"/>
                  </a:cubicBezTo>
                  <a:cubicBezTo>
                    <a:pt x="1611" y="1074"/>
                    <a:pt x="1701" y="1052"/>
                    <a:pt x="1688" y="1004"/>
                  </a:cubicBezTo>
                  <a:cubicBezTo>
                    <a:pt x="1696" y="996"/>
                    <a:pt x="1696" y="996"/>
                    <a:pt x="1696" y="996"/>
                  </a:cubicBezTo>
                  <a:cubicBezTo>
                    <a:pt x="1704" y="1000"/>
                    <a:pt x="1704" y="1000"/>
                    <a:pt x="1704" y="1000"/>
                  </a:cubicBezTo>
                  <a:cubicBezTo>
                    <a:pt x="1716" y="982"/>
                    <a:pt x="1723" y="962"/>
                    <a:pt x="1735" y="945"/>
                  </a:cubicBezTo>
                  <a:cubicBezTo>
                    <a:pt x="1752" y="919"/>
                    <a:pt x="1782" y="900"/>
                    <a:pt x="1801" y="875"/>
                  </a:cubicBezTo>
                  <a:cubicBezTo>
                    <a:pt x="1822" y="848"/>
                    <a:pt x="1831" y="809"/>
                    <a:pt x="1840" y="776"/>
                  </a:cubicBezTo>
                  <a:cubicBezTo>
                    <a:pt x="1848" y="749"/>
                    <a:pt x="1868" y="667"/>
                    <a:pt x="1816" y="688"/>
                  </a:cubicBezTo>
                  <a:cubicBezTo>
                    <a:pt x="1828" y="671"/>
                    <a:pt x="1832" y="660"/>
                    <a:pt x="1824" y="640"/>
                  </a:cubicBezTo>
                  <a:cubicBezTo>
                    <a:pt x="1800" y="648"/>
                    <a:pt x="1800" y="648"/>
                    <a:pt x="1800" y="648"/>
                  </a:cubicBezTo>
                  <a:cubicBezTo>
                    <a:pt x="1800" y="644"/>
                    <a:pt x="1800" y="644"/>
                    <a:pt x="1800" y="644"/>
                  </a:cubicBezTo>
                  <a:cubicBezTo>
                    <a:pt x="1839" y="618"/>
                    <a:pt x="1789" y="575"/>
                    <a:pt x="1808" y="540"/>
                  </a:cubicBezTo>
                  <a:cubicBezTo>
                    <a:pt x="1808" y="536"/>
                    <a:pt x="1808" y="536"/>
                    <a:pt x="1808" y="536"/>
                  </a:cubicBezTo>
                  <a:cubicBezTo>
                    <a:pt x="1801" y="524"/>
                    <a:pt x="1800" y="519"/>
                    <a:pt x="1808" y="508"/>
                  </a:cubicBezTo>
                  <a:cubicBezTo>
                    <a:pt x="1808" y="504"/>
                    <a:pt x="1808" y="504"/>
                    <a:pt x="1808" y="504"/>
                  </a:cubicBezTo>
                  <a:cubicBezTo>
                    <a:pt x="1795" y="484"/>
                    <a:pt x="1803" y="453"/>
                    <a:pt x="1812" y="432"/>
                  </a:cubicBezTo>
                  <a:cubicBezTo>
                    <a:pt x="1798" y="428"/>
                    <a:pt x="1791" y="428"/>
                    <a:pt x="1784" y="440"/>
                  </a:cubicBezTo>
                  <a:cubicBezTo>
                    <a:pt x="1780" y="440"/>
                    <a:pt x="1780" y="440"/>
                    <a:pt x="1780" y="440"/>
                  </a:cubicBezTo>
                  <a:cubicBezTo>
                    <a:pt x="1780" y="424"/>
                    <a:pt x="1780" y="424"/>
                    <a:pt x="1780" y="424"/>
                  </a:cubicBezTo>
                  <a:cubicBezTo>
                    <a:pt x="1820" y="400"/>
                    <a:pt x="1820" y="400"/>
                    <a:pt x="1820" y="400"/>
                  </a:cubicBezTo>
                  <a:cubicBezTo>
                    <a:pt x="1788" y="352"/>
                    <a:pt x="1788" y="352"/>
                    <a:pt x="1788" y="352"/>
                  </a:cubicBezTo>
                  <a:cubicBezTo>
                    <a:pt x="1809" y="302"/>
                    <a:pt x="1784" y="261"/>
                    <a:pt x="1779" y="212"/>
                  </a:cubicBezTo>
                  <a:cubicBezTo>
                    <a:pt x="1775" y="179"/>
                    <a:pt x="1785" y="142"/>
                    <a:pt x="1796" y="112"/>
                  </a:cubicBezTo>
                  <a:cubicBezTo>
                    <a:pt x="1804" y="92"/>
                    <a:pt x="1796" y="82"/>
                    <a:pt x="1816" y="68"/>
                  </a:cubicBezTo>
                  <a:cubicBezTo>
                    <a:pt x="1796" y="52"/>
                    <a:pt x="1796" y="52"/>
                    <a:pt x="1796" y="52"/>
                  </a:cubicBezTo>
                  <a:cubicBezTo>
                    <a:pt x="1806" y="37"/>
                    <a:pt x="1807" y="0"/>
                    <a:pt x="1780" y="0"/>
                  </a:cubicBezTo>
                  <a:cubicBezTo>
                    <a:pt x="1758" y="0"/>
                    <a:pt x="1725" y="35"/>
                    <a:pt x="1708" y="46"/>
                  </a:cubicBezTo>
                  <a:cubicBezTo>
                    <a:pt x="1670" y="72"/>
                    <a:pt x="1614" y="98"/>
                    <a:pt x="1572" y="113"/>
                  </a:cubicBezTo>
                  <a:cubicBezTo>
                    <a:pt x="1554" y="119"/>
                    <a:pt x="1534" y="110"/>
                    <a:pt x="1516" y="116"/>
                  </a:cubicBezTo>
                  <a:cubicBezTo>
                    <a:pt x="1490" y="124"/>
                    <a:pt x="1457" y="153"/>
                    <a:pt x="1432" y="153"/>
                  </a:cubicBezTo>
                  <a:cubicBezTo>
                    <a:pt x="1412" y="153"/>
                    <a:pt x="1391" y="138"/>
                    <a:pt x="1372" y="135"/>
                  </a:cubicBezTo>
                  <a:cubicBezTo>
                    <a:pt x="1356" y="132"/>
                    <a:pt x="1339" y="140"/>
                    <a:pt x="1324" y="14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" name="Freeform 39"/>
            <p:cNvSpPr/>
            <p:nvPr/>
          </p:nvSpPr>
          <p:spPr bwMode="auto">
            <a:xfrm>
              <a:off x="3867150" y="3357563"/>
              <a:ext cx="365125" cy="685800"/>
            </a:xfrm>
            <a:custGeom>
              <a:avLst/>
              <a:gdLst/>
              <a:ahLst/>
              <a:cxnLst>
                <a:cxn ang="0">
                  <a:pos x="1032" y="49"/>
                </a:cxn>
                <a:cxn ang="0">
                  <a:pos x="952" y="97"/>
                </a:cxn>
                <a:cxn ang="0">
                  <a:pos x="973" y="209"/>
                </a:cxn>
                <a:cxn ang="0">
                  <a:pos x="912" y="289"/>
                </a:cxn>
                <a:cxn ang="0">
                  <a:pos x="872" y="337"/>
                </a:cxn>
                <a:cxn ang="0">
                  <a:pos x="828" y="365"/>
                </a:cxn>
                <a:cxn ang="0">
                  <a:pos x="816" y="373"/>
                </a:cxn>
                <a:cxn ang="0">
                  <a:pos x="824" y="385"/>
                </a:cxn>
                <a:cxn ang="0">
                  <a:pos x="832" y="425"/>
                </a:cxn>
                <a:cxn ang="0">
                  <a:pos x="828" y="505"/>
                </a:cxn>
                <a:cxn ang="0">
                  <a:pos x="778" y="489"/>
                </a:cxn>
                <a:cxn ang="0">
                  <a:pos x="749" y="498"/>
                </a:cxn>
                <a:cxn ang="0">
                  <a:pos x="688" y="621"/>
                </a:cxn>
                <a:cxn ang="0">
                  <a:pos x="652" y="577"/>
                </a:cxn>
                <a:cxn ang="0">
                  <a:pos x="528" y="665"/>
                </a:cxn>
                <a:cxn ang="0">
                  <a:pos x="420" y="721"/>
                </a:cxn>
                <a:cxn ang="0">
                  <a:pos x="376" y="733"/>
                </a:cxn>
                <a:cxn ang="0">
                  <a:pos x="364" y="705"/>
                </a:cxn>
                <a:cxn ang="0">
                  <a:pos x="207" y="762"/>
                </a:cxn>
                <a:cxn ang="0">
                  <a:pos x="118" y="981"/>
                </a:cxn>
                <a:cxn ang="0">
                  <a:pos x="141" y="1137"/>
                </a:cxn>
                <a:cxn ang="0">
                  <a:pos x="175" y="1257"/>
                </a:cxn>
                <a:cxn ang="0">
                  <a:pos x="198" y="1369"/>
                </a:cxn>
                <a:cxn ang="0">
                  <a:pos x="164" y="1489"/>
                </a:cxn>
                <a:cxn ang="0">
                  <a:pos x="37" y="1692"/>
                </a:cxn>
                <a:cxn ang="0">
                  <a:pos x="24" y="1913"/>
                </a:cxn>
                <a:cxn ang="0">
                  <a:pos x="68" y="2061"/>
                </a:cxn>
                <a:cxn ang="0">
                  <a:pos x="114" y="2213"/>
                </a:cxn>
                <a:cxn ang="0">
                  <a:pos x="284" y="2347"/>
                </a:cxn>
                <a:cxn ang="0">
                  <a:pos x="540" y="2315"/>
                </a:cxn>
                <a:cxn ang="0">
                  <a:pos x="722" y="2165"/>
                </a:cxn>
                <a:cxn ang="0">
                  <a:pos x="815" y="1861"/>
                </a:cxn>
                <a:cxn ang="0">
                  <a:pos x="923" y="1537"/>
                </a:cxn>
                <a:cxn ang="0">
                  <a:pos x="1046" y="1193"/>
                </a:cxn>
                <a:cxn ang="0">
                  <a:pos x="1144" y="869"/>
                </a:cxn>
                <a:cxn ang="0">
                  <a:pos x="1155" y="758"/>
                </a:cxn>
                <a:cxn ang="0">
                  <a:pos x="1140" y="701"/>
                </a:cxn>
                <a:cxn ang="0">
                  <a:pos x="1156" y="633"/>
                </a:cxn>
                <a:cxn ang="0">
                  <a:pos x="1224" y="717"/>
                </a:cxn>
                <a:cxn ang="0">
                  <a:pos x="1272" y="593"/>
                </a:cxn>
                <a:cxn ang="0">
                  <a:pos x="1212" y="441"/>
                </a:cxn>
                <a:cxn ang="0">
                  <a:pos x="1208" y="405"/>
                </a:cxn>
                <a:cxn ang="0">
                  <a:pos x="1172" y="257"/>
                </a:cxn>
                <a:cxn ang="0">
                  <a:pos x="1108" y="133"/>
                </a:cxn>
                <a:cxn ang="0">
                  <a:pos x="1072" y="65"/>
                </a:cxn>
              </a:cxnLst>
              <a:rect l="0" t="0" r="r" b="b"/>
              <a:pathLst>
                <a:path w="1274" h="2400">
                  <a:moveTo>
                    <a:pt x="1020" y="45"/>
                  </a:moveTo>
                  <a:cubicBezTo>
                    <a:pt x="1032" y="49"/>
                    <a:pt x="1032" y="49"/>
                    <a:pt x="1032" y="49"/>
                  </a:cubicBezTo>
                  <a:cubicBezTo>
                    <a:pt x="992" y="105"/>
                    <a:pt x="992" y="105"/>
                    <a:pt x="992" y="105"/>
                  </a:cubicBezTo>
                  <a:cubicBezTo>
                    <a:pt x="952" y="97"/>
                    <a:pt x="952" y="97"/>
                    <a:pt x="952" y="97"/>
                  </a:cubicBezTo>
                  <a:cubicBezTo>
                    <a:pt x="963" y="121"/>
                    <a:pt x="984" y="133"/>
                    <a:pt x="989" y="161"/>
                  </a:cubicBezTo>
                  <a:cubicBezTo>
                    <a:pt x="992" y="180"/>
                    <a:pt x="979" y="192"/>
                    <a:pt x="973" y="209"/>
                  </a:cubicBezTo>
                  <a:cubicBezTo>
                    <a:pt x="956" y="251"/>
                    <a:pt x="968" y="273"/>
                    <a:pt x="912" y="273"/>
                  </a:cubicBezTo>
                  <a:cubicBezTo>
                    <a:pt x="912" y="289"/>
                    <a:pt x="912" y="289"/>
                    <a:pt x="912" y="289"/>
                  </a:cubicBezTo>
                  <a:cubicBezTo>
                    <a:pt x="884" y="289"/>
                    <a:pt x="884" y="289"/>
                    <a:pt x="884" y="289"/>
                  </a:cubicBezTo>
                  <a:cubicBezTo>
                    <a:pt x="886" y="309"/>
                    <a:pt x="885" y="320"/>
                    <a:pt x="872" y="337"/>
                  </a:cubicBezTo>
                  <a:cubicBezTo>
                    <a:pt x="844" y="285"/>
                    <a:pt x="844" y="285"/>
                    <a:pt x="844" y="285"/>
                  </a:cubicBezTo>
                  <a:cubicBezTo>
                    <a:pt x="810" y="296"/>
                    <a:pt x="782" y="348"/>
                    <a:pt x="828" y="365"/>
                  </a:cubicBezTo>
                  <a:cubicBezTo>
                    <a:pt x="828" y="369"/>
                    <a:pt x="828" y="369"/>
                    <a:pt x="828" y="369"/>
                  </a:cubicBezTo>
                  <a:cubicBezTo>
                    <a:pt x="816" y="373"/>
                    <a:pt x="816" y="373"/>
                    <a:pt x="816" y="373"/>
                  </a:cubicBezTo>
                  <a:cubicBezTo>
                    <a:pt x="824" y="381"/>
                    <a:pt x="824" y="381"/>
                    <a:pt x="824" y="381"/>
                  </a:cubicBezTo>
                  <a:cubicBezTo>
                    <a:pt x="824" y="385"/>
                    <a:pt x="824" y="385"/>
                    <a:pt x="824" y="385"/>
                  </a:cubicBezTo>
                  <a:cubicBezTo>
                    <a:pt x="808" y="389"/>
                    <a:pt x="808" y="389"/>
                    <a:pt x="808" y="389"/>
                  </a:cubicBezTo>
                  <a:cubicBezTo>
                    <a:pt x="832" y="425"/>
                    <a:pt x="832" y="425"/>
                    <a:pt x="832" y="425"/>
                  </a:cubicBezTo>
                  <a:cubicBezTo>
                    <a:pt x="804" y="414"/>
                    <a:pt x="744" y="425"/>
                    <a:pt x="780" y="467"/>
                  </a:cubicBezTo>
                  <a:cubicBezTo>
                    <a:pt x="797" y="487"/>
                    <a:pt x="825" y="468"/>
                    <a:pt x="828" y="505"/>
                  </a:cubicBezTo>
                  <a:cubicBezTo>
                    <a:pt x="824" y="505"/>
                    <a:pt x="824" y="505"/>
                    <a:pt x="824" y="505"/>
                  </a:cubicBezTo>
                  <a:cubicBezTo>
                    <a:pt x="820" y="485"/>
                    <a:pt x="795" y="475"/>
                    <a:pt x="778" y="489"/>
                  </a:cubicBezTo>
                  <a:cubicBezTo>
                    <a:pt x="758" y="504"/>
                    <a:pt x="752" y="537"/>
                    <a:pt x="736" y="557"/>
                  </a:cubicBezTo>
                  <a:cubicBezTo>
                    <a:pt x="738" y="539"/>
                    <a:pt x="758" y="517"/>
                    <a:pt x="749" y="498"/>
                  </a:cubicBezTo>
                  <a:cubicBezTo>
                    <a:pt x="740" y="480"/>
                    <a:pt x="717" y="499"/>
                    <a:pt x="711" y="509"/>
                  </a:cubicBezTo>
                  <a:cubicBezTo>
                    <a:pt x="683" y="552"/>
                    <a:pt x="656" y="572"/>
                    <a:pt x="688" y="621"/>
                  </a:cubicBezTo>
                  <a:cubicBezTo>
                    <a:pt x="656" y="633"/>
                    <a:pt x="656" y="633"/>
                    <a:pt x="656" y="633"/>
                  </a:cubicBezTo>
                  <a:cubicBezTo>
                    <a:pt x="667" y="608"/>
                    <a:pt x="659" y="602"/>
                    <a:pt x="652" y="577"/>
                  </a:cubicBezTo>
                  <a:cubicBezTo>
                    <a:pt x="593" y="595"/>
                    <a:pt x="503" y="653"/>
                    <a:pt x="564" y="713"/>
                  </a:cubicBezTo>
                  <a:cubicBezTo>
                    <a:pt x="537" y="711"/>
                    <a:pt x="529" y="689"/>
                    <a:pt x="528" y="665"/>
                  </a:cubicBezTo>
                  <a:cubicBezTo>
                    <a:pt x="508" y="665"/>
                    <a:pt x="497" y="668"/>
                    <a:pt x="496" y="689"/>
                  </a:cubicBezTo>
                  <a:cubicBezTo>
                    <a:pt x="463" y="680"/>
                    <a:pt x="415" y="671"/>
                    <a:pt x="420" y="721"/>
                  </a:cubicBezTo>
                  <a:cubicBezTo>
                    <a:pt x="376" y="709"/>
                    <a:pt x="376" y="709"/>
                    <a:pt x="376" y="709"/>
                  </a:cubicBezTo>
                  <a:cubicBezTo>
                    <a:pt x="376" y="733"/>
                    <a:pt x="376" y="733"/>
                    <a:pt x="376" y="733"/>
                  </a:cubicBezTo>
                  <a:cubicBezTo>
                    <a:pt x="368" y="733"/>
                    <a:pt x="368" y="733"/>
                    <a:pt x="368" y="733"/>
                  </a:cubicBezTo>
                  <a:cubicBezTo>
                    <a:pt x="364" y="705"/>
                    <a:pt x="364" y="705"/>
                    <a:pt x="364" y="705"/>
                  </a:cubicBezTo>
                  <a:cubicBezTo>
                    <a:pt x="333" y="712"/>
                    <a:pt x="320" y="741"/>
                    <a:pt x="292" y="748"/>
                  </a:cubicBezTo>
                  <a:cubicBezTo>
                    <a:pt x="268" y="755"/>
                    <a:pt x="221" y="736"/>
                    <a:pt x="207" y="762"/>
                  </a:cubicBezTo>
                  <a:cubicBezTo>
                    <a:pt x="190" y="790"/>
                    <a:pt x="216" y="820"/>
                    <a:pt x="195" y="853"/>
                  </a:cubicBezTo>
                  <a:cubicBezTo>
                    <a:pt x="175" y="884"/>
                    <a:pt x="118" y="945"/>
                    <a:pt x="118" y="981"/>
                  </a:cubicBezTo>
                  <a:cubicBezTo>
                    <a:pt x="118" y="1000"/>
                    <a:pt x="132" y="1012"/>
                    <a:pt x="135" y="1029"/>
                  </a:cubicBezTo>
                  <a:cubicBezTo>
                    <a:pt x="141" y="1063"/>
                    <a:pt x="133" y="1102"/>
                    <a:pt x="141" y="1137"/>
                  </a:cubicBezTo>
                  <a:cubicBezTo>
                    <a:pt x="146" y="1159"/>
                    <a:pt x="165" y="1175"/>
                    <a:pt x="172" y="1197"/>
                  </a:cubicBezTo>
                  <a:cubicBezTo>
                    <a:pt x="178" y="1217"/>
                    <a:pt x="168" y="1237"/>
                    <a:pt x="175" y="1257"/>
                  </a:cubicBezTo>
                  <a:cubicBezTo>
                    <a:pt x="182" y="1280"/>
                    <a:pt x="205" y="1294"/>
                    <a:pt x="212" y="1317"/>
                  </a:cubicBezTo>
                  <a:cubicBezTo>
                    <a:pt x="216" y="1333"/>
                    <a:pt x="198" y="1351"/>
                    <a:pt x="198" y="1369"/>
                  </a:cubicBezTo>
                  <a:cubicBezTo>
                    <a:pt x="198" y="1384"/>
                    <a:pt x="212" y="1396"/>
                    <a:pt x="220" y="1409"/>
                  </a:cubicBezTo>
                  <a:cubicBezTo>
                    <a:pt x="193" y="1426"/>
                    <a:pt x="179" y="1462"/>
                    <a:pt x="164" y="1489"/>
                  </a:cubicBezTo>
                  <a:cubicBezTo>
                    <a:pt x="137" y="1538"/>
                    <a:pt x="109" y="1572"/>
                    <a:pt x="100" y="1629"/>
                  </a:cubicBezTo>
                  <a:cubicBezTo>
                    <a:pt x="44" y="1629"/>
                    <a:pt x="54" y="1652"/>
                    <a:pt x="37" y="1692"/>
                  </a:cubicBezTo>
                  <a:cubicBezTo>
                    <a:pt x="20" y="1736"/>
                    <a:pt x="0" y="1758"/>
                    <a:pt x="2" y="1809"/>
                  </a:cubicBezTo>
                  <a:cubicBezTo>
                    <a:pt x="3" y="1837"/>
                    <a:pt x="12" y="1888"/>
                    <a:pt x="24" y="1913"/>
                  </a:cubicBezTo>
                  <a:cubicBezTo>
                    <a:pt x="43" y="1949"/>
                    <a:pt x="76" y="1977"/>
                    <a:pt x="86" y="2017"/>
                  </a:cubicBezTo>
                  <a:cubicBezTo>
                    <a:pt x="90" y="2033"/>
                    <a:pt x="67" y="2043"/>
                    <a:pt x="68" y="2061"/>
                  </a:cubicBezTo>
                  <a:cubicBezTo>
                    <a:pt x="71" y="2092"/>
                    <a:pt x="68" y="2145"/>
                    <a:pt x="80" y="2173"/>
                  </a:cubicBezTo>
                  <a:cubicBezTo>
                    <a:pt x="87" y="2190"/>
                    <a:pt x="107" y="2196"/>
                    <a:pt x="114" y="2213"/>
                  </a:cubicBezTo>
                  <a:cubicBezTo>
                    <a:pt x="136" y="2262"/>
                    <a:pt x="134" y="2284"/>
                    <a:pt x="188" y="2305"/>
                  </a:cubicBezTo>
                  <a:cubicBezTo>
                    <a:pt x="188" y="2345"/>
                    <a:pt x="257" y="2333"/>
                    <a:pt x="284" y="2347"/>
                  </a:cubicBezTo>
                  <a:cubicBezTo>
                    <a:pt x="304" y="2357"/>
                    <a:pt x="322" y="2378"/>
                    <a:pt x="344" y="2383"/>
                  </a:cubicBezTo>
                  <a:cubicBezTo>
                    <a:pt x="417" y="2400"/>
                    <a:pt x="472" y="2333"/>
                    <a:pt x="540" y="2315"/>
                  </a:cubicBezTo>
                  <a:cubicBezTo>
                    <a:pt x="586" y="2304"/>
                    <a:pt x="642" y="2319"/>
                    <a:pt x="680" y="2275"/>
                  </a:cubicBezTo>
                  <a:cubicBezTo>
                    <a:pt x="702" y="2249"/>
                    <a:pt x="710" y="2196"/>
                    <a:pt x="722" y="2165"/>
                  </a:cubicBezTo>
                  <a:cubicBezTo>
                    <a:pt x="733" y="2138"/>
                    <a:pt x="751" y="2113"/>
                    <a:pt x="760" y="2085"/>
                  </a:cubicBezTo>
                  <a:cubicBezTo>
                    <a:pt x="785" y="2013"/>
                    <a:pt x="797" y="1934"/>
                    <a:pt x="815" y="1861"/>
                  </a:cubicBezTo>
                  <a:cubicBezTo>
                    <a:pt x="835" y="1781"/>
                    <a:pt x="881" y="1708"/>
                    <a:pt x="905" y="1629"/>
                  </a:cubicBezTo>
                  <a:cubicBezTo>
                    <a:pt x="914" y="1599"/>
                    <a:pt x="915" y="1567"/>
                    <a:pt x="923" y="1537"/>
                  </a:cubicBezTo>
                  <a:cubicBezTo>
                    <a:pt x="935" y="1495"/>
                    <a:pt x="958" y="1458"/>
                    <a:pt x="972" y="1417"/>
                  </a:cubicBezTo>
                  <a:cubicBezTo>
                    <a:pt x="999" y="1343"/>
                    <a:pt x="1016" y="1266"/>
                    <a:pt x="1046" y="1193"/>
                  </a:cubicBezTo>
                  <a:cubicBezTo>
                    <a:pt x="1067" y="1142"/>
                    <a:pt x="1095" y="1076"/>
                    <a:pt x="1098" y="1021"/>
                  </a:cubicBezTo>
                  <a:cubicBezTo>
                    <a:pt x="1101" y="969"/>
                    <a:pt x="1067" y="887"/>
                    <a:pt x="1144" y="869"/>
                  </a:cubicBezTo>
                  <a:cubicBezTo>
                    <a:pt x="1138" y="842"/>
                    <a:pt x="1157" y="830"/>
                    <a:pt x="1159" y="805"/>
                  </a:cubicBezTo>
                  <a:cubicBezTo>
                    <a:pt x="1160" y="793"/>
                    <a:pt x="1160" y="768"/>
                    <a:pt x="1155" y="758"/>
                  </a:cubicBezTo>
                  <a:cubicBezTo>
                    <a:pt x="1143" y="733"/>
                    <a:pt x="1120" y="736"/>
                    <a:pt x="1140" y="705"/>
                  </a:cubicBezTo>
                  <a:cubicBezTo>
                    <a:pt x="1140" y="701"/>
                    <a:pt x="1140" y="701"/>
                    <a:pt x="1140" y="701"/>
                  </a:cubicBezTo>
                  <a:cubicBezTo>
                    <a:pt x="1125" y="683"/>
                    <a:pt x="1103" y="642"/>
                    <a:pt x="1136" y="625"/>
                  </a:cubicBezTo>
                  <a:cubicBezTo>
                    <a:pt x="1143" y="622"/>
                    <a:pt x="1152" y="627"/>
                    <a:pt x="1156" y="633"/>
                  </a:cubicBezTo>
                  <a:cubicBezTo>
                    <a:pt x="1170" y="659"/>
                    <a:pt x="1165" y="689"/>
                    <a:pt x="1192" y="709"/>
                  </a:cubicBezTo>
                  <a:cubicBezTo>
                    <a:pt x="1201" y="716"/>
                    <a:pt x="1212" y="730"/>
                    <a:pt x="1224" y="717"/>
                  </a:cubicBezTo>
                  <a:cubicBezTo>
                    <a:pt x="1244" y="695"/>
                    <a:pt x="1252" y="654"/>
                    <a:pt x="1260" y="625"/>
                  </a:cubicBezTo>
                  <a:cubicBezTo>
                    <a:pt x="1262" y="615"/>
                    <a:pt x="1274" y="604"/>
                    <a:pt x="1272" y="593"/>
                  </a:cubicBezTo>
                  <a:cubicBezTo>
                    <a:pt x="1264" y="563"/>
                    <a:pt x="1227" y="542"/>
                    <a:pt x="1216" y="509"/>
                  </a:cubicBezTo>
                  <a:cubicBezTo>
                    <a:pt x="1211" y="496"/>
                    <a:pt x="1210" y="448"/>
                    <a:pt x="1212" y="441"/>
                  </a:cubicBezTo>
                  <a:cubicBezTo>
                    <a:pt x="1212" y="439"/>
                    <a:pt x="1226" y="433"/>
                    <a:pt x="1224" y="425"/>
                  </a:cubicBezTo>
                  <a:cubicBezTo>
                    <a:pt x="1221" y="418"/>
                    <a:pt x="1208" y="413"/>
                    <a:pt x="1208" y="405"/>
                  </a:cubicBezTo>
                  <a:cubicBezTo>
                    <a:pt x="1206" y="387"/>
                    <a:pt x="1217" y="362"/>
                    <a:pt x="1212" y="341"/>
                  </a:cubicBezTo>
                  <a:cubicBezTo>
                    <a:pt x="1204" y="310"/>
                    <a:pt x="1184" y="286"/>
                    <a:pt x="1172" y="257"/>
                  </a:cubicBezTo>
                  <a:cubicBezTo>
                    <a:pt x="1164" y="239"/>
                    <a:pt x="1178" y="223"/>
                    <a:pt x="1172" y="205"/>
                  </a:cubicBezTo>
                  <a:cubicBezTo>
                    <a:pt x="1164" y="183"/>
                    <a:pt x="1117" y="135"/>
                    <a:pt x="1108" y="133"/>
                  </a:cubicBezTo>
                  <a:cubicBezTo>
                    <a:pt x="1126" y="80"/>
                    <a:pt x="1055" y="87"/>
                    <a:pt x="1052" y="57"/>
                  </a:cubicBezTo>
                  <a:cubicBezTo>
                    <a:pt x="1072" y="65"/>
                    <a:pt x="1072" y="65"/>
                    <a:pt x="1072" y="65"/>
                  </a:cubicBezTo>
                  <a:cubicBezTo>
                    <a:pt x="1065" y="22"/>
                    <a:pt x="1049" y="0"/>
                    <a:pt x="1020" y="4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" name="Freeform 40"/>
            <p:cNvSpPr/>
            <p:nvPr/>
          </p:nvSpPr>
          <p:spPr bwMode="auto">
            <a:xfrm>
              <a:off x="4110038" y="3424238"/>
              <a:ext cx="14288" cy="15875"/>
            </a:xfrm>
            <a:custGeom>
              <a:avLst/>
              <a:gdLst/>
              <a:ahLst/>
              <a:cxnLst>
                <a:cxn ang="0">
                  <a:pos x="51" y="44"/>
                </a:cxn>
                <a:cxn ang="0">
                  <a:pos x="39" y="0"/>
                </a:cxn>
                <a:cxn ang="0">
                  <a:pos x="51" y="44"/>
                </a:cxn>
              </a:cxnLst>
              <a:rect l="0" t="0" r="r" b="b"/>
              <a:pathLst>
                <a:path w="51" h="56">
                  <a:moveTo>
                    <a:pt x="51" y="44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0" y="13"/>
                    <a:pt x="9" y="56"/>
                    <a:pt x="51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" name="Freeform 41"/>
            <p:cNvSpPr/>
            <p:nvPr/>
          </p:nvSpPr>
          <p:spPr bwMode="auto">
            <a:xfrm>
              <a:off x="4192588" y="3598863"/>
              <a:ext cx="12700" cy="20638"/>
            </a:xfrm>
            <a:custGeom>
              <a:avLst/>
              <a:gdLst/>
              <a:ahLst/>
              <a:cxnLst>
                <a:cxn ang="0">
                  <a:pos x="6" y="68"/>
                </a:cxn>
                <a:cxn ang="0">
                  <a:pos x="46" y="0"/>
                </a:cxn>
                <a:cxn ang="0">
                  <a:pos x="6" y="68"/>
                </a:cxn>
              </a:cxnLst>
              <a:rect l="0" t="0" r="r" b="b"/>
              <a:pathLst>
                <a:path w="46" h="68">
                  <a:moveTo>
                    <a:pt x="6" y="68"/>
                  </a:moveTo>
                  <a:cubicBezTo>
                    <a:pt x="30" y="56"/>
                    <a:pt x="39" y="24"/>
                    <a:pt x="46" y="0"/>
                  </a:cubicBezTo>
                  <a:cubicBezTo>
                    <a:pt x="19" y="10"/>
                    <a:pt x="0" y="39"/>
                    <a:pt x="6" y="6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" name="Freeform 42"/>
            <p:cNvSpPr/>
            <p:nvPr/>
          </p:nvSpPr>
          <p:spPr bwMode="auto">
            <a:xfrm>
              <a:off x="2324100" y="2984500"/>
              <a:ext cx="57150" cy="79375"/>
            </a:xfrm>
            <a:custGeom>
              <a:avLst/>
              <a:gdLst/>
              <a:ahLst/>
              <a:cxnLst>
                <a:cxn ang="0">
                  <a:pos x="108" y="66"/>
                </a:cxn>
                <a:cxn ang="0">
                  <a:pos x="60" y="74"/>
                </a:cxn>
                <a:cxn ang="0">
                  <a:pos x="32" y="98"/>
                </a:cxn>
                <a:cxn ang="0">
                  <a:pos x="1" y="154"/>
                </a:cxn>
                <a:cxn ang="0">
                  <a:pos x="29" y="218"/>
                </a:cxn>
                <a:cxn ang="0">
                  <a:pos x="29" y="271"/>
                </a:cxn>
                <a:cxn ang="0">
                  <a:pos x="92" y="274"/>
                </a:cxn>
                <a:cxn ang="0">
                  <a:pos x="96" y="154"/>
                </a:cxn>
                <a:cxn ang="0">
                  <a:pos x="145" y="105"/>
                </a:cxn>
                <a:cxn ang="0">
                  <a:pos x="190" y="86"/>
                </a:cxn>
                <a:cxn ang="0">
                  <a:pos x="196" y="66"/>
                </a:cxn>
                <a:cxn ang="0">
                  <a:pos x="108" y="66"/>
                </a:cxn>
              </a:cxnLst>
              <a:rect l="0" t="0" r="r" b="b"/>
              <a:pathLst>
                <a:path w="196" h="282">
                  <a:moveTo>
                    <a:pt x="108" y="66"/>
                  </a:moveTo>
                  <a:cubicBezTo>
                    <a:pt x="60" y="74"/>
                    <a:pt x="60" y="74"/>
                    <a:pt x="60" y="74"/>
                  </a:cubicBezTo>
                  <a:cubicBezTo>
                    <a:pt x="60" y="94"/>
                    <a:pt x="52" y="100"/>
                    <a:pt x="32" y="98"/>
                  </a:cubicBezTo>
                  <a:cubicBezTo>
                    <a:pt x="25" y="113"/>
                    <a:pt x="0" y="139"/>
                    <a:pt x="1" y="154"/>
                  </a:cubicBezTo>
                  <a:cubicBezTo>
                    <a:pt x="2" y="177"/>
                    <a:pt x="27" y="194"/>
                    <a:pt x="29" y="218"/>
                  </a:cubicBezTo>
                  <a:cubicBezTo>
                    <a:pt x="31" y="235"/>
                    <a:pt x="10" y="256"/>
                    <a:pt x="29" y="271"/>
                  </a:cubicBezTo>
                  <a:cubicBezTo>
                    <a:pt x="43" y="282"/>
                    <a:pt x="76" y="274"/>
                    <a:pt x="92" y="274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145" y="105"/>
                    <a:pt x="145" y="105"/>
                    <a:pt x="145" y="105"/>
                  </a:cubicBezTo>
                  <a:cubicBezTo>
                    <a:pt x="190" y="86"/>
                    <a:pt x="190" y="86"/>
                    <a:pt x="190" y="86"/>
                  </a:cubicBezTo>
                  <a:cubicBezTo>
                    <a:pt x="196" y="66"/>
                    <a:pt x="196" y="66"/>
                    <a:pt x="196" y="66"/>
                  </a:cubicBezTo>
                  <a:cubicBezTo>
                    <a:pt x="165" y="65"/>
                    <a:pt x="127" y="0"/>
                    <a:pt x="108" y="6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" name="Freeform 43"/>
            <p:cNvSpPr>
              <a:spLocks noEditPoints="1"/>
            </p:cNvSpPr>
            <p:nvPr/>
          </p:nvSpPr>
          <p:spPr bwMode="auto">
            <a:xfrm>
              <a:off x="2268538" y="2586038"/>
              <a:ext cx="388938" cy="460375"/>
            </a:xfrm>
            <a:custGeom>
              <a:avLst/>
              <a:gdLst/>
              <a:ahLst/>
              <a:cxnLst>
                <a:cxn ang="0">
                  <a:pos x="860" y="332"/>
                </a:cxn>
                <a:cxn ang="0">
                  <a:pos x="740" y="318"/>
                </a:cxn>
                <a:cxn ang="0">
                  <a:pos x="508" y="286"/>
                </a:cxn>
                <a:cxn ang="0">
                  <a:pos x="416" y="434"/>
                </a:cxn>
                <a:cxn ang="0">
                  <a:pos x="589" y="436"/>
                </a:cxn>
                <a:cxn ang="0">
                  <a:pos x="623" y="522"/>
                </a:cxn>
                <a:cxn ang="0">
                  <a:pos x="533" y="666"/>
                </a:cxn>
                <a:cxn ang="0">
                  <a:pos x="582" y="741"/>
                </a:cxn>
                <a:cxn ang="0">
                  <a:pos x="619" y="834"/>
                </a:cxn>
                <a:cxn ang="0">
                  <a:pos x="620" y="994"/>
                </a:cxn>
                <a:cxn ang="0">
                  <a:pos x="511" y="1030"/>
                </a:cxn>
                <a:cxn ang="0">
                  <a:pos x="367" y="1033"/>
                </a:cxn>
                <a:cxn ang="0">
                  <a:pos x="272" y="990"/>
                </a:cxn>
                <a:cxn ang="0">
                  <a:pos x="244" y="1072"/>
                </a:cxn>
                <a:cxn ang="0">
                  <a:pos x="134" y="1118"/>
                </a:cxn>
                <a:cxn ang="0">
                  <a:pos x="160" y="1190"/>
                </a:cxn>
                <a:cxn ang="0">
                  <a:pos x="192" y="1234"/>
                </a:cxn>
                <a:cxn ang="0">
                  <a:pos x="184" y="1290"/>
                </a:cxn>
                <a:cxn ang="0">
                  <a:pos x="112" y="1271"/>
                </a:cxn>
                <a:cxn ang="0">
                  <a:pos x="151" y="1450"/>
                </a:cxn>
                <a:cxn ang="0">
                  <a:pos x="200" y="1542"/>
                </a:cxn>
                <a:cxn ang="0">
                  <a:pos x="356" y="1426"/>
                </a:cxn>
                <a:cxn ang="0">
                  <a:pos x="400" y="1470"/>
                </a:cxn>
                <a:cxn ang="0">
                  <a:pos x="508" y="1434"/>
                </a:cxn>
                <a:cxn ang="0">
                  <a:pos x="620" y="1423"/>
                </a:cxn>
                <a:cxn ang="0">
                  <a:pos x="620" y="1514"/>
                </a:cxn>
                <a:cxn ang="0">
                  <a:pos x="760" y="1438"/>
                </a:cxn>
                <a:cxn ang="0">
                  <a:pos x="836" y="1364"/>
                </a:cxn>
                <a:cxn ang="0">
                  <a:pos x="940" y="1242"/>
                </a:cxn>
                <a:cxn ang="0">
                  <a:pos x="948" y="1102"/>
                </a:cxn>
                <a:cxn ang="0">
                  <a:pos x="1006" y="962"/>
                </a:cxn>
                <a:cxn ang="0">
                  <a:pos x="1130" y="840"/>
                </a:cxn>
                <a:cxn ang="0">
                  <a:pos x="1201" y="690"/>
                </a:cxn>
                <a:cxn ang="0">
                  <a:pos x="1230" y="486"/>
                </a:cxn>
                <a:cxn ang="0">
                  <a:pos x="1269" y="274"/>
                </a:cxn>
                <a:cxn ang="0">
                  <a:pos x="1359" y="98"/>
                </a:cxn>
                <a:cxn ang="0">
                  <a:pos x="1232" y="43"/>
                </a:cxn>
                <a:cxn ang="0">
                  <a:pos x="1080" y="44"/>
                </a:cxn>
                <a:cxn ang="0">
                  <a:pos x="968" y="190"/>
                </a:cxn>
                <a:cxn ang="0">
                  <a:pos x="236" y="1610"/>
                </a:cxn>
                <a:cxn ang="0">
                  <a:pos x="236" y="1610"/>
                </a:cxn>
              </a:cxnLst>
              <a:rect l="0" t="0" r="r" b="b"/>
              <a:pathLst>
                <a:path w="1364" h="1614">
                  <a:moveTo>
                    <a:pt x="920" y="366"/>
                  </a:moveTo>
                  <a:cubicBezTo>
                    <a:pt x="896" y="364"/>
                    <a:pt x="881" y="342"/>
                    <a:pt x="860" y="332"/>
                  </a:cubicBezTo>
                  <a:cubicBezTo>
                    <a:pt x="838" y="322"/>
                    <a:pt x="811" y="321"/>
                    <a:pt x="788" y="317"/>
                  </a:cubicBezTo>
                  <a:cubicBezTo>
                    <a:pt x="770" y="315"/>
                    <a:pt x="753" y="298"/>
                    <a:pt x="740" y="318"/>
                  </a:cubicBezTo>
                  <a:cubicBezTo>
                    <a:pt x="713" y="311"/>
                    <a:pt x="687" y="292"/>
                    <a:pt x="660" y="287"/>
                  </a:cubicBezTo>
                  <a:cubicBezTo>
                    <a:pt x="613" y="279"/>
                    <a:pt x="556" y="286"/>
                    <a:pt x="508" y="286"/>
                  </a:cubicBezTo>
                  <a:cubicBezTo>
                    <a:pt x="488" y="286"/>
                    <a:pt x="442" y="277"/>
                    <a:pt x="426" y="290"/>
                  </a:cubicBezTo>
                  <a:cubicBezTo>
                    <a:pt x="379" y="329"/>
                    <a:pt x="404" y="390"/>
                    <a:pt x="416" y="434"/>
                  </a:cubicBezTo>
                  <a:cubicBezTo>
                    <a:pt x="384" y="452"/>
                    <a:pt x="422" y="455"/>
                    <a:pt x="440" y="450"/>
                  </a:cubicBezTo>
                  <a:cubicBezTo>
                    <a:pt x="477" y="439"/>
                    <a:pt x="555" y="398"/>
                    <a:pt x="589" y="436"/>
                  </a:cubicBezTo>
                  <a:cubicBezTo>
                    <a:pt x="599" y="447"/>
                    <a:pt x="597" y="465"/>
                    <a:pt x="604" y="478"/>
                  </a:cubicBezTo>
                  <a:cubicBezTo>
                    <a:pt x="611" y="492"/>
                    <a:pt x="628" y="504"/>
                    <a:pt x="623" y="522"/>
                  </a:cubicBezTo>
                  <a:cubicBezTo>
                    <a:pt x="612" y="560"/>
                    <a:pt x="582" y="553"/>
                    <a:pt x="558" y="573"/>
                  </a:cubicBezTo>
                  <a:cubicBezTo>
                    <a:pt x="522" y="604"/>
                    <a:pt x="539" y="629"/>
                    <a:pt x="533" y="666"/>
                  </a:cubicBezTo>
                  <a:cubicBezTo>
                    <a:pt x="529" y="687"/>
                    <a:pt x="518" y="691"/>
                    <a:pt x="528" y="714"/>
                  </a:cubicBezTo>
                  <a:cubicBezTo>
                    <a:pt x="564" y="709"/>
                    <a:pt x="556" y="726"/>
                    <a:pt x="582" y="741"/>
                  </a:cubicBezTo>
                  <a:cubicBezTo>
                    <a:pt x="597" y="751"/>
                    <a:pt x="614" y="744"/>
                    <a:pt x="626" y="762"/>
                  </a:cubicBezTo>
                  <a:cubicBezTo>
                    <a:pt x="640" y="783"/>
                    <a:pt x="619" y="812"/>
                    <a:pt x="619" y="834"/>
                  </a:cubicBezTo>
                  <a:cubicBezTo>
                    <a:pt x="618" y="859"/>
                    <a:pt x="630" y="883"/>
                    <a:pt x="628" y="910"/>
                  </a:cubicBezTo>
                  <a:cubicBezTo>
                    <a:pt x="625" y="940"/>
                    <a:pt x="610" y="962"/>
                    <a:pt x="620" y="994"/>
                  </a:cubicBezTo>
                  <a:cubicBezTo>
                    <a:pt x="565" y="1000"/>
                    <a:pt x="605" y="1092"/>
                    <a:pt x="532" y="1094"/>
                  </a:cubicBezTo>
                  <a:cubicBezTo>
                    <a:pt x="531" y="1079"/>
                    <a:pt x="531" y="1033"/>
                    <a:pt x="511" y="1030"/>
                  </a:cubicBezTo>
                  <a:cubicBezTo>
                    <a:pt x="486" y="1025"/>
                    <a:pt x="473" y="1086"/>
                    <a:pt x="440" y="1079"/>
                  </a:cubicBezTo>
                  <a:cubicBezTo>
                    <a:pt x="408" y="1072"/>
                    <a:pt x="387" y="1059"/>
                    <a:pt x="367" y="1033"/>
                  </a:cubicBezTo>
                  <a:cubicBezTo>
                    <a:pt x="351" y="1011"/>
                    <a:pt x="349" y="981"/>
                    <a:pt x="316" y="976"/>
                  </a:cubicBezTo>
                  <a:cubicBezTo>
                    <a:pt x="301" y="974"/>
                    <a:pt x="286" y="987"/>
                    <a:pt x="272" y="990"/>
                  </a:cubicBezTo>
                  <a:cubicBezTo>
                    <a:pt x="275" y="1006"/>
                    <a:pt x="287" y="1030"/>
                    <a:pt x="284" y="1046"/>
                  </a:cubicBezTo>
                  <a:cubicBezTo>
                    <a:pt x="281" y="1064"/>
                    <a:pt x="259" y="1068"/>
                    <a:pt x="244" y="1072"/>
                  </a:cubicBezTo>
                  <a:cubicBezTo>
                    <a:pt x="206" y="1080"/>
                    <a:pt x="163" y="1062"/>
                    <a:pt x="124" y="1070"/>
                  </a:cubicBezTo>
                  <a:cubicBezTo>
                    <a:pt x="134" y="1118"/>
                    <a:pt x="134" y="1118"/>
                    <a:pt x="134" y="1118"/>
                  </a:cubicBezTo>
                  <a:cubicBezTo>
                    <a:pt x="124" y="1166"/>
                    <a:pt x="124" y="1166"/>
                    <a:pt x="124" y="1166"/>
                  </a:cubicBezTo>
                  <a:cubicBezTo>
                    <a:pt x="145" y="1162"/>
                    <a:pt x="152" y="1170"/>
                    <a:pt x="160" y="1190"/>
                  </a:cubicBezTo>
                  <a:cubicBezTo>
                    <a:pt x="144" y="1214"/>
                    <a:pt x="144" y="1214"/>
                    <a:pt x="144" y="1214"/>
                  </a:cubicBezTo>
                  <a:cubicBezTo>
                    <a:pt x="192" y="1234"/>
                    <a:pt x="192" y="1234"/>
                    <a:pt x="192" y="1234"/>
                  </a:cubicBezTo>
                  <a:cubicBezTo>
                    <a:pt x="172" y="1286"/>
                    <a:pt x="172" y="1286"/>
                    <a:pt x="172" y="1286"/>
                  </a:cubicBezTo>
                  <a:cubicBezTo>
                    <a:pt x="184" y="1290"/>
                    <a:pt x="184" y="1290"/>
                    <a:pt x="184" y="1290"/>
                  </a:cubicBezTo>
                  <a:cubicBezTo>
                    <a:pt x="184" y="1298"/>
                    <a:pt x="184" y="1298"/>
                    <a:pt x="184" y="1298"/>
                  </a:cubicBezTo>
                  <a:cubicBezTo>
                    <a:pt x="153" y="1304"/>
                    <a:pt x="138" y="1263"/>
                    <a:pt x="112" y="1271"/>
                  </a:cubicBezTo>
                  <a:cubicBezTo>
                    <a:pt x="102" y="1274"/>
                    <a:pt x="93" y="1281"/>
                    <a:pt x="84" y="1287"/>
                  </a:cubicBezTo>
                  <a:cubicBezTo>
                    <a:pt x="0" y="1341"/>
                    <a:pt x="116" y="1405"/>
                    <a:pt x="151" y="1450"/>
                  </a:cubicBezTo>
                  <a:cubicBezTo>
                    <a:pt x="162" y="1463"/>
                    <a:pt x="159" y="1479"/>
                    <a:pt x="166" y="1494"/>
                  </a:cubicBezTo>
                  <a:cubicBezTo>
                    <a:pt x="173" y="1512"/>
                    <a:pt x="189" y="1526"/>
                    <a:pt x="200" y="1542"/>
                  </a:cubicBezTo>
                  <a:cubicBezTo>
                    <a:pt x="226" y="1531"/>
                    <a:pt x="276" y="1491"/>
                    <a:pt x="276" y="1462"/>
                  </a:cubicBezTo>
                  <a:cubicBezTo>
                    <a:pt x="356" y="1426"/>
                    <a:pt x="356" y="1426"/>
                    <a:pt x="356" y="1426"/>
                  </a:cubicBezTo>
                  <a:cubicBezTo>
                    <a:pt x="380" y="1478"/>
                    <a:pt x="380" y="1478"/>
                    <a:pt x="380" y="1478"/>
                  </a:cubicBezTo>
                  <a:cubicBezTo>
                    <a:pt x="400" y="1470"/>
                    <a:pt x="400" y="1470"/>
                    <a:pt x="400" y="1470"/>
                  </a:cubicBezTo>
                  <a:cubicBezTo>
                    <a:pt x="411" y="1483"/>
                    <a:pt x="426" y="1504"/>
                    <a:pt x="444" y="1509"/>
                  </a:cubicBezTo>
                  <a:cubicBezTo>
                    <a:pt x="482" y="1518"/>
                    <a:pt x="513" y="1465"/>
                    <a:pt x="508" y="1434"/>
                  </a:cubicBezTo>
                  <a:cubicBezTo>
                    <a:pt x="519" y="1438"/>
                    <a:pt x="531" y="1446"/>
                    <a:pt x="544" y="1444"/>
                  </a:cubicBezTo>
                  <a:cubicBezTo>
                    <a:pt x="562" y="1441"/>
                    <a:pt x="603" y="1397"/>
                    <a:pt x="620" y="1423"/>
                  </a:cubicBezTo>
                  <a:cubicBezTo>
                    <a:pt x="628" y="1435"/>
                    <a:pt x="613" y="1444"/>
                    <a:pt x="611" y="1454"/>
                  </a:cubicBezTo>
                  <a:cubicBezTo>
                    <a:pt x="608" y="1469"/>
                    <a:pt x="616" y="1499"/>
                    <a:pt x="620" y="1514"/>
                  </a:cubicBezTo>
                  <a:cubicBezTo>
                    <a:pt x="684" y="1510"/>
                    <a:pt x="684" y="1510"/>
                    <a:pt x="684" y="1510"/>
                  </a:cubicBezTo>
                  <a:cubicBezTo>
                    <a:pt x="760" y="1438"/>
                    <a:pt x="760" y="1438"/>
                    <a:pt x="760" y="1438"/>
                  </a:cubicBezTo>
                  <a:cubicBezTo>
                    <a:pt x="768" y="1409"/>
                    <a:pt x="789" y="1422"/>
                    <a:pt x="806" y="1405"/>
                  </a:cubicBezTo>
                  <a:cubicBezTo>
                    <a:pt x="819" y="1391"/>
                    <a:pt x="817" y="1373"/>
                    <a:pt x="836" y="1364"/>
                  </a:cubicBezTo>
                  <a:cubicBezTo>
                    <a:pt x="850" y="1357"/>
                    <a:pt x="869" y="1361"/>
                    <a:pt x="881" y="1348"/>
                  </a:cubicBezTo>
                  <a:cubicBezTo>
                    <a:pt x="901" y="1327"/>
                    <a:pt x="936" y="1271"/>
                    <a:pt x="940" y="1242"/>
                  </a:cubicBezTo>
                  <a:cubicBezTo>
                    <a:pt x="944" y="1216"/>
                    <a:pt x="934" y="1185"/>
                    <a:pt x="936" y="1158"/>
                  </a:cubicBezTo>
                  <a:cubicBezTo>
                    <a:pt x="938" y="1139"/>
                    <a:pt x="947" y="1121"/>
                    <a:pt x="948" y="1102"/>
                  </a:cubicBezTo>
                  <a:cubicBezTo>
                    <a:pt x="930" y="1091"/>
                    <a:pt x="936" y="1076"/>
                    <a:pt x="939" y="1058"/>
                  </a:cubicBezTo>
                  <a:cubicBezTo>
                    <a:pt x="945" y="1023"/>
                    <a:pt x="986" y="992"/>
                    <a:pt x="1006" y="962"/>
                  </a:cubicBezTo>
                  <a:cubicBezTo>
                    <a:pt x="1022" y="937"/>
                    <a:pt x="1028" y="907"/>
                    <a:pt x="1049" y="886"/>
                  </a:cubicBezTo>
                  <a:cubicBezTo>
                    <a:pt x="1072" y="862"/>
                    <a:pt x="1105" y="859"/>
                    <a:pt x="1130" y="840"/>
                  </a:cubicBezTo>
                  <a:cubicBezTo>
                    <a:pt x="1163" y="816"/>
                    <a:pt x="1197" y="779"/>
                    <a:pt x="1202" y="738"/>
                  </a:cubicBezTo>
                  <a:cubicBezTo>
                    <a:pt x="1205" y="722"/>
                    <a:pt x="1199" y="706"/>
                    <a:pt x="1201" y="690"/>
                  </a:cubicBezTo>
                  <a:cubicBezTo>
                    <a:pt x="1204" y="669"/>
                    <a:pt x="1214" y="651"/>
                    <a:pt x="1212" y="630"/>
                  </a:cubicBezTo>
                  <a:cubicBezTo>
                    <a:pt x="1264" y="600"/>
                    <a:pt x="1223" y="536"/>
                    <a:pt x="1230" y="486"/>
                  </a:cubicBezTo>
                  <a:cubicBezTo>
                    <a:pt x="1234" y="455"/>
                    <a:pt x="1257" y="425"/>
                    <a:pt x="1263" y="394"/>
                  </a:cubicBezTo>
                  <a:cubicBezTo>
                    <a:pt x="1271" y="353"/>
                    <a:pt x="1251" y="316"/>
                    <a:pt x="1269" y="274"/>
                  </a:cubicBezTo>
                  <a:cubicBezTo>
                    <a:pt x="1286" y="233"/>
                    <a:pt x="1311" y="190"/>
                    <a:pt x="1332" y="150"/>
                  </a:cubicBezTo>
                  <a:cubicBezTo>
                    <a:pt x="1341" y="131"/>
                    <a:pt x="1357" y="120"/>
                    <a:pt x="1359" y="98"/>
                  </a:cubicBezTo>
                  <a:cubicBezTo>
                    <a:pt x="1364" y="54"/>
                    <a:pt x="1302" y="0"/>
                    <a:pt x="1280" y="54"/>
                  </a:cubicBezTo>
                  <a:cubicBezTo>
                    <a:pt x="1262" y="41"/>
                    <a:pt x="1251" y="48"/>
                    <a:pt x="1232" y="43"/>
                  </a:cubicBezTo>
                  <a:cubicBezTo>
                    <a:pt x="1208" y="38"/>
                    <a:pt x="1173" y="14"/>
                    <a:pt x="1148" y="20"/>
                  </a:cubicBezTo>
                  <a:cubicBezTo>
                    <a:pt x="1124" y="25"/>
                    <a:pt x="1107" y="41"/>
                    <a:pt x="1080" y="44"/>
                  </a:cubicBezTo>
                  <a:cubicBezTo>
                    <a:pt x="1055" y="46"/>
                    <a:pt x="1013" y="36"/>
                    <a:pt x="995" y="60"/>
                  </a:cubicBezTo>
                  <a:cubicBezTo>
                    <a:pt x="967" y="98"/>
                    <a:pt x="985" y="151"/>
                    <a:pt x="968" y="190"/>
                  </a:cubicBezTo>
                  <a:cubicBezTo>
                    <a:pt x="940" y="253"/>
                    <a:pt x="880" y="296"/>
                    <a:pt x="920" y="366"/>
                  </a:cubicBezTo>
                  <a:moveTo>
                    <a:pt x="236" y="1610"/>
                  </a:moveTo>
                  <a:cubicBezTo>
                    <a:pt x="240" y="1614"/>
                    <a:pt x="240" y="1614"/>
                    <a:pt x="240" y="1614"/>
                  </a:cubicBezTo>
                  <a:lnTo>
                    <a:pt x="236" y="16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" name="Freeform 44"/>
            <p:cNvSpPr/>
            <p:nvPr/>
          </p:nvSpPr>
          <p:spPr bwMode="auto">
            <a:xfrm>
              <a:off x="2162175" y="2657475"/>
              <a:ext cx="293688" cy="315913"/>
            </a:xfrm>
            <a:custGeom>
              <a:avLst/>
              <a:gdLst/>
              <a:ahLst/>
              <a:cxnLst>
                <a:cxn ang="0">
                  <a:pos x="280" y="243"/>
                </a:cxn>
                <a:cxn ang="0">
                  <a:pos x="208" y="231"/>
                </a:cxn>
                <a:cxn ang="0">
                  <a:pos x="160" y="235"/>
                </a:cxn>
                <a:cxn ang="0">
                  <a:pos x="176" y="239"/>
                </a:cxn>
                <a:cxn ang="0">
                  <a:pos x="156" y="315"/>
                </a:cxn>
                <a:cxn ang="0">
                  <a:pos x="156" y="299"/>
                </a:cxn>
                <a:cxn ang="0">
                  <a:pos x="140" y="375"/>
                </a:cxn>
                <a:cxn ang="0">
                  <a:pos x="137" y="383"/>
                </a:cxn>
                <a:cxn ang="0">
                  <a:pos x="103" y="483"/>
                </a:cxn>
                <a:cxn ang="0">
                  <a:pos x="0" y="519"/>
                </a:cxn>
                <a:cxn ang="0">
                  <a:pos x="76" y="659"/>
                </a:cxn>
                <a:cxn ang="0">
                  <a:pos x="80" y="695"/>
                </a:cxn>
                <a:cxn ang="0">
                  <a:pos x="96" y="713"/>
                </a:cxn>
                <a:cxn ang="0">
                  <a:pos x="160" y="775"/>
                </a:cxn>
                <a:cxn ang="0">
                  <a:pos x="148" y="803"/>
                </a:cxn>
                <a:cxn ang="0">
                  <a:pos x="216" y="855"/>
                </a:cxn>
                <a:cxn ang="0">
                  <a:pos x="188" y="859"/>
                </a:cxn>
                <a:cxn ang="0">
                  <a:pos x="390" y="1059"/>
                </a:cxn>
                <a:cxn ang="0">
                  <a:pos x="491" y="1037"/>
                </a:cxn>
                <a:cxn ang="0">
                  <a:pos x="576" y="996"/>
                </a:cxn>
                <a:cxn ang="0">
                  <a:pos x="524" y="907"/>
                </a:cxn>
                <a:cxn ang="0">
                  <a:pos x="508" y="831"/>
                </a:cxn>
                <a:cxn ang="0">
                  <a:pos x="666" y="817"/>
                </a:cxn>
                <a:cxn ang="0">
                  <a:pos x="690" y="744"/>
                </a:cxn>
                <a:cxn ang="0">
                  <a:pos x="832" y="845"/>
                </a:cxn>
                <a:cxn ang="0">
                  <a:pos x="880" y="791"/>
                </a:cxn>
                <a:cxn ang="0">
                  <a:pos x="976" y="763"/>
                </a:cxn>
                <a:cxn ang="0">
                  <a:pos x="1000" y="695"/>
                </a:cxn>
                <a:cxn ang="0">
                  <a:pos x="1018" y="529"/>
                </a:cxn>
                <a:cxn ang="0">
                  <a:pos x="908" y="463"/>
                </a:cxn>
                <a:cxn ang="0">
                  <a:pos x="932" y="347"/>
                </a:cxn>
                <a:cxn ang="0">
                  <a:pos x="988" y="231"/>
                </a:cxn>
                <a:cxn ang="0">
                  <a:pos x="788" y="207"/>
                </a:cxn>
                <a:cxn ang="0">
                  <a:pos x="811" y="40"/>
                </a:cxn>
                <a:cxn ang="0">
                  <a:pos x="600" y="23"/>
                </a:cxn>
                <a:cxn ang="0">
                  <a:pos x="460" y="83"/>
                </a:cxn>
              </a:cxnLst>
              <a:rect l="0" t="0" r="r" b="b"/>
              <a:pathLst>
                <a:path w="1031" h="1107">
                  <a:moveTo>
                    <a:pt x="464" y="243"/>
                  </a:moveTo>
                  <a:cubicBezTo>
                    <a:pt x="280" y="243"/>
                    <a:pt x="280" y="243"/>
                    <a:pt x="280" y="243"/>
                  </a:cubicBezTo>
                  <a:cubicBezTo>
                    <a:pt x="263" y="243"/>
                    <a:pt x="224" y="235"/>
                    <a:pt x="220" y="255"/>
                  </a:cubicBezTo>
                  <a:cubicBezTo>
                    <a:pt x="208" y="231"/>
                    <a:pt x="208" y="231"/>
                    <a:pt x="208" y="231"/>
                  </a:cubicBezTo>
                  <a:cubicBezTo>
                    <a:pt x="160" y="231"/>
                    <a:pt x="160" y="231"/>
                    <a:pt x="160" y="231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76" y="235"/>
                    <a:pt x="176" y="235"/>
                    <a:pt x="176" y="235"/>
                  </a:cubicBezTo>
                  <a:cubicBezTo>
                    <a:pt x="176" y="239"/>
                    <a:pt x="176" y="239"/>
                    <a:pt x="176" y="239"/>
                  </a:cubicBezTo>
                  <a:cubicBezTo>
                    <a:pt x="140" y="245"/>
                    <a:pt x="160" y="290"/>
                    <a:pt x="168" y="315"/>
                  </a:cubicBezTo>
                  <a:cubicBezTo>
                    <a:pt x="156" y="315"/>
                    <a:pt x="156" y="315"/>
                    <a:pt x="156" y="315"/>
                  </a:cubicBezTo>
                  <a:cubicBezTo>
                    <a:pt x="156" y="311"/>
                    <a:pt x="156" y="311"/>
                    <a:pt x="156" y="311"/>
                  </a:cubicBezTo>
                  <a:cubicBezTo>
                    <a:pt x="156" y="299"/>
                    <a:pt x="156" y="299"/>
                    <a:pt x="156" y="299"/>
                  </a:cubicBezTo>
                  <a:cubicBezTo>
                    <a:pt x="108" y="307"/>
                    <a:pt x="108" y="307"/>
                    <a:pt x="108" y="307"/>
                  </a:cubicBezTo>
                  <a:cubicBezTo>
                    <a:pt x="140" y="375"/>
                    <a:pt x="140" y="375"/>
                    <a:pt x="140" y="375"/>
                  </a:cubicBezTo>
                  <a:cubicBezTo>
                    <a:pt x="188" y="399"/>
                    <a:pt x="188" y="399"/>
                    <a:pt x="188" y="399"/>
                  </a:cubicBezTo>
                  <a:cubicBezTo>
                    <a:pt x="137" y="383"/>
                    <a:pt x="137" y="383"/>
                    <a:pt x="137" y="383"/>
                  </a:cubicBezTo>
                  <a:cubicBezTo>
                    <a:pt x="108" y="359"/>
                    <a:pt x="108" y="359"/>
                    <a:pt x="108" y="359"/>
                  </a:cubicBezTo>
                  <a:cubicBezTo>
                    <a:pt x="108" y="399"/>
                    <a:pt x="120" y="444"/>
                    <a:pt x="103" y="483"/>
                  </a:cubicBezTo>
                  <a:cubicBezTo>
                    <a:pt x="91" y="509"/>
                    <a:pt x="44" y="522"/>
                    <a:pt x="48" y="547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2" y="548"/>
                    <a:pt x="47" y="650"/>
                    <a:pt x="76" y="655"/>
                  </a:cubicBezTo>
                  <a:cubicBezTo>
                    <a:pt x="76" y="659"/>
                    <a:pt x="76" y="659"/>
                    <a:pt x="76" y="659"/>
                  </a:cubicBezTo>
                  <a:cubicBezTo>
                    <a:pt x="64" y="659"/>
                    <a:pt x="64" y="659"/>
                    <a:pt x="64" y="659"/>
                  </a:cubicBezTo>
                  <a:cubicBezTo>
                    <a:pt x="80" y="695"/>
                    <a:pt x="80" y="695"/>
                    <a:pt x="80" y="695"/>
                  </a:cubicBezTo>
                  <a:cubicBezTo>
                    <a:pt x="136" y="691"/>
                    <a:pt x="136" y="691"/>
                    <a:pt x="136" y="691"/>
                  </a:cubicBezTo>
                  <a:cubicBezTo>
                    <a:pt x="126" y="701"/>
                    <a:pt x="103" y="702"/>
                    <a:pt x="96" y="713"/>
                  </a:cubicBezTo>
                  <a:cubicBezTo>
                    <a:pt x="78" y="742"/>
                    <a:pt x="144" y="755"/>
                    <a:pt x="160" y="759"/>
                  </a:cubicBezTo>
                  <a:cubicBezTo>
                    <a:pt x="160" y="775"/>
                    <a:pt x="160" y="775"/>
                    <a:pt x="160" y="775"/>
                  </a:cubicBezTo>
                  <a:cubicBezTo>
                    <a:pt x="116" y="759"/>
                    <a:pt x="116" y="759"/>
                    <a:pt x="116" y="759"/>
                  </a:cubicBezTo>
                  <a:cubicBezTo>
                    <a:pt x="123" y="778"/>
                    <a:pt x="137" y="787"/>
                    <a:pt x="148" y="803"/>
                  </a:cubicBezTo>
                  <a:cubicBezTo>
                    <a:pt x="173" y="840"/>
                    <a:pt x="173" y="862"/>
                    <a:pt x="220" y="831"/>
                  </a:cubicBezTo>
                  <a:cubicBezTo>
                    <a:pt x="216" y="855"/>
                    <a:pt x="216" y="855"/>
                    <a:pt x="216" y="855"/>
                  </a:cubicBezTo>
                  <a:cubicBezTo>
                    <a:pt x="256" y="859"/>
                    <a:pt x="256" y="859"/>
                    <a:pt x="256" y="859"/>
                  </a:cubicBezTo>
                  <a:cubicBezTo>
                    <a:pt x="242" y="888"/>
                    <a:pt x="211" y="864"/>
                    <a:pt x="188" y="859"/>
                  </a:cubicBezTo>
                  <a:cubicBezTo>
                    <a:pt x="204" y="898"/>
                    <a:pt x="261" y="924"/>
                    <a:pt x="292" y="951"/>
                  </a:cubicBezTo>
                  <a:cubicBezTo>
                    <a:pt x="326" y="982"/>
                    <a:pt x="362" y="1023"/>
                    <a:pt x="390" y="1059"/>
                  </a:cubicBezTo>
                  <a:cubicBezTo>
                    <a:pt x="404" y="1076"/>
                    <a:pt x="409" y="1094"/>
                    <a:pt x="428" y="1107"/>
                  </a:cubicBezTo>
                  <a:cubicBezTo>
                    <a:pt x="440" y="1081"/>
                    <a:pt x="457" y="1040"/>
                    <a:pt x="491" y="1037"/>
                  </a:cubicBezTo>
                  <a:cubicBezTo>
                    <a:pt x="515" y="1035"/>
                    <a:pt x="553" y="1097"/>
                    <a:pt x="572" y="1047"/>
                  </a:cubicBezTo>
                  <a:cubicBezTo>
                    <a:pt x="547" y="1023"/>
                    <a:pt x="580" y="1019"/>
                    <a:pt x="576" y="996"/>
                  </a:cubicBezTo>
                  <a:cubicBezTo>
                    <a:pt x="574" y="981"/>
                    <a:pt x="540" y="971"/>
                    <a:pt x="528" y="967"/>
                  </a:cubicBezTo>
                  <a:cubicBezTo>
                    <a:pt x="550" y="942"/>
                    <a:pt x="538" y="932"/>
                    <a:pt x="524" y="907"/>
                  </a:cubicBezTo>
                  <a:cubicBezTo>
                    <a:pt x="504" y="907"/>
                    <a:pt x="504" y="907"/>
                    <a:pt x="504" y="907"/>
                  </a:cubicBezTo>
                  <a:cubicBezTo>
                    <a:pt x="528" y="878"/>
                    <a:pt x="515" y="863"/>
                    <a:pt x="508" y="831"/>
                  </a:cubicBezTo>
                  <a:cubicBezTo>
                    <a:pt x="530" y="842"/>
                    <a:pt x="537" y="833"/>
                    <a:pt x="560" y="833"/>
                  </a:cubicBezTo>
                  <a:cubicBezTo>
                    <a:pt x="587" y="833"/>
                    <a:pt x="647" y="849"/>
                    <a:pt x="666" y="817"/>
                  </a:cubicBezTo>
                  <a:cubicBezTo>
                    <a:pt x="677" y="799"/>
                    <a:pt x="664" y="777"/>
                    <a:pt x="660" y="759"/>
                  </a:cubicBezTo>
                  <a:cubicBezTo>
                    <a:pt x="670" y="756"/>
                    <a:pt x="680" y="743"/>
                    <a:pt x="690" y="744"/>
                  </a:cubicBezTo>
                  <a:cubicBezTo>
                    <a:pt x="721" y="746"/>
                    <a:pt x="744" y="809"/>
                    <a:pt x="752" y="835"/>
                  </a:cubicBezTo>
                  <a:cubicBezTo>
                    <a:pt x="832" y="845"/>
                    <a:pt x="832" y="845"/>
                    <a:pt x="832" y="845"/>
                  </a:cubicBezTo>
                  <a:cubicBezTo>
                    <a:pt x="864" y="819"/>
                    <a:pt x="864" y="819"/>
                    <a:pt x="864" y="819"/>
                  </a:cubicBezTo>
                  <a:cubicBezTo>
                    <a:pt x="880" y="791"/>
                    <a:pt x="880" y="791"/>
                    <a:pt x="880" y="791"/>
                  </a:cubicBezTo>
                  <a:cubicBezTo>
                    <a:pt x="900" y="808"/>
                    <a:pt x="888" y="842"/>
                    <a:pt x="906" y="854"/>
                  </a:cubicBezTo>
                  <a:cubicBezTo>
                    <a:pt x="957" y="890"/>
                    <a:pt x="977" y="794"/>
                    <a:pt x="976" y="763"/>
                  </a:cubicBezTo>
                  <a:cubicBezTo>
                    <a:pt x="1008" y="751"/>
                    <a:pt x="1008" y="751"/>
                    <a:pt x="1008" y="751"/>
                  </a:cubicBezTo>
                  <a:cubicBezTo>
                    <a:pt x="1000" y="695"/>
                    <a:pt x="1000" y="695"/>
                    <a:pt x="1000" y="695"/>
                  </a:cubicBezTo>
                  <a:cubicBezTo>
                    <a:pt x="1031" y="669"/>
                    <a:pt x="1007" y="630"/>
                    <a:pt x="1004" y="599"/>
                  </a:cubicBezTo>
                  <a:cubicBezTo>
                    <a:pt x="1001" y="574"/>
                    <a:pt x="1022" y="552"/>
                    <a:pt x="1018" y="529"/>
                  </a:cubicBezTo>
                  <a:cubicBezTo>
                    <a:pt x="1014" y="501"/>
                    <a:pt x="988" y="500"/>
                    <a:pt x="969" y="490"/>
                  </a:cubicBezTo>
                  <a:cubicBezTo>
                    <a:pt x="944" y="476"/>
                    <a:pt x="943" y="453"/>
                    <a:pt x="908" y="463"/>
                  </a:cubicBezTo>
                  <a:cubicBezTo>
                    <a:pt x="904" y="459"/>
                    <a:pt x="904" y="459"/>
                    <a:pt x="904" y="459"/>
                  </a:cubicBezTo>
                  <a:cubicBezTo>
                    <a:pt x="925" y="417"/>
                    <a:pt x="903" y="386"/>
                    <a:pt x="932" y="347"/>
                  </a:cubicBezTo>
                  <a:cubicBezTo>
                    <a:pt x="955" y="315"/>
                    <a:pt x="1004" y="324"/>
                    <a:pt x="1013" y="271"/>
                  </a:cubicBezTo>
                  <a:cubicBezTo>
                    <a:pt x="1016" y="255"/>
                    <a:pt x="996" y="243"/>
                    <a:pt x="988" y="231"/>
                  </a:cubicBezTo>
                  <a:cubicBezTo>
                    <a:pt x="981" y="218"/>
                    <a:pt x="981" y="201"/>
                    <a:pt x="980" y="187"/>
                  </a:cubicBezTo>
                  <a:cubicBezTo>
                    <a:pt x="923" y="152"/>
                    <a:pt x="844" y="182"/>
                    <a:pt x="788" y="207"/>
                  </a:cubicBezTo>
                  <a:cubicBezTo>
                    <a:pt x="811" y="177"/>
                    <a:pt x="785" y="170"/>
                    <a:pt x="786" y="139"/>
                  </a:cubicBezTo>
                  <a:cubicBezTo>
                    <a:pt x="787" y="112"/>
                    <a:pt x="820" y="61"/>
                    <a:pt x="811" y="40"/>
                  </a:cubicBezTo>
                  <a:cubicBezTo>
                    <a:pt x="801" y="17"/>
                    <a:pt x="775" y="25"/>
                    <a:pt x="756" y="26"/>
                  </a:cubicBezTo>
                  <a:cubicBezTo>
                    <a:pt x="702" y="30"/>
                    <a:pt x="653" y="20"/>
                    <a:pt x="600" y="23"/>
                  </a:cubicBezTo>
                  <a:cubicBezTo>
                    <a:pt x="570" y="24"/>
                    <a:pt x="485" y="0"/>
                    <a:pt x="464" y="26"/>
                  </a:cubicBezTo>
                  <a:cubicBezTo>
                    <a:pt x="454" y="38"/>
                    <a:pt x="460" y="68"/>
                    <a:pt x="460" y="83"/>
                  </a:cubicBezTo>
                  <a:cubicBezTo>
                    <a:pt x="460" y="136"/>
                    <a:pt x="464" y="189"/>
                    <a:pt x="464" y="24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" name="Freeform 45"/>
            <p:cNvSpPr/>
            <p:nvPr/>
          </p:nvSpPr>
          <p:spPr bwMode="auto">
            <a:xfrm>
              <a:off x="1773238" y="2162175"/>
              <a:ext cx="153988" cy="304800"/>
            </a:xfrm>
            <a:custGeom>
              <a:avLst/>
              <a:gdLst/>
              <a:ahLst/>
              <a:cxnLst>
                <a:cxn ang="0">
                  <a:pos x="100" y="192"/>
                </a:cxn>
                <a:cxn ang="0">
                  <a:pos x="0" y="356"/>
                </a:cxn>
                <a:cxn ang="0">
                  <a:pos x="101" y="440"/>
                </a:cxn>
                <a:cxn ang="0">
                  <a:pos x="109" y="528"/>
                </a:cxn>
                <a:cxn ang="0">
                  <a:pos x="146" y="584"/>
                </a:cxn>
                <a:cxn ang="0">
                  <a:pos x="148" y="704"/>
                </a:cxn>
                <a:cxn ang="0">
                  <a:pos x="152" y="932"/>
                </a:cxn>
                <a:cxn ang="0">
                  <a:pos x="142" y="968"/>
                </a:cxn>
                <a:cxn ang="0">
                  <a:pos x="180" y="1068"/>
                </a:cxn>
                <a:cxn ang="0">
                  <a:pos x="344" y="1052"/>
                </a:cxn>
                <a:cxn ang="0">
                  <a:pos x="372" y="1020"/>
                </a:cxn>
                <a:cxn ang="0">
                  <a:pos x="352" y="812"/>
                </a:cxn>
                <a:cxn ang="0">
                  <a:pos x="356" y="728"/>
                </a:cxn>
                <a:cxn ang="0">
                  <a:pos x="356" y="724"/>
                </a:cxn>
                <a:cxn ang="0">
                  <a:pos x="362" y="586"/>
                </a:cxn>
                <a:cxn ang="0">
                  <a:pos x="412" y="580"/>
                </a:cxn>
                <a:cxn ang="0">
                  <a:pos x="460" y="454"/>
                </a:cxn>
                <a:cxn ang="0">
                  <a:pos x="505" y="420"/>
                </a:cxn>
                <a:cxn ang="0">
                  <a:pos x="500" y="360"/>
                </a:cxn>
                <a:cxn ang="0">
                  <a:pos x="532" y="352"/>
                </a:cxn>
                <a:cxn ang="0">
                  <a:pos x="544" y="292"/>
                </a:cxn>
                <a:cxn ang="0">
                  <a:pos x="520" y="224"/>
                </a:cxn>
                <a:cxn ang="0">
                  <a:pos x="480" y="164"/>
                </a:cxn>
                <a:cxn ang="0">
                  <a:pos x="500" y="116"/>
                </a:cxn>
                <a:cxn ang="0">
                  <a:pos x="448" y="88"/>
                </a:cxn>
                <a:cxn ang="0">
                  <a:pos x="360" y="1"/>
                </a:cxn>
                <a:cxn ang="0">
                  <a:pos x="320" y="14"/>
                </a:cxn>
                <a:cxn ang="0">
                  <a:pos x="282" y="27"/>
                </a:cxn>
                <a:cxn ang="0">
                  <a:pos x="281" y="80"/>
                </a:cxn>
                <a:cxn ang="0">
                  <a:pos x="232" y="151"/>
                </a:cxn>
                <a:cxn ang="0">
                  <a:pos x="100" y="192"/>
                </a:cxn>
              </a:cxnLst>
              <a:rect l="0" t="0" r="r" b="b"/>
              <a:pathLst>
                <a:path w="544" h="1068">
                  <a:moveTo>
                    <a:pt x="100" y="192"/>
                  </a:moveTo>
                  <a:cubicBezTo>
                    <a:pt x="19" y="207"/>
                    <a:pt x="12" y="290"/>
                    <a:pt x="0" y="356"/>
                  </a:cubicBezTo>
                  <a:cubicBezTo>
                    <a:pt x="33" y="374"/>
                    <a:pt x="90" y="402"/>
                    <a:pt x="101" y="440"/>
                  </a:cubicBezTo>
                  <a:cubicBezTo>
                    <a:pt x="110" y="470"/>
                    <a:pt x="97" y="497"/>
                    <a:pt x="109" y="528"/>
                  </a:cubicBezTo>
                  <a:cubicBezTo>
                    <a:pt x="117" y="550"/>
                    <a:pt x="140" y="561"/>
                    <a:pt x="146" y="584"/>
                  </a:cubicBezTo>
                  <a:cubicBezTo>
                    <a:pt x="156" y="619"/>
                    <a:pt x="148" y="667"/>
                    <a:pt x="148" y="704"/>
                  </a:cubicBezTo>
                  <a:cubicBezTo>
                    <a:pt x="148" y="780"/>
                    <a:pt x="152" y="856"/>
                    <a:pt x="152" y="932"/>
                  </a:cubicBezTo>
                  <a:cubicBezTo>
                    <a:pt x="132" y="939"/>
                    <a:pt x="141" y="951"/>
                    <a:pt x="142" y="968"/>
                  </a:cubicBezTo>
                  <a:cubicBezTo>
                    <a:pt x="145" y="1008"/>
                    <a:pt x="167" y="1030"/>
                    <a:pt x="180" y="1068"/>
                  </a:cubicBezTo>
                  <a:cubicBezTo>
                    <a:pt x="344" y="1052"/>
                    <a:pt x="344" y="1052"/>
                    <a:pt x="344" y="1052"/>
                  </a:cubicBezTo>
                  <a:cubicBezTo>
                    <a:pt x="372" y="1020"/>
                    <a:pt x="372" y="1020"/>
                    <a:pt x="372" y="1020"/>
                  </a:cubicBezTo>
                  <a:cubicBezTo>
                    <a:pt x="341" y="957"/>
                    <a:pt x="352" y="880"/>
                    <a:pt x="352" y="812"/>
                  </a:cubicBezTo>
                  <a:cubicBezTo>
                    <a:pt x="351" y="779"/>
                    <a:pt x="338" y="761"/>
                    <a:pt x="356" y="728"/>
                  </a:cubicBezTo>
                  <a:cubicBezTo>
                    <a:pt x="356" y="724"/>
                    <a:pt x="356" y="724"/>
                    <a:pt x="356" y="724"/>
                  </a:cubicBezTo>
                  <a:cubicBezTo>
                    <a:pt x="345" y="706"/>
                    <a:pt x="344" y="601"/>
                    <a:pt x="362" y="586"/>
                  </a:cubicBezTo>
                  <a:cubicBezTo>
                    <a:pt x="373" y="577"/>
                    <a:pt x="398" y="582"/>
                    <a:pt x="412" y="580"/>
                  </a:cubicBezTo>
                  <a:cubicBezTo>
                    <a:pt x="416" y="535"/>
                    <a:pt x="435" y="489"/>
                    <a:pt x="460" y="454"/>
                  </a:cubicBezTo>
                  <a:cubicBezTo>
                    <a:pt x="472" y="438"/>
                    <a:pt x="494" y="442"/>
                    <a:pt x="505" y="420"/>
                  </a:cubicBezTo>
                  <a:cubicBezTo>
                    <a:pt x="520" y="391"/>
                    <a:pt x="494" y="383"/>
                    <a:pt x="500" y="360"/>
                  </a:cubicBezTo>
                  <a:cubicBezTo>
                    <a:pt x="504" y="344"/>
                    <a:pt x="521" y="349"/>
                    <a:pt x="532" y="352"/>
                  </a:cubicBezTo>
                  <a:cubicBezTo>
                    <a:pt x="544" y="292"/>
                    <a:pt x="544" y="292"/>
                    <a:pt x="544" y="292"/>
                  </a:cubicBezTo>
                  <a:cubicBezTo>
                    <a:pt x="520" y="224"/>
                    <a:pt x="520" y="224"/>
                    <a:pt x="520" y="224"/>
                  </a:cubicBezTo>
                  <a:cubicBezTo>
                    <a:pt x="480" y="164"/>
                    <a:pt x="480" y="164"/>
                    <a:pt x="480" y="164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483" y="102"/>
                    <a:pt x="472" y="85"/>
                    <a:pt x="448" y="88"/>
                  </a:cubicBezTo>
                  <a:cubicBezTo>
                    <a:pt x="438" y="58"/>
                    <a:pt x="394" y="3"/>
                    <a:pt x="360" y="1"/>
                  </a:cubicBezTo>
                  <a:cubicBezTo>
                    <a:pt x="345" y="0"/>
                    <a:pt x="333" y="10"/>
                    <a:pt x="320" y="14"/>
                  </a:cubicBezTo>
                  <a:cubicBezTo>
                    <a:pt x="309" y="18"/>
                    <a:pt x="291" y="18"/>
                    <a:pt x="282" y="27"/>
                  </a:cubicBezTo>
                  <a:cubicBezTo>
                    <a:pt x="272" y="38"/>
                    <a:pt x="284" y="65"/>
                    <a:pt x="281" y="80"/>
                  </a:cubicBezTo>
                  <a:cubicBezTo>
                    <a:pt x="276" y="112"/>
                    <a:pt x="256" y="131"/>
                    <a:pt x="232" y="151"/>
                  </a:cubicBezTo>
                  <a:cubicBezTo>
                    <a:pt x="199" y="178"/>
                    <a:pt x="98" y="140"/>
                    <a:pt x="100" y="19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" name="Freeform 46"/>
            <p:cNvSpPr/>
            <p:nvPr/>
          </p:nvSpPr>
          <p:spPr bwMode="auto">
            <a:xfrm>
              <a:off x="1728788" y="2225675"/>
              <a:ext cx="100013" cy="249238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1" y="80"/>
                </a:cxn>
                <a:cxn ang="0">
                  <a:pos x="75" y="131"/>
                </a:cxn>
                <a:cxn ang="0">
                  <a:pos x="96" y="200"/>
                </a:cxn>
                <a:cxn ang="0">
                  <a:pos x="63" y="287"/>
                </a:cxn>
                <a:cxn ang="0">
                  <a:pos x="110" y="294"/>
                </a:cxn>
                <a:cxn ang="0">
                  <a:pos x="102" y="360"/>
                </a:cxn>
                <a:cxn ang="0">
                  <a:pos x="108" y="392"/>
                </a:cxn>
                <a:cxn ang="0">
                  <a:pos x="88" y="404"/>
                </a:cxn>
                <a:cxn ang="0">
                  <a:pos x="143" y="476"/>
                </a:cxn>
                <a:cxn ang="0">
                  <a:pos x="127" y="512"/>
                </a:cxn>
                <a:cxn ang="0">
                  <a:pos x="130" y="556"/>
                </a:cxn>
                <a:cxn ang="0">
                  <a:pos x="136" y="648"/>
                </a:cxn>
                <a:cxn ang="0">
                  <a:pos x="112" y="716"/>
                </a:cxn>
                <a:cxn ang="0">
                  <a:pos x="152" y="788"/>
                </a:cxn>
                <a:cxn ang="0">
                  <a:pos x="212" y="864"/>
                </a:cxn>
                <a:cxn ang="0">
                  <a:pos x="348" y="840"/>
                </a:cxn>
                <a:cxn ang="0">
                  <a:pos x="310" y="772"/>
                </a:cxn>
                <a:cxn ang="0">
                  <a:pos x="304" y="716"/>
                </a:cxn>
                <a:cxn ang="0">
                  <a:pos x="320" y="620"/>
                </a:cxn>
                <a:cxn ang="0">
                  <a:pos x="316" y="404"/>
                </a:cxn>
                <a:cxn ang="0">
                  <a:pos x="280" y="320"/>
                </a:cxn>
                <a:cxn ang="0">
                  <a:pos x="276" y="280"/>
                </a:cxn>
                <a:cxn ang="0">
                  <a:pos x="260" y="276"/>
                </a:cxn>
                <a:cxn ang="0">
                  <a:pos x="266" y="240"/>
                </a:cxn>
                <a:cxn ang="0">
                  <a:pos x="264" y="194"/>
                </a:cxn>
                <a:cxn ang="0">
                  <a:pos x="169" y="124"/>
                </a:cxn>
                <a:cxn ang="0">
                  <a:pos x="188" y="16"/>
                </a:cxn>
                <a:cxn ang="0">
                  <a:pos x="24" y="0"/>
                </a:cxn>
              </a:cxnLst>
              <a:rect l="0" t="0" r="r" b="b"/>
              <a:pathLst>
                <a:path w="348" h="871">
                  <a:moveTo>
                    <a:pt x="24" y="0"/>
                  </a:moveTo>
                  <a:cubicBezTo>
                    <a:pt x="29" y="28"/>
                    <a:pt x="0" y="54"/>
                    <a:pt x="11" y="80"/>
                  </a:cubicBezTo>
                  <a:cubicBezTo>
                    <a:pt x="19" y="101"/>
                    <a:pt x="58" y="115"/>
                    <a:pt x="75" y="131"/>
                  </a:cubicBezTo>
                  <a:cubicBezTo>
                    <a:pt x="86" y="142"/>
                    <a:pt x="93" y="184"/>
                    <a:pt x="96" y="200"/>
                  </a:cubicBezTo>
                  <a:cubicBezTo>
                    <a:pt x="103" y="231"/>
                    <a:pt x="45" y="251"/>
                    <a:pt x="63" y="287"/>
                  </a:cubicBezTo>
                  <a:cubicBezTo>
                    <a:pt x="72" y="306"/>
                    <a:pt x="97" y="279"/>
                    <a:pt x="110" y="294"/>
                  </a:cubicBezTo>
                  <a:cubicBezTo>
                    <a:pt x="129" y="314"/>
                    <a:pt x="101" y="339"/>
                    <a:pt x="102" y="360"/>
                  </a:cubicBezTo>
                  <a:cubicBezTo>
                    <a:pt x="103" y="371"/>
                    <a:pt x="112" y="381"/>
                    <a:pt x="108" y="392"/>
                  </a:cubicBezTo>
                  <a:cubicBezTo>
                    <a:pt x="104" y="400"/>
                    <a:pt x="96" y="402"/>
                    <a:pt x="88" y="404"/>
                  </a:cubicBezTo>
                  <a:cubicBezTo>
                    <a:pt x="95" y="438"/>
                    <a:pt x="137" y="446"/>
                    <a:pt x="143" y="476"/>
                  </a:cubicBezTo>
                  <a:cubicBezTo>
                    <a:pt x="145" y="490"/>
                    <a:pt x="131" y="500"/>
                    <a:pt x="127" y="512"/>
                  </a:cubicBezTo>
                  <a:cubicBezTo>
                    <a:pt x="124" y="527"/>
                    <a:pt x="131" y="541"/>
                    <a:pt x="130" y="556"/>
                  </a:cubicBezTo>
                  <a:cubicBezTo>
                    <a:pt x="128" y="584"/>
                    <a:pt x="90" y="641"/>
                    <a:pt x="136" y="648"/>
                  </a:cubicBezTo>
                  <a:cubicBezTo>
                    <a:pt x="135" y="673"/>
                    <a:pt x="136" y="704"/>
                    <a:pt x="112" y="716"/>
                  </a:cubicBezTo>
                  <a:cubicBezTo>
                    <a:pt x="118" y="739"/>
                    <a:pt x="129" y="781"/>
                    <a:pt x="152" y="788"/>
                  </a:cubicBezTo>
                  <a:cubicBezTo>
                    <a:pt x="145" y="826"/>
                    <a:pt x="201" y="831"/>
                    <a:pt x="212" y="864"/>
                  </a:cubicBezTo>
                  <a:cubicBezTo>
                    <a:pt x="264" y="871"/>
                    <a:pt x="299" y="851"/>
                    <a:pt x="348" y="840"/>
                  </a:cubicBezTo>
                  <a:cubicBezTo>
                    <a:pt x="310" y="772"/>
                    <a:pt x="310" y="772"/>
                    <a:pt x="310" y="772"/>
                  </a:cubicBezTo>
                  <a:cubicBezTo>
                    <a:pt x="304" y="716"/>
                    <a:pt x="304" y="716"/>
                    <a:pt x="304" y="716"/>
                  </a:cubicBezTo>
                  <a:cubicBezTo>
                    <a:pt x="332" y="707"/>
                    <a:pt x="320" y="645"/>
                    <a:pt x="320" y="620"/>
                  </a:cubicBezTo>
                  <a:cubicBezTo>
                    <a:pt x="320" y="548"/>
                    <a:pt x="316" y="476"/>
                    <a:pt x="316" y="404"/>
                  </a:cubicBezTo>
                  <a:cubicBezTo>
                    <a:pt x="316" y="369"/>
                    <a:pt x="316" y="337"/>
                    <a:pt x="280" y="320"/>
                  </a:cubicBezTo>
                  <a:cubicBezTo>
                    <a:pt x="276" y="280"/>
                    <a:pt x="276" y="280"/>
                    <a:pt x="276" y="280"/>
                  </a:cubicBezTo>
                  <a:cubicBezTo>
                    <a:pt x="260" y="276"/>
                    <a:pt x="260" y="276"/>
                    <a:pt x="260" y="276"/>
                  </a:cubicBezTo>
                  <a:cubicBezTo>
                    <a:pt x="266" y="240"/>
                    <a:pt x="266" y="240"/>
                    <a:pt x="266" y="240"/>
                  </a:cubicBezTo>
                  <a:cubicBezTo>
                    <a:pt x="264" y="194"/>
                    <a:pt x="264" y="194"/>
                    <a:pt x="264" y="194"/>
                  </a:cubicBezTo>
                  <a:cubicBezTo>
                    <a:pt x="169" y="124"/>
                    <a:pt x="169" y="124"/>
                    <a:pt x="169" y="124"/>
                  </a:cubicBezTo>
                  <a:cubicBezTo>
                    <a:pt x="188" y="16"/>
                    <a:pt x="188" y="16"/>
                    <a:pt x="188" y="16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" name="Freeform 47"/>
            <p:cNvSpPr/>
            <p:nvPr/>
          </p:nvSpPr>
          <p:spPr bwMode="auto">
            <a:xfrm>
              <a:off x="1069975" y="2279650"/>
              <a:ext cx="157163" cy="158750"/>
            </a:xfrm>
            <a:custGeom>
              <a:avLst/>
              <a:gdLst/>
              <a:ahLst/>
              <a:cxnLst>
                <a:cxn ang="0">
                  <a:pos x="260" y="24"/>
                </a:cxn>
                <a:cxn ang="0">
                  <a:pos x="165" y="32"/>
                </a:cxn>
                <a:cxn ang="0">
                  <a:pos x="121" y="111"/>
                </a:cxn>
                <a:cxn ang="0">
                  <a:pos x="80" y="139"/>
                </a:cxn>
                <a:cxn ang="0">
                  <a:pos x="60" y="168"/>
                </a:cxn>
                <a:cxn ang="0">
                  <a:pos x="16" y="176"/>
                </a:cxn>
                <a:cxn ang="0">
                  <a:pos x="44" y="204"/>
                </a:cxn>
                <a:cxn ang="0">
                  <a:pos x="44" y="208"/>
                </a:cxn>
                <a:cxn ang="0">
                  <a:pos x="34" y="255"/>
                </a:cxn>
                <a:cxn ang="0">
                  <a:pos x="80" y="248"/>
                </a:cxn>
                <a:cxn ang="0">
                  <a:pos x="84" y="260"/>
                </a:cxn>
                <a:cxn ang="0">
                  <a:pos x="52" y="264"/>
                </a:cxn>
                <a:cxn ang="0">
                  <a:pos x="52" y="276"/>
                </a:cxn>
                <a:cxn ang="0">
                  <a:pos x="0" y="264"/>
                </a:cxn>
                <a:cxn ang="0">
                  <a:pos x="40" y="328"/>
                </a:cxn>
                <a:cxn ang="0">
                  <a:pos x="76" y="372"/>
                </a:cxn>
                <a:cxn ang="0">
                  <a:pos x="104" y="396"/>
                </a:cxn>
                <a:cxn ang="0">
                  <a:pos x="136" y="416"/>
                </a:cxn>
                <a:cxn ang="0">
                  <a:pos x="136" y="420"/>
                </a:cxn>
                <a:cxn ang="0">
                  <a:pos x="76" y="440"/>
                </a:cxn>
                <a:cxn ang="0">
                  <a:pos x="160" y="460"/>
                </a:cxn>
                <a:cxn ang="0">
                  <a:pos x="256" y="506"/>
                </a:cxn>
                <a:cxn ang="0">
                  <a:pos x="344" y="548"/>
                </a:cxn>
                <a:cxn ang="0">
                  <a:pos x="377" y="498"/>
                </a:cxn>
                <a:cxn ang="0">
                  <a:pos x="493" y="399"/>
                </a:cxn>
                <a:cxn ang="0">
                  <a:pos x="499" y="353"/>
                </a:cxn>
                <a:cxn ang="0">
                  <a:pos x="540" y="335"/>
                </a:cxn>
                <a:cxn ang="0">
                  <a:pos x="552" y="272"/>
                </a:cxn>
                <a:cxn ang="0">
                  <a:pos x="516" y="292"/>
                </a:cxn>
                <a:cxn ang="0">
                  <a:pos x="512" y="236"/>
                </a:cxn>
                <a:cxn ang="0">
                  <a:pos x="512" y="232"/>
                </a:cxn>
                <a:cxn ang="0">
                  <a:pos x="500" y="180"/>
                </a:cxn>
                <a:cxn ang="0">
                  <a:pos x="500" y="176"/>
                </a:cxn>
                <a:cxn ang="0">
                  <a:pos x="468" y="168"/>
                </a:cxn>
                <a:cxn ang="0">
                  <a:pos x="488" y="132"/>
                </a:cxn>
                <a:cxn ang="0">
                  <a:pos x="388" y="12"/>
                </a:cxn>
                <a:cxn ang="0">
                  <a:pos x="324" y="8"/>
                </a:cxn>
                <a:cxn ang="0">
                  <a:pos x="260" y="24"/>
                </a:cxn>
              </a:cxnLst>
              <a:rect l="0" t="0" r="r" b="b"/>
              <a:pathLst>
                <a:path w="552" h="554">
                  <a:moveTo>
                    <a:pt x="260" y="24"/>
                  </a:moveTo>
                  <a:cubicBezTo>
                    <a:pt x="165" y="32"/>
                    <a:pt x="165" y="32"/>
                    <a:pt x="165" y="32"/>
                  </a:cubicBezTo>
                  <a:cubicBezTo>
                    <a:pt x="121" y="111"/>
                    <a:pt x="121" y="111"/>
                    <a:pt x="121" y="111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60" y="168"/>
                    <a:pt x="60" y="168"/>
                    <a:pt x="60" y="168"/>
                  </a:cubicBezTo>
                  <a:cubicBezTo>
                    <a:pt x="16" y="176"/>
                    <a:pt x="16" y="176"/>
                    <a:pt x="16" y="176"/>
                  </a:cubicBezTo>
                  <a:cubicBezTo>
                    <a:pt x="21" y="193"/>
                    <a:pt x="28" y="200"/>
                    <a:pt x="44" y="204"/>
                  </a:cubicBezTo>
                  <a:cubicBezTo>
                    <a:pt x="44" y="208"/>
                    <a:pt x="44" y="208"/>
                    <a:pt x="44" y="208"/>
                  </a:cubicBezTo>
                  <a:cubicBezTo>
                    <a:pt x="30" y="214"/>
                    <a:pt x="15" y="245"/>
                    <a:pt x="34" y="255"/>
                  </a:cubicBezTo>
                  <a:cubicBezTo>
                    <a:pt x="47" y="262"/>
                    <a:pt x="68" y="254"/>
                    <a:pt x="80" y="248"/>
                  </a:cubicBezTo>
                  <a:cubicBezTo>
                    <a:pt x="84" y="260"/>
                    <a:pt x="84" y="260"/>
                    <a:pt x="84" y="260"/>
                  </a:cubicBezTo>
                  <a:cubicBezTo>
                    <a:pt x="52" y="264"/>
                    <a:pt x="52" y="264"/>
                    <a:pt x="52" y="264"/>
                  </a:cubicBezTo>
                  <a:cubicBezTo>
                    <a:pt x="52" y="276"/>
                    <a:pt x="52" y="276"/>
                    <a:pt x="52" y="276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40" y="328"/>
                    <a:pt x="40" y="328"/>
                    <a:pt x="40" y="328"/>
                  </a:cubicBezTo>
                  <a:cubicBezTo>
                    <a:pt x="64" y="326"/>
                    <a:pt x="110" y="350"/>
                    <a:pt x="76" y="372"/>
                  </a:cubicBezTo>
                  <a:cubicBezTo>
                    <a:pt x="104" y="396"/>
                    <a:pt x="104" y="396"/>
                    <a:pt x="104" y="396"/>
                  </a:cubicBezTo>
                  <a:cubicBezTo>
                    <a:pt x="108" y="411"/>
                    <a:pt x="122" y="414"/>
                    <a:pt x="136" y="416"/>
                  </a:cubicBezTo>
                  <a:cubicBezTo>
                    <a:pt x="136" y="420"/>
                    <a:pt x="136" y="420"/>
                    <a:pt x="136" y="420"/>
                  </a:cubicBezTo>
                  <a:cubicBezTo>
                    <a:pt x="115" y="423"/>
                    <a:pt x="89" y="421"/>
                    <a:pt x="76" y="440"/>
                  </a:cubicBezTo>
                  <a:cubicBezTo>
                    <a:pt x="160" y="460"/>
                    <a:pt x="160" y="460"/>
                    <a:pt x="160" y="460"/>
                  </a:cubicBezTo>
                  <a:cubicBezTo>
                    <a:pt x="165" y="484"/>
                    <a:pt x="235" y="494"/>
                    <a:pt x="256" y="506"/>
                  </a:cubicBezTo>
                  <a:cubicBezTo>
                    <a:pt x="280" y="519"/>
                    <a:pt x="316" y="554"/>
                    <a:pt x="344" y="548"/>
                  </a:cubicBezTo>
                  <a:cubicBezTo>
                    <a:pt x="366" y="543"/>
                    <a:pt x="361" y="509"/>
                    <a:pt x="377" y="498"/>
                  </a:cubicBezTo>
                  <a:cubicBezTo>
                    <a:pt x="412" y="473"/>
                    <a:pt x="469" y="436"/>
                    <a:pt x="493" y="399"/>
                  </a:cubicBezTo>
                  <a:cubicBezTo>
                    <a:pt x="502" y="385"/>
                    <a:pt x="491" y="367"/>
                    <a:pt x="499" y="353"/>
                  </a:cubicBezTo>
                  <a:cubicBezTo>
                    <a:pt x="509" y="336"/>
                    <a:pt x="528" y="346"/>
                    <a:pt x="540" y="335"/>
                  </a:cubicBezTo>
                  <a:cubicBezTo>
                    <a:pt x="550" y="326"/>
                    <a:pt x="551" y="287"/>
                    <a:pt x="552" y="272"/>
                  </a:cubicBezTo>
                  <a:cubicBezTo>
                    <a:pt x="533" y="269"/>
                    <a:pt x="519" y="270"/>
                    <a:pt x="516" y="292"/>
                  </a:cubicBezTo>
                  <a:cubicBezTo>
                    <a:pt x="457" y="314"/>
                    <a:pt x="494" y="265"/>
                    <a:pt x="512" y="236"/>
                  </a:cubicBezTo>
                  <a:cubicBezTo>
                    <a:pt x="512" y="232"/>
                    <a:pt x="512" y="232"/>
                    <a:pt x="512" y="232"/>
                  </a:cubicBezTo>
                  <a:cubicBezTo>
                    <a:pt x="499" y="217"/>
                    <a:pt x="492" y="200"/>
                    <a:pt x="500" y="180"/>
                  </a:cubicBezTo>
                  <a:cubicBezTo>
                    <a:pt x="500" y="176"/>
                    <a:pt x="500" y="176"/>
                    <a:pt x="500" y="176"/>
                  </a:cubicBezTo>
                  <a:cubicBezTo>
                    <a:pt x="468" y="168"/>
                    <a:pt x="468" y="168"/>
                    <a:pt x="468" y="168"/>
                  </a:cubicBezTo>
                  <a:cubicBezTo>
                    <a:pt x="488" y="132"/>
                    <a:pt x="488" y="132"/>
                    <a:pt x="488" y="132"/>
                  </a:cubicBezTo>
                  <a:cubicBezTo>
                    <a:pt x="448" y="101"/>
                    <a:pt x="431" y="38"/>
                    <a:pt x="388" y="12"/>
                  </a:cubicBezTo>
                  <a:cubicBezTo>
                    <a:pt x="371" y="3"/>
                    <a:pt x="343" y="8"/>
                    <a:pt x="324" y="8"/>
                  </a:cubicBezTo>
                  <a:cubicBezTo>
                    <a:pt x="303" y="8"/>
                    <a:pt x="268" y="0"/>
                    <a:pt x="260" y="24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" name="Freeform 48"/>
            <p:cNvSpPr/>
            <p:nvPr/>
          </p:nvSpPr>
          <p:spPr bwMode="auto">
            <a:xfrm>
              <a:off x="1573213" y="2220913"/>
              <a:ext cx="222250" cy="320675"/>
            </a:xfrm>
            <a:custGeom>
              <a:avLst/>
              <a:gdLst/>
              <a:ahLst/>
              <a:cxnLst>
                <a:cxn ang="0">
                  <a:pos x="463" y="47"/>
                </a:cxn>
                <a:cxn ang="0">
                  <a:pos x="455" y="47"/>
                </a:cxn>
                <a:cxn ang="0">
                  <a:pos x="391" y="32"/>
                </a:cxn>
                <a:cxn ang="0">
                  <a:pos x="203" y="35"/>
                </a:cxn>
                <a:cxn ang="0">
                  <a:pos x="131" y="43"/>
                </a:cxn>
                <a:cxn ang="0">
                  <a:pos x="127" y="43"/>
                </a:cxn>
                <a:cxn ang="0">
                  <a:pos x="63" y="73"/>
                </a:cxn>
                <a:cxn ang="0">
                  <a:pos x="76" y="163"/>
                </a:cxn>
                <a:cxn ang="0">
                  <a:pos x="83" y="203"/>
                </a:cxn>
                <a:cxn ang="0">
                  <a:pos x="81" y="279"/>
                </a:cxn>
                <a:cxn ang="0">
                  <a:pos x="98" y="323"/>
                </a:cxn>
                <a:cxn ang="0">
                  <a:pos x="107" y="387"/>
                </a:cxn>
                <a:cxn ang="0">
                  <a:pos x="128" y="515"/>
                </a:cxn>
                <a:cxn ang="0">
                  <a:pos x="81" y="569"/>
                </a:cxn>
                <a:cxn ang="0">
                  <a:pos x="44" y="695"/>
                </a:cxn>
                <a:cxn ang="0">
                  <a:pos x="0" y="800"/>
                </a:cxn>
                <a:cxn ang="0">
                  <a:pos x="26" y="891"/>
                </a:cxn>
                <a:cxn ang="0">
                  <a:pos x="45" y="966"/>
                </a:cxn>
                <a:cxn ang="0">
                  <a:pos x="83" y="988"/>
                </a:cxn>
                <a:cxn ang="0">
                  <a:pos x="87" y="1055"/>
                </a:cxn>
                <a:cxn ang="0">
                  <a:pos x="47" y="1075"/>
                </a:cxn>
                <a:cxn ang="0">
                  <a:pos x="159" y="1099"/>
                </a:cxn>
                <a:cxn ang="0">
                  <a:pos x="223" y="1122"/>
                </a:cxn>
                <a:cxn ang="0">
                  <a:pos x="291" y="1082"/>
                </a:cxn>
                <a:cxn ang="0">
                  <a:pos x="431" y="1043"/>
                </a:cxn>
                <a:cxn ang="0">
                  <a:pos x="675" y="951"/>
                </a:cxn>
                <a:cxn ang="0">
                  <a:pos x="603" y="887"/>
                </a:cxn>
                <a:cxn ang="0">
                  <a:pos x="687" y="951"/>
                </a:cxn>
                <a:cxn ang="0">
                  <a:pos x="738" y="940"/>
                </a:cxn>
                <a:cxn ang="0">
                  <a:pos x="775" y="903"/>
                </a:cxn>
                <a:cxn ang="0">
                  <a:pos x="747" y="847"/>
                </a:cxn>
                <a:cxn ang="0">
                  <a:pos x="695" y="823"/>
                </a:cxn>
                <a:cxn ang="0">
                  <a:pos x="703" y="803"/>
                </a:cxn>
                <a:cxn ang="0">
                  <a:pos x="683" y="799"/>
                </a:cxn>
                <a:cxn ang="0">
                  <a:pos x="659" y="739"/>
                </a:cxn>
                <a:cxn ang="0">
                  <a:pos x="659" y="655"/>
                </a:cxn>
                <a:cxn ang="0">
                  <a:pos x="699" y="507"/>
                </a:cxn>
                <a:cxn ang="0">
                  <a:pos x="699" y="503"/>
                </a:cxn>
                <a:cxn ang="0">
                  <a:pos x="635" y="431"/>
                </a:cxn>
                <a:cxn ang="0">
                  <a:pos x="651" y="373"/>
                </a:cxn>
                <a:cxn ang="0">
                  <a:pos x="667" y="311"/>
                </a:cxn>
                <a:cxn ang="0">
                  <a:pos x="611" y="307"/>
                </a:cxn>
                <a:cxn ang="0">
                  <a:pos x="645" y="227"/>
                </a:cxn>
                <a:cxn ang="0">
                  <a:pos x="559" y="103"/>
                </a:cxn>
                <a:cxn ang="0">
                  <a:pos x="583" y="23"/>
                </a:cxn>
                <a:cxn ang="0">
                  <a:pos x="463" y="47"/>
                </a:cxn>
              </a:cxnLst>
              <a:rect l="0" t="0" r="r" b="b"/>
              <a:pathLst>
                <a:path w="775" h="1128">
                  <a:moveTo>
                    <a:pt x="463" y="47"/>
                  </a:moveTo>
                  <a:cubicBezTo>
                    <a:pt x="455" y="47"/>
                    <a:pt x="455" y="47"/>
                    <a:pt x="455" y="47"/>
                  </a:cubicBezTo>
                  <a:cubicBezTo>
                    <a:pt x="443" y="30"/>
                    <a:pt x="411" y="33"/>
                    <a:pt x="391" y="32"/>
                  </a:cubicBezTo>
                  <a:cubicBezTo>
                    <a:pt x="329" y="29"/>
                    <a:pt x="266" y="35"/>
                    <a:pt x="203" y="35"/>
                  </a:cubicBezTo>
                  <a:cubicBezTo>
                    <a:pt x="184" y="35"/>
                    <a:pt x="145" y="28"/>
                    <a:pt x="131" y="43"/>
                  </a:cubicBezTo>
                  <a:cubicBezTo>
                    <a:pt x="127" y="43"/>
                    <a:pt x="127" y="43"/>
                    <a:pt x="127" y="43"/>
                  </a:cubicBezTo>
                  <a:cubicBezTo>
                    <a:pt x="100" y="12"/>
                    <a:pt x="72" y="49"/>
                    <a:pt x="63" y="73"/>
                  </a:cubicBezTo>
                  <a:cubicBezTo>
                    <a:pt x="47" y="113"/>
                    <a:pt x="68" y="127"/>
                    <a:pt x="76" y="163"/>
                  </a:cubicBezTo>
                  <a:cubicBezTo>
                    <a:pt x="80" y="178"/>
                    <a:pt x="71" y="193"/>
                    <a:pt x="83" y="203"/>
                  </a:cubicBezTo>
                  <a:cubicBezTo>
                    <a:pt x="80" y="225"/>
                    <a:pt x="75" y="258"/>
                    <a:pt x="81" y="279"/>
                  </a:cubicBezTo>
                  <a:cubicBezTo>
                    <a:pt x="85" y="295"/>
                    <a:pt x="97" y="307"/>
                    <a:pt x="98" y="323"/>
                  </a:cubicBezTo>
                  <a:cubicBezTo>
                    <a:pt x="100" y="349"/>
                    <a:pt x="64" y="382"/>
                    <a:pt x="107" y="387"/>
                  </a:cubicBezTo>
                  <a:cubicBezTo>
                    <a:pt x="128" y="515"/>
                    <a:pt x="128" y="515"/>
                    <a:pt x="128" y="515"/>
                  </a:cubicBezTo>
                  <a:cubicBezTo>
                    <a:pt x="81" y="569"/>
                    <a:pt x="81" y="569"/>
                    <a:pt x="81" y="569"/>
                  </a:cubicBezTo>
                  <a:cubicBezTo>
                    <a:pt x="44" y="695"/>
                    <a:pt x="44" y="695"/>
                    <a:pt x="44" y="695"/>
                  </a:cubicBezTo>
                  <a:cubicBezTo>
                    <a:pt x="0" y="800"/>
                    <a:pt x="0" y="800"/>
                    <a:pt x="0" y="800"/>
                  </a:cubicBezTo>
                  <a:cubicBezTo>
                    <a:pt x="26" y="891"/>
                    <a:pt x="26" y="891"/>
                    <a:pt x="26" y="891"/>
                  </a:cubicBezTo>
                  <a:cubicBezTo>
                    <a:pt x="45" y="966"/>
                    <a:pt x="45" y="966"/>
                    <a:pt x="45" y="966"/>
                  </a:cubicBezTo>
                  <a:cubicBezTo>
                    <a:pt x="83" y="988"/>
                    <a:pt x="83" y="988"/>
                    <a:pt x="83" y="988"/>
                  </a:cubicBezTo>
                  <a:cubicBezTo>
                    <a:pt x="87" y="1055"/>
                    <a:pt x="87" y="1055"/>
                    <a:pt x="87" y="1055"/>
                  </a:cubicBezTo>
                  <a:cubicBezTo>
                    <a:pt x="70" y="1059"/>
                    <a:pt x="53" y="1057"/>
                    <a:pt x="47" y="1075"/>
                  </a:cubicBezTo>
                  <a:cubicBezTo>
                    <a:pt x="83" y="1080"/>
                    <a:pt x="126" y="1086"/>
                    <a:pt x="159" y="1099"/>
                  </a:cubicBezTo>
                  <a:cubicBezTo>
                    <a:pt x="183" y="1109"/>
                    <a:pt x="195" y="1128"/>
                    <a:pt x="223" y="1122"/>
                  </a:cubicBezTo>
                  <a:cubicBezTo>
                    <a:pt x="250" y="1117"/>
                    <a:pt x="267" y="1091"/>
                    <a:pt x="291" y="1082"/>
                  </a:cubicBezTo>
                  <a:cubicBezTo>
                    <a:pt x="335" y="1064"/>
                    <a:pt x="390" y="1063"/>
                    <a:pt x="431" y="1043"/>
                  </a:cubicBezTo>
                  <a:cubicBezTo>
                    <a:pt x="513" y="1005"/>
                    <a:pt x="584" y="951"/>
                    <a:pt x="675" y="951"/>
                  </a:cubicBezTo>
                  <a:cubicBezTo>
                    <a:pt x="675" y="900"/>
                    <a:pt x="635" y="912"/>
                    <a:pt x="603" y="887"/>
                  </a:cubicBezTo>
                  <a:cubicBezTo>
                    <a:pt x="647" y="891"/>
                    <a:pt x="687" y="900"/>
                    <a:pt x="687" y="951"/>
                  </a:cubicBezTo>
                  <a:cubicBezTo>
                    <a:pt x="738" y="940"/>
                    <a:pt x="738" y="940"/>
                    <a:pt x="738" y="940"/>
                  </a:cubicBezTo>
                  <a:cubicBezTo>
                    <a:pt x="775" y="903"/>
                    <a:pt x="775" y="903"/>
                    <a:pt x="775" y="903"/>
                  </a:cubicBezTo>
                  <a:cubicBezTo>
                    <a:pt x="747" y="847"/>
                    <a:pt x="747" y="847"/>
                    <a:pt x="747" y="847"/>
                  </a:cubicBezTo>
                  <a:cubicBezTo>
                    <a:pt x="695" y="823"/>
                    <a:pt x="695" y="823"/>
                    <a:pt x="695" y="823"/>
                  </a:cubicBezTo>
                  <a:cubicBezTo>
                    <a:pt x="703" y="803"/>
                    <a:pt x="703" y="803"/>
                    <a:pt x="703" y="803"/>
                  </a:cubicBezTo>
                  <a:cubicBezTo>
                    <a:pt x="683" y="799"/>
                    <a:pt x="683" y="799"/>
                    <a:pt x="683" y="799"/>
                  </a:cubicBezTo>
                  <a:cubicBezTo>
                    <a:pt x="659" y="739"/>
                    <a:pt x="659" y="739"/>
                    <a:pt x="659" y="739"/>
                  </a:cubicBezTo>
                  <a:cubicBezTo>
                    <a:pt x="691" y="730"/>
                    <a:pt x="694" y="665"/>
                    <a:pt x="659" y="655"/>
                  </a:cubicBezTo>
                  <a:cubicBezTo>
                    <a:pt x="673" y="607"/>
                    <a:pt x="662" y="539"/>
                    <a:pt x="699" y="507"/>
                  </a:cubicBezTo>
                  <a:cubicBezTo>
                    <a:pt x="699" y="503"/>
                    <a:pt x="699" y="503"/>
                    <a:pt x="699" y="503"/>
                  </a:cubicBezTo>
                  <a:cubicBezTo>
                    <a:pt x="635" y="431"/>
                    <a:pt x="635" y="431"/>
                    <a:pt x="635" y="431"/>
                  </a:cubicBezTo>
                  <a:cubicBezTo>
                    <a:pt x="674" y="416"/>
                    <a:pt x="647" y="400"/>
                    <a:pt x="651" y="373"/>
                  </a:cubicBezTo>
                  <a:cubicBezTo>
                    <a:pt x="655" y="352"/>
                    <a:pt x="663" y="332"/>
                    <a:pt x="667" y="311"/>
                  </a:cubicBezTo>
                  <a:cubicBezTo>
                    <a:pt x="646" y="296"/>
                    <a:pt x="635" y="294"/>
                    <a:pt x="611" y="307"/>
                  </a:cubicBezTo>
                  <a:cubicBezTo>
                    <a:pt x="612" y="274"/>
                    <a:pt x="637" y="257"/>
                    <a:pt x="645" y="227"/>
                  </a:cubicBezTo>
                  <a:cubicBezTo>
                    <a:pt x="659" y="180"/>
                    <a:pt x="605" y="111"/>
                    <a:pt x="559" y="103"/>
                  </a:cubicBezTo>
                  <a:cubicBezTo>
                    <a:pt x="583" y="23"/>
                    <a:pt x="583" y="23"/>
                    <a:pt x="583" y="23"/>
                  </a:cubicBezTo>
                  <a:cubicBezTo>
                    <a:pt x="544" y="8"/>
                    <a:pt x="484" y="0"/>
                    <a:pt x="463" y="47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" name="Freeform 53"/>
            <p:cNvSpPr/>
            <p:nvPr/>
          </p:nvSpPr>
          <p:spPr bwMode="auto">
            <a:xfrm>
              <a:off x="1460500" y="2028825"/>
              <a:ext cx="398463" cy="284163"/>
            </a:xfrm>
            <a:custGeom>
              <a:avLst/>
              <a:gdLst/>
              <a:ahLst/>
              <a:cxnLst>
                <a:cxn ang="0">
                  <a:pos x="614" y="160"/>
                </a:cxn>
                <a:cxn ang="0">
                  <a:pos x="538" y="139"/>
                </a:cxn>
                <a:cxn ang="0">
                  <a:pos x="458" y="252"/>
                </a:cxn>
                <a:cxn ang="0">
                  <a:pos x="394" y="240"/>
                </a:cxn>
                <a:cxn ang="0">
                  <a:pos x="398" y="312"/>
                </a:cxn>
                <a:cxn ang="0">
                  <a:pos x="362" y="316"/>
                </a:cxn>
                <a:cxn ang="0">
                  <a:pos x="366" y="332"/>
                </a:cxn>
                <a:cxn ang="0">
                  <a:pos x="278" y="280"/>
                </a:cxn>
                <a:cxn ang="0">
                  <a:pos x="254" y="299"/>
                </a:cxn>
                <a:cxn ang="0">
                  <a:pos x="213" y="340"/>
                </a:cxn>
                <a:cxn ang="0">
                  <a:pos x="206" y="411"/>
                </a:cxn>
                <a:cxn ang="0">
                  <a:pos x="186" y="412"/>
                </a:cxn>
                <a:cxn ang="0">
                  <a:pos x="145" y="525"/>
                </a:cxn>
                <a:cxn ang="0">
                  <a:pos x="49" y="562"/>
                </a:cxn>
                <a:cxn ang="0">
                  <a:pos x="54" y="648"/>
                </a:cxn>
                <a:cxn ang="0">
                  <a:pos x="12" y="701"/>
                </a:cxn>
                <a:cxn ang="0">
                  <a:pos x="18" y="742"/>
                </a:cxn>
                <a:cxn ang="0">
                  <a:pos x="3" y="808"/>
                </a:cxn>
                <a:cxn ang="0">
                  <a:pos x="72" y="839"/>
                </a:cxn>
                <a:cxn ang="0">
                  <a:pos x="107" y="898"/>
                </a:cxn>
                <a:cxn ang="0">
                  <a:pos x="226" y="956"/>
                </a:cxn>
                <a:cxn ang="0">
                  <a:pos x="226" y="932"/>
                </a:cxn>
                <a:cxn ang="0">
                  <a:pos x="406" y="908"/>
                </a:cxn>
                <a:cxn ang="0">
                  <a:pos x="465" y="976"/>
                </a:cxn>
                <a:cxn ang="0">
                  <a:pos x="494" y="984"/>
                </a:cxn>
                <a:cxn ang="0">
                  <a:pos x="510" y="988"/>
                </a:cxn>
                <a:cxn ang="0">
                  <a:pos x="482" y="932"/>
                </a:cxn>
                <a:cxn ang="0">
                  <a:pos x="482" y="928"/>
                </a:cxn>
                <a:cxn ang="0">
                  <a:pos x="467" y="784"/>
                </a:cxn>
                <a:cxn ang="0">
                  <a:pos x="482" y="716"/>
                </a:cxn>
                <a:cxn ang="0">
                  <a:pos x="790" y="713"/>
                </a:cxn>
                <a:cxn ang="0">
                  <a:pos x="858" y="727"/>
                </a:cxn>
                <a:cxn ang="0">
                  <a:pos x="919" y="693"/>
                </a:cxn>
                <a:cxn ang="0">
                  <a:pos x="1050" y="728"/>
                </a:cxn>
                <a:cxn ang="0">
                  <a:pos x="1170" y="668"/>
                </a:cxn>
                <a:cxn ang="0">
                  <a:pos x="1206" y="660"/>
                </a:cxn>
                <a:cxn ang="0">
                  <a:pos x="1198" y="652"/>
                </a:cxn>
                <a:cxn ang="0">
                  <a:pos x="1198" y="648"/>
                </a:cxn>
                <a:cxn ang="0">
                  <a:pos x="1313" y="641"/>
                </a:cxn>
                <a:cxn ang="0">
                  <a:pos x="1341" y="620"/>
                </a:cxn>
                <a:cxn ang="0">
                  <a:pos x="1326" y="480"/>
                </a:cxn>
                <a:cxn ang="0">
                  <a:pos x="1326" y="476"/>
                </a:cxn>
                <a:cxn ang="0">
                  <a:pos x="1362" y="464"/>
                </a:cxn>
                <a:cxn ang="0">
                  <a:pos x="1351" y="432"/>
                </a:cxn>
                <a:cxn ang="0">
                  <a:pos x="1242" y="423"/>
                </a:cxn>
                <a:cxn ang="0">
                  <a:pos x="1142" y="360"/>
                </a:cxn>
                <a:cxn ang="0">
                  <a:pos x="1142" y="304"/>
                </a:cxn>
                <a:cxn ang="0">
                  <a:pos x="1190" y="308"/>
                </a:cxn>
                <a:cxn ang="0">
                  <a:pos x="1071" y="235"/>
                </a:cxn>
                <a:cxn ang="0">
                  <a:pos x="998" y="108"/>
                </a:cxn>
                <a:cxn ang="0">
                  <a:pos x="1002" y="52"/>
                </a:cxn>
                <a:cxn ang="0">
                  <a:pos x="1002" y="48"/>
                </a:cxn>
                <a:cxn ang="0">
                  <a:pos x="1006" y="16"/>
                </a:cxn>
                <a:cxn ang="0">
                  <a:pos x="854" y="0"/>
                </a:cxn>
                <a:cxn ang="0">
                  <a:pos x="778" y="47"/>
                </a:cxn>
                <a:cxn ang="0">
                  <a:pos x="730" y="63"/>
                </a:cxn>
                <a:cxn ang="0">
                  <a:pos x="678" y="95"/>
                </a:cxn>
                <a:cxn ang="0">
                  <a:pos x="621" y="110"/>
                </a:cxn>
                <a:cxn ang="0">
                  <a:pos x="614" y="160"/>
                </a:cxn>
              </a:cxnLst>
              <a:rect l="0" t="0" r="r" b="b"/>
              <a:pathLst>
                <a:path w="1398" h="995">
                  <a:moveTo>
                    <a:pt x="614" y="160"/>
                  </a:moveTo>
                  <a:cubicBezTo>
                    <a:pt x="588" y="157"/>
                    <a:pt x="564" y="138"/>
                    <a:pt x="538" y="139"/>
                  </a:cubicBezTo>
                  <a:cubicBezTo>
                    <a:pt x="482" y="141"/>
                    <a:pt x="458" y="207"/>
                    <a:pt x="458" y="252"/>
                  </a:cubicBezTo>
                  <a:cubicBezTo>
                    <a:pt x="394" y="240"/>
                    <a:pt x="394" y="240"/>
                    <a:pt x="394" y="24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362" y="316"/>
                    <a:pt x="362" y="316"/>
                    <a:pt x="362" y="316"/>
                  </a:cubicBezTo>
                  <a:cubicBezTo>
                    <a:pt x="366" y="332"/>
                    <a:pt x="366" y="332"/>
                    <a:pt x="366" y="332"/>
                  </a:cubicBezTo>
                  <a:cubicBezTo>
                    <a:pt x="344" y="324"/>
                    <a:pt x="297" y="277"/>
                    <a:pt x="278" y="280"/>
                  </a:cubicBezTo>
                  <a:cubicBezTo>
                    <a:pt x="268" y="281"/>
                    <a:pt x="261" y="293"/>
                    <a:pt x="254" y="299"/>
                  </a:cubicBezTo>
                  <a:cubicBezTo>
                    <a:pt x="241" y="311"/>
                    <a:pt x="217" y="322"/>
                    <a:pt x="213" y="340"/>
                  </a:cubicBezTo>
                  <a:cubicBezTo>
                    <a:pt x="208" y="364"/>
                    <a:pt x="258" y="405"/>
                    <a:pt x="206" y="411"/>
                  </a:cubicBezTo>
                  <a:cubicBezTo>
                    <a:pt x="199" y="412"/>
                    <a:pt x="192" y="412"/>
                    <a:pt x="186" y="412"/>
                  </a:cubicBezTo>
                  <a:cubicBezTo>
                    <a:pt x="192" y="455"/>
                    <a:pt x="195" y="502"/>
                    <a:pt x="145" y="525"/>
                  </a:cubicBezTo>
                  <a:cubicBezTo>
                    <a:pt x="115" y="539"/>
                    <a:pt x="69" y="528"/>
                    <a:pt x="49" y="562"/>
                  </a:cubicBezTo>
                  <a:cubicBezTo>
                    <a:pt x="33" y="588"/>
                    <a:pt x="62" y="619"/>
                    <a:pt x="54" y="648"/>
                  </a:cubicBezTo>
                  <a:cubicBezTo>
                    <a:pt x="47" y="677"/>
                    <a:pt x="21" y="681"/>
                    <a:pt x="12" y="701"/>
                  </a:cubicBezTo>
                  <a:cubicBezTo>
                    <a:pt x="7" y="714"/>
                    <a:pt x="18" y="728"/>
                    <a:pt x="18" y="742"/>
                  </a:cubicBezTo>
                  <a:cubicBezTo>
                    <a:pt x="17" y="763"/>
                    <a:pt x="0" y="787"/>
                    <a:pt x="3" y="808"/>
                  </a:cubicBezTo>
                  <a:cubicBezTo>
                    <a:pt x="10" y="855"/>
                    <a:pt x="50" y="823"/>
                    <a:pt x="72" y="839"/>
                  </a:cubicBezTo>
                  <a:cubicBezTo>
                    <a:pt x="89" y="851"/>
                    <a:pt x="95" y="881"/>
                    <a:pt x="107" y="898"/>
                  </a:cubicBezTo>
                  <a:cubicBezTo>
                    <a:pt x="132" y="934"/>
                    <a:pt x="181" y="956"/>
                    <a:pt x="226" y="956"/>
                  </a:cubicBezTo>
                  <a:cubicBezTo>
                    <a:pt x="226" y="932"/>
                    <a:pt x="226" y="932"/>
                    <a:pt x="226" y="932"/>
                  </a:cubicBezTo>
                  <a:cubicBezTo>
                    <a:pt x="280" y="910"/>
                    <a:pt x="347" y="882"/>
                    <a:pt x="406" y="908"/>
                  </a:cubicBezTo>
                  <a:cubicBezTo>
                    <a:pt x="438" y="921"/>
                    <a:pt x="445" y="951"/>
                    <a:pt x="465" y="976"/>
                  </a:cubicBezTo>
                  <a:cubicBezTo>
                    <a:pt x="473" y="986"/>
                    <a:pt x="484" y="995"/>
                    <a:pt x="494" y="984"/>
                  </a:cubicBezTo>
                  <a:cubicBezTo>
                    <a:pt x="510" y="988"/>
                    <a:pt x="510" y="988"/>
                    <a:pt x="510" y="988"/>
                  </a:cubicBezTo>
                  <a:cubicBezTo>
                    <a:pt x="482" y="932"/>
                    <a:pt x="482" y="932"/>
                    <a:pt x="482" y="932"/>
                  </a:cubicBezTo>
                  <a:cubicBezTo>
                    <a:pt x="482" y="928"/>
                    <a:pt x="482" y="928"/>
                    <a:pt x="482" y="928"/>
                  </a:cubicBezTo>
                  <a:cubicBezTo>
                    <a:pt x="509" y="885"/>
                    <a:pt x="472" y="826"/>
                    <a:pt x="467" y="784"/>
                  </a:cubicBezTo>
                  <a:cubicBezTo>
                    <a:pt x="463" y="758"/>
                    <a:pt x="479" y="740"/>
                    <a:pt x="482" y="716"/>
                  </a:cubicBezTo>
                  <a:cubicBezTo>
                    <a:pt x="585" y="716"/>
                    <a:pt x="688" y="713"/>
                    <a:pt x="790" y="713"/>
                  </a:cubicBezTo>
                  <a:cubicBezTo>
                    <a:pt x="813" y="713"/>
                    <a:pt x="837" y="727"/>
                    <a:pt x="858" y="727"/>
                  </a:cubicBezTo>
                  <a:cubicBezTo>
                    <a:pt x="879" y="727"/>
                    <a:pt x="897" y="698"/>
                    <a:pt x="919" y="693"/>
                  </a:cubicBezTo>
                  <a:cubicBezTo>
                    <a:pt x="948" y="687"/>
                    <a:pt x="1035" y="700"/>
                    <a:pt x="1050" y="728"/>
                  </a:cubicBezTo>
                  <a:cubicBezTo>
                    <a:pt x="1095" y="713"/>
                    <a:pt x="1149" y="720"/>
                    <a:pt x="1170" y="668"/>
                  </a:cubicBezTo>
                  <a:cubicBezTo>
                    <a:pt x="1206" y="660"/>
                    <a:pt x="1206" y="660"/>
                    <a:pt x="1206" y="660"/>
                  </a:cubicBezTo>
                  <a:cubicBezTo>
                    <a:pt x="1198" y="652"/>
                    <a:pt x="1198" y="652"/>
                    <a:pt x="1198" y="652"/>
                  </a:cubicBezTo>
                  <a:cubicBezTo>
                    <a:pt x="1198" y="648"/>
                    <a:pt x="1198" y="648"/>
                    <a:pt x="1198" y="648"/>
                  </a:cubicBezTo>
                  <a:cubicBezTo>
                    <a:pt x="1232" y="631"/>
                    <a:pt x="1275" y="652"/>
                    <a:pt x="1313" y="641"/>
                  </a:cubicBezTo>
                  <a:cubicBezTo>
                    <a:pt x="1324" y="638"/>
                    <a:pt x="1332" y="627"/>
                    <a:pt x="1341" y="620"/>
                  </a:cubicBezTo>
                  <a:cubicBezTo>
                    <a:pt x="1398" y="574"/>
                    <a:pt x="1374" y="524"/>
                    <a:pt x="1326" y="480"/>
                  </a:cubicBezTo>
                  <a:cubicBezTo>
                    <a:pt x="1326" y="476"/>
                    <a:pt x="1326" y="476"/>
                    <a:pt x="1326" y="476"/>
                  </a:cubicBezTo>
                  <a:cubicBezTo>
                    <a:pt x="1362" y="464"/>
                    <a:pt x="1362" y="464"/>
                    <a:pt x="1362" y="464"/>
                  </a:cubicBezTo>
                  <a:cubicBezTo>
                    <a:pt x="1359" y="453"/>
                    <a:pt x="1356" y="442"/>
                    <a:pt x="1351" y="432"/>
                  </a:cubicBezTo>
                  <a:cubicBezTo>
                    <a:pt x="1328" y="384"/>
                    <a:pt x="1277" y="440"/>
                    <a:pt x="1242" y="423"/>
                  </a:cubicBezTo>
                  <a:cubicBezTo>
                    <a:pt x="1206" y="406"/>
                    <a:pt x="1184" y="363"/>
                    <a:pt x="1142" y="360"/>
                  </a:cubicBezTo>
                  <a:cubicBezTo>
                    <a:pt x="1142" y="304"/>
                    <a:pt x="1142" y="304"/>
                    <a:pt x="1142" y="304"/>
                  </a:cubicBezTo>
                  <a:cubicBezTo>
                    <a:pt x="1160" y="314"/>
                    <a:pt x="1171" y="314"/>
                    <a:pt x="1190" y="308"/>
                  </a:cubicBezTo>
                  <a:cubicBezTo>
                    <a:pt x="1173" y="266"/>
                    <a:pt x="1100" y="262"/>
                    <a:pt x="1071" y="235"/>
                  </a:cubicBezTo>
                  <a:cubicBezTo>
                    <a:pt x="1028" y="194"/>
                    <a:pt x="1051" y="137"/>
                    <a:pt x="998" y="108"/>
                  </a:cubicBezTo>
                  <a:cubicBezTo>
                    <a:pt x="1002" y="52"/>
                    <a:pt x="1002" y="52"/>
                    <a:pt x="1002" y="52"/>
                  </a:cubicBezTo>
                  <a:cubicBezTo>
                    <a:pt x="1002" y="48"/>
                    <a:pt x="1002" y="48"/>
                    <a:pt x="1002" y="48"/>
                  </a:cubicBezTo>
                  <a:cubicBezTo>
                    <a:pt x="1013" y="37"/>
                    <a:pt x="1011" y="30"/>
                    <a:pt x="1006" y="16"/>
                  </a:cubicBezTo>
                  <a:cubicBezTo>
                    <a:pt x="854" y="0"/>
                    <a:pt x="854" y="0"/>
                    <a:pt x="854" y="0"/>
                  </a:cubicBezTo>
                  <a:cubicBezTo>
                    <a:pt x="778" y="47"/>
                    <a:pt x="778" y="47"/>
                    <a:pt x="778" y="47"/>
                  </a:cubicBezTo>
                  <a:cubicBezTo>
                    <a:pt x="730" y="63"/>
                    <a:pt x="730" y="63"/>
                    <a:pt x="730" y="63"/>
                  </a:cubicBezTo>
                  <a:cubicBezTo>
                    <a:pt x="678" y="95"/>
                    <a:pt x="678" y="95"/>
                    <a:pt x="678" y="95"/>
                  </a:cubicBezTo>
                  <a:cubicBezTo>
                    <a:pt x="621" y="110"/>
                    <a:pt x="621" y="110"/>
                    <a:pt x="621" y="110"/>
                  </a:cubicBezTo>
                  <a:lnTo>
                    <a:pt x="614" y="1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" name="Freeform 54"/>
            <p:cNvSpPr/>
            <p:nvPr/>
          </p:nvSpPr>
          <p:spPr bwMode="auto">
            <a:xfrm>
              <a:off x="1308100" y="2246313"/>
              <a:ext cx="304800" cy="317500"/>
            </a:xfrm>
            <a:custGeom>
              <a:avLst/>
              <a:gdLst/>
              <a:ahLst/>
              <a:cxnLst>
                <a:cxn ang="0">
                  <a:pos x="380" y="28"/>
                </a:cxn>
                <a:cxn ang="0">
                  <a:pos x="340" y="8"/>
                </a:cxn>
                <a:cxn ang="0">
                  <a:pos x="340" y="60"/>
                </a:cxn>
                <a:cxn ang="0">
                  <a:pos x="284" y="100"/>
                </a:cxn>
                <a:cxn ang="0">
                  <a:pos x="164" y="52"/>
                </a:cxn>
                <a:cxn ang="0">
                  <a:pos x="112" y="92"/>
                </a:cxn>
                <a:cxn ang="0">
                  <a:pos x="80" y="124"/>
                </a:cxn>
                <a:cxn ang="0">
                  <a:pos x="82" y="164"/>
                </a:cxn>
                <a:cxn ang="0">
                  <a:pos x="124" y="240"/>
                </a:cxn>
                <a:cxn ang="0">
                  <a:pos x="148" y="284"/>
                </a:cxn>
                <a:cxn ang="0">
                  <a:pos x="148" y="288"/>
                </a:cxn>
                <a:cxn ang="0">
                  <a:pos x="118" y="341"/>
                </a:cxn>
                <a:cxn ang="0">
                  <a:pos x="154" y="364"/>
                </a:cxn>
                <a:cxn ang="0">
                  <a:pos x="160" y="408"/>
                </a:cxn>
                <a:cxn ang="0">
                  <a:pos x="66" y="393"/>
                </a:cxn>
                <a:cxn ang="0">
                  <a:pos x="104" y="448"/>
                </a:cxn>
                <a:cxn ang="0">
                  <a:pos x="112" y="468"/>
                </a:cxn>
                <a:cxn ang="0">
                  <a:pos x="72" y="548"/>
                </a:cxn>
                <a:cxn ang="0">
                  <a:pos x="20" y="544"/>
                </a:cxn>
                <a:cxn ang="0">
                  <a:pos x="43" y="680"/>
                </a:cxn>
                <a:cxn ang="0">
                  <a:pos x="0" y="736"/>
                </a:cxn>
                <a:cxn ang="0">
                  <a:pos x="68" y="776"/>
                </a:cxn>
                <a:cxn ang="0">
                  <a:pos x="123" y="783"/>
                </a:cxn>
                <a:cxn ang="0">
                  <a:pos x="149" y="836"/>
                </a:cxn>
                <a:cxn ang="0">
                  <a:pos x="196" y="857"/>
                </a:cxn>
                <a:cxn ang="0">
                  <a:pos x="212" y="936"/>
                </a:cxn>
                <a:cxn ang="0">
                  <a:pos x="212" y="940"/>
                </a:cxn>
                <a:cxn ang="0">
                  <a:pos x="176" y="1112"/>
                </a:cxn>
                <a:cxn ang="0">
                  <a:pos x="352" y="1048"/>
                </a:cxn>
                <a:cxn ang="0">
                  <a:pos x="380" y="1029"/>
                </a:cxn>
                <a:cxn ang="0">
                  <a:pos x="482" y="994"/>
                </a:cxn>
                <a:cxn ang="0">
                  <a:pos x="616" y="980"/>
                </a:cxn>
                <a:cxn ang="0">
                  <a:pos x="804" y="960"/>
                </a:cxn>
                <a:cxn ang="0">
                  <a:pos x="892" y="975"/>
                </a:cxn>
                <a:cxn ang="0">
                  <a:pos x="927" y="978"/>
                </a:cxn>
                <a:cxn ang="0">
                  <a:pos x="940" y="936"/>
                </a:cxn>
                <a:cxn ang="0">
                  <a:pos x="944" y="984"/>
                </a:cxn>
                <a:cxn ang="0">
                  <a:pos x="1021" y="976"/>
                </a:cxn>
                <a:cxn ang="0">
                  <a:pos x="1017" y="896"/>
                </a:cxn>
                <a:cxn ang="0">
                  <a:pos x="981" y="876"/>
                </a:cxn>
                <a:cxn ang="0">
                  <a:pos x="964" y="828"/>
                </a:cxn>
                <a:cxn ang="0">
                  <a:pos x="947" y="764"/>
                </a:cxn>
                <a:cxn ang="0">
                  <a:pos x="945" y="674"/>
                </a:cxn>
                <a:cxn ang="0">
                  <a:pos x="979" y="616"/>
                </a:cxn>
                <a:cxn ang="0">
                  <a:pos x="1009" y="510"/>
                </a:cxn>
                <a:cxn ang="0">
                  <a:pos x="1064" y="436"/>
                </a:cxn>
                <a:cxn ang="0">
                  <a:pos x="1051" y="332"/>
                </a:cxn>
                <a:cxn ang="0">
                  <a:pos x="1025" y="280"/>
                </a:cxn>
                <a:cxn ang="0">
                  <a:pos x="1040" y="228"/>
                </a:cxn>
                <a:cxn ang="0">
                  <a:pos x="956" y="153"/>
                </a:cxn>
                <a:cxn ang="0">
                  <a:pos x="800" y="154"/>
                </a:cxn>
                <a:cxn ang="0">
                  <a:pos x="748" y="192"/>
                </a:cxn>
                <a:cxn ang="0">
                  <a:pos x="668" y="172"/>
                </a:cxn>
                <a:cxn ang="0">
                  <a:pos x="642" y="131"/>
                </a:cxn>
                <a:cxn ang="0">
                  <a:pos x="609" y="76"/>
                </a:cxn>
                <a:cxn ang="0">
                  <a:pos x="540" y="60"/>
                </a:cxn>
                <a:cxn ang="0">
                  <a:pos x="544" y="52"/>
                </a:cxn>
                <a:cxn ang="0">
                  <a:pos x="472" y="62"/>
                </a:cxn>
                <a:cxn ang="0">
                  <a:pos x="433" y="87"/>
                </a:cxn>
                <a:cxn ang="0">
                  <a:pos x="420" y="0"/>
                </a:cxn>
                <a:cxn ang="0">
                  <a:pos x="380" y="28"/>
                </a:cxn>
              </a:cxnLst>
              <a:rect l="0" t="0" r="r" b="b"/>
              <a:pathLst>
                <a:path w="1066" h="1112">
                  <a:moveTo>
                    <a:pt x="380" y="28"/>
                  </a:moveTo>
                  <a:cubicBezTo>
                    <a:pt x="340" y="8"/>
                    <a:pt x="340" y="8"/>
                    <a:pt x="340" y="8"/>
                  </a:cubicBezTo>
                  <a:cubicBezTo>
                    <a:pt x="330" y="27"/>
                    <a:pt x="331" y="41"/>
                    <a:pt x="340" y="60"/>
                  </a:cubicBezTo>
                  <a:cubicBezTo>
                    <a:pt x="309" y="67"/>
                    <a:pt x="278" y="58"/>
                    <a:pt x="284" y="100"/>
                  </a:cubicBezTo>
                  <a:cubicBezTo>
                    <a:pt x="260" y="82"/>
                    <a:pt x="194" y="41"/>
                    <a:pt x="164" y="52"/>
                  </a:cubicBezTo>
                  <a:cubicBezTo>
                    <a:pt x="139" y="62"/>
                    <a:pt x="143" y="94"/>
                    <a:pt x="112" y="92"/>
                  </a:cubicBezTo>
                  <a:cubicBezTo>
                    <a:pt x="101" y="103"/>
                    <a:pt x="86" y="110"/>
                    <a:pt x="80" y="124"/>
                  </a:cubicBezTo>
                  <a:cubicBezTo>
                    <a:pt x="74" y="138"/>
                    <a:pt x="81" y="149"/>
                    <a:pt x="82" y="164"/>
                  </a:cubicBezTo>
                  <a:cubicBezTo>
                    <a:pt x="84" y="200"/>
                    <a:pt x="71" y="238"/>
                    <a:pt x="124" y="240"/>
                  </a:cubicBezTo>
                  <a:cubicBezTo>
                    <a:pt x="114" y="266"/>
                    <a:pt x="121" y="276"/>
                    <a:pt x="148" y="284"/>
                  </a:cubicBezTo>
                  <a:cubicBezTo>
                    <a:pt x="148" y="288"/>
                    <a:pt x="148" y="288"/>
                    <a:pt x="148" y="288"/>
                  </a:cubicBezTo>
                  <a:cubicBezTo>
                    <a:pt x="128" y="291"/>
                    <a:pt x="96" y="319"/>
                    <a:pt x="118" y="341"/>
                  </a:cubicBezTo>
                  <a:cubicBezTo>
                    <a:pt x="129" y="351"/>
                    <a:pt x="144" y="350"/>
                    <a:pt x="154" y="364"/>
                  </a:cubicBezTo>
                  <a:cubicBezTo>
                    <a:pt x="162" y="377"/>
                    <a:pt x="160" y="393"/>
                    <a:pt x="160" y="408"/>
                  </a:cubicBezTo>
                  <a:cubicBezTo>
                    <a:pt x="143" y="390"/>
                    <a:pt x="87" y="366"/>
                    <a:pt x="66" y="393"/>
                  </a:cubicBezTo>
                  <a:cubicBezTo>
                    <a:pt x="46" y="420"/>
                    <a:pt x="77" y="451"/>
                    <a:pt x="104" y="448"/>
                  </a:cubicBezTo>
                  <a:cubicBezTo>
                    <a:pt x="112" y="468"/>
                    <a:pt x="112" y="468"/>
                    <a:pt x="112" y="468"/>
                  </a:cubicBezTo>
                  <a:cubicBezTo>
                    <a:pt x="83" y="473"/>
                    <a:pt x="76" y="523"/>
                    <a:pt x="72" y="548"/>
                  </a:cubicBezTo>
                  <a:cubicBezTo>
                    <a:pt x="20" y="544"/>
                    <a:pt x="20" y="544"/>
                    <a:pt x="20" y="544"/>
                  </a:cubicBezTo>
                  <a:cubicBezTo>
                    <a:pt x="31" y="589"/>
                    <a:pt x="66" y="633"/>
                    <a:pt x="43" y="680"/>
                  </a:cubicBezTo>
                  <a:cubicBezTo>
                    <a:pt x="33" y="702"/>
                    <a:pt x="11" y="714"/>
                    <a:pt x="0" y="736"/>
                  </a:cubicBezTo>
                  <a:cubicBezTo>
                    <a:pt x="68" y="776"/>
                    <a:pt x="68" y="776"/>
                    <a:pt x="68" y="776"/>
                  </a:cubicBezTo>
                  <a:cubicBezTo>
                    <a:pt x="123" y="783"/>
                    <a:pt x="123" y="783"/>
                    <a:pt x="123" y="783"/>
                  </a:cubicBezTo>
                  <a:cubicBezTo>
                    <a:pt x="149" y="836"/>
                    <a:pt x="149" y="836"/>
                    <a:pt x="149" y="836"/>
                  </a:cubicBezTo>
                  <a:cubicBezTo>
                    <a:pt x="196" y="857"/>
                    <a:pt x="196" y="857"/>
                    <a:pt x="196" y="857"/>
                  </a:cubicBezTo>
                  <a:cubicBezTo>
                    <a:pt x="212" y="936"/>
                    <a:pt x="212" y="936"/>
                    <a:pt x="212" y="936"/>
                  </a:cubicBezTo>
                  <a:cubicBezTo>
                    <a:pt x="212" y="940"/>
                    <a:pt x="212" y="940"/>
                    <a:pt x="212" y="940"/>
                  </a:cubicBezTo>
                  <a:cubicBezTo>
                    <a:pt x="161" y="988"/>
                    <a:pt x="187" y="1050"/>
                    <a:pt x="176" y="1112"/>
                  </a:cubicBezTo>
                  <a:cubicBezTo>
                    <a:pt x="352" y="1048"/>
                    <a:pt x="352" y="1048"/>
                    <a:pt x="352" y="1048"/>
                  </a:cubicBezTo>
                  <a:cubicBezTo>
                    <a:pt x="380" y="1029"/>
                    <a:pt x="380" y="1029"/>
                    <a:pt x="380" y="1029"/>
                  </a:cubicBezTo>
                  <a:cubicBezTo>
                    <a:pt x="482" y="994"/>
                    <a:pt x="482" y="994"/>
                    <a:pt x="482" y="994"/>
                  </a:cubicBezTo>
                  <a:cubicBezTo>
                    <a:pt x="616" y="980"/>
                    <a:pt x="616" y="980"/>
                    <a:pt x="616" y="980"/>
                  </a:cubicBezTo>
                  <a:cubicBezTo>
                    <a:pt x="804" y="960"/>
                    <a:pt x="804" y="960"/>
                    <a:pt x="804" y="960"/>
                  </a:cubicBezTo>
                  <a:cubicBezTo>
                    <a:pt x="892" y="975"/>
                    <a:pt x="892" y="975"/>
                    <a:pt x="892" y="975"/>
                  </a:cubicBezTo>
                  <a:cubicBezTo>
                    <a:pt x="927" y="978"/>
                    <a:pt x="927" y="978"/>
                    <a:pt x="927" y="978"/>
                  </a:cubicBezTo>
                  <a:cubicBezTo>
                    <a:pt x="940" y="936"/>
                    <a:pt x="940" y="936"/>
                    <a:pt x="940" y="936"/>
                  </a:cubicBezTo>
                  <a:cubicBezTo>
                    <a:pt x="944" y="984"/>
                    <a:pt x="944" y="984"/>
                    <a:pt x="944" y="984"/>
                  </a:cubicBezTo>
                  <a:cubicBezTo>
                    <a:pt x="963" y="987"/>
                    <a:pt x="1005" y="990"/>
                    <a:pt x="1021" y="976"/>
                  </a:cubicBezTo>
                  <a:cubicBezTo>
                    <a:pt x="1028" y="970"/>
                    <a:pt x="1022" y="906"/>
                    <a:pt x="1017" y="896"/>
                  </a:cubicBezTo>
                  <a:cubicBezTo>
                    <a:pt x="1010" y="881"/>
                    <a:pt x="989" y="889"/>
                    <a:pt x="981" y="876"/>
                  </a:cubicBezTo>
                  <a:cubicBezTo>
                    <a:pt x="972" y="860"/>
                    <a:pt x="981" y="841"/>
                    <a:pt x="964" y="828"/>
                  </a:cubicBezTo>
                  <a:cubicBezTo>
                    <a:pt x="970" y="803"/>
                    <a:pt x="954" y="786"/>
                    <a:pt x="947" y="764"/>
                  </a:cubicBezTo>
                  <a:cubicBezTo>
                    <a:pt x="938" y="738"/>
                    <a:pt x="937" y="700"/>
                    <a:pt x="945" y="674"/>
                  </a:cubicBezTo>
                  <a:cubicBezTo>
                    <a:pt x="951" y="652"/>
                    <a:pt x="971" y="638"/>
                    <a:pt x="979" y="616"/>
                  </a:cubicBezTo>
                  <a:cubicBezTo>
                    <a:pt x="991" y="580"/>
                    <a:pt x="989" y="545"/>
                    <a:pt x="1009" y="510"/>
                  </a:cubicBezTo>
                  <a:cubicBezTo>
                    <a:pt x="1021" y="489"/>
                    <a:pt x="1063" y="460"/>
                    <a:pt x="1064" y="436"/>
                  </a:cubicBezTo>
                  <a:cubicBezTo>
                    <a:pt x="1066" y="407"/>
                    <a:pt x="1060" y="359"/>
                    <a:pt x="1051" y="332"/>
                  </a:cubicBezTo>
                  <a:cubicBezTo>
                    <a:pt x="1045" y="316"/>
                    <a:pt x="1027" y="296"/>
                    <a:pt x="1025" y="280"/>
                  </a:cubicBezTo>
                  <a:cubicBezTo>
                    <a:pt x="1024" y="265"/>
                    <a:pt x="1035" y="242"/>
                    <a:pt x="1040" y="228"/>
                  </a:cubicBezTo>
                  <a:cubicBezTo>
                    <a:pt x="996" y="220"/>
                    <a:pt x="989" y="179"/>
                    <a:pt x="956" y="153"/>
                  </a:cubicBezTo>
                  <a:cubicBezTo>
                    <a:pt x="915" y="122"/>
                    <a:pt x="842" y="135"/>
                    <a:pt x="800" y="154"/>
                  </a:cubicBezTo>
                  <a:cubicBezTo>
                    <a:pt x="775" y="166"/>
                    <a:pt x="753" y="159"/>
                    <a:pt x="748" y="192"/>
                  </a:cubicBezTo>
                  <a:cubicBezTo>
                    <a:pt x="668" y="172"/>
                    <a:pt x="668" y="172"/>
                    <a:pt x="668" y="172"/>
                  </a:cubicBezTo>
                  <a:cubicBezTo>
                    <a:pt x="671" y="151"/>
                    <a:pt x="653" y="146"/>
                    <a:pt x="642" y="131"/>
                  </a:cubicBezTo>
                  <a:cubicBezTo>
                    <a:pt x="630" y="116"/>
                    <a:pt x="625" y="88"/>
                    <a:pt x="609" y="76"/>
                  </a:cubicBezTo>
                  <a:cubicBezTo>
                    <a:pt x="592" y="64"/>
                    <a:pt x="560" y="68"/>
                    <a:pt x="540" y="60"/>
                  </a:cubicBezTo>
                  <a:cubicBezTo>
                    <a:pt x="544" y="52"/>
                    <a:pt x="544" y="52"/>
                    <a:pt x="544" y="52"/>
                  </a:cubicBezTo>
                  <a:cubicBezTo>
                    <a:pt x="523" y="43"/>
                    <a:pt x="491" y="48"/>
                    <a:pt x="472" y="62"/>
                  </a:cubicBezTo>
                  <a:cubicBezTo>
                    <a:pt x="462" y="71"/>
                    <a:pt x="450" y="97"/>
                    <a:pt x="433" y="87"/>
                  </a:cubicBezTo>
                  <a:cubicBezTo>
                    <a:pt x="422" y="80"/>
                    <a:pt x="424" y="16"/>
                    <a:pt x="420" y="0"/>
                  </a:cubicBezTo>
                  <a:cubicBezTo>
                    <a:pt x="399" y="0"/>
                    <a:pt x="374" y="1"/>
                    <a:pt x="380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" name="Freeform 55"/>
            <p:cNvSpPr>
              <a:spLocks noEditPoints="1"/>
            </p:cNvSpPr>
            <p:nvPr/>
          </p:nvSpPr>
          <p:spPr bwMode="auto">
            <a:xfrm>
              <a:off x="1166813" y="2354263"/>
              <a:ext cx="206375" cy="212725"/>
            </a:xfrm>
            <a:custGeom>
              <a:avLst/>
              <a:gdLst/>
              <a:ahLst/>
              <a:cxnLst>
                <a:cxn ang="0">
                  <a:pos x="0" y="283"/>
                </a:cxn>
                <a:cxn ang="0">
                  <a:pos x="108" y="371"/>
                </a:cxn>
                <a:cxn ang="0">
                  <a:pos x="176" y="423"/>
                </a:cxn>
                <a:cxn ang="0">
                  <a:pos x="232" y="464"/>
                </a:cxn>
                <a:cxn ang="0">
                  <a:pos x="384" y="605"/>
                </a:cxn>
                <a:cxn ang="0">
                  <a:pos x="536" y="685"/>
                </a:cxn>
                <a:cxn ang="0">
                  <a:pos x="613" y="715"/>
                </a:cxn>
                <a:cxn ang="0">
                  <a:pos x="675" y="738"/>
                </a:cxn>
                <a:cxn ang="0">
                  <a:pos x="684" y="624"/>
                </a:cxn>
                <a:cxn ang="0">
                  <a:pos x="720" y="559"/>
                </a:cxn>
                <a:cxn ang="0">
                  <a:pos x="704" y="551"/>
                </a:cxn>
                <a:cxn ang="0">
                  <a:pos x="712" y="475"/>
                </a:cxn>
                <a:cxn ang="0">
                  <a:pos x="648" y="459"/>
                </a:cxn>
                <a:cxn ang="0">
                  <a:pos x="522" y="367"/>
                </a:cxn>
                <a:cxn ang="0">
                  <a:pos x="545" y="322"/>
                </a:cxn>
                <a:cxn ang="0">
                  <a:pos x="559" y="251"/>
                </a:cxn>
                <a:cxn ang="0">
                  <a:pos x="510" y="156"/>
                </a:cxn>
                <a:cxn ang="0">
                  <a:pos x="480" y="187"/>
                </a:cxn>
                <a:cxn ang="0">
                  <a:pos x="425" y="231"/>
                </a:cxn>
                <a:cxn ang="0">
                  <a:pos x="360" y="199"/>
                </a:cxn>
                <a:cxn ang="0">
                  <a:pos x="360" y="183"/>
                </a:cxn>
                <a:cxn ang="0">
                  <a:pos x="368" y="99"/>
                </a:cxn>
                <a:cxn ang="0">
                  <a:pos x="338" y="26"/>
                </a:cxn>
                <a:cxn ang="0">
                  <a:pos x="214" y="16"/>
                </a:cxn>
                <a:cxn ang="0">
                  <a:pos x="197" y="66"/>
                </a:cxn>
                <a:cxn ang="0">
                  <a:pos x="154" y="89"/>
                </a:cxn>
                <a:cxn ang="0">
                  <a:pos x="142" y="138"/>
                </a:cxn>
                <a:cxn ang="0">
                  <a:pos x="30" y="238"/>
                </a:cxn>
                <a:cxn ang="0">
                  <a:pos x="0" y="283"/>
                </a:cxn>
                <a:cxn ang="0">
                  <a:pos x="568" y="11"/>
                </a:cxn>
                <a:cxn ang="0">
                  <a:pos x="572" y="15"/>
                </a:cxn>
                <a:cxn ang="0">
                  <a:pos x="568" y="11"/>
                </a:cxn>
              </a:cxnLst>
              <a:rect l="0" t="0" r="r" b="b"/>
              <a:pathLst>
                <a:path w="720" h="745">
                  <a:moveTo>
                    <a:pt x="0" y="283"/>
                  </a:moveTo>
                  <a:cubicBezTo>
                    <a:pt x="15" y="342"/>
                    <a:pt x="56" y="351"/>
                    <a:pt x="108" y="371"/>
                  </a:cubicBezTo>
                  <a:cubicBezTo>
                    <a:pt x="97" y="414"/>
                    <a:pt x="149" y="410"/>
                    <a:pt x="176" y="423"/>
                  </a:cubicBezTo>
                  <a:cubicBezTo>
                    <a:pt x="195" y="432"/>
                    <a:pt x="216" y="449"/>
                    <a:pt x="232" y="464"/>
                  </a:cubicBezTo>
                  <a:cubicBezTo>
                    <a:pt x="281" y="509"/>
                    <a:pt x="329" y="567"/>
                    <a:pt x="384" y="605"/>
                  </a:cubicBezTo>
                  <a:cubicBezTo>
                    <a:pt x="431" y="637"/>
                    <a:pt x="487" y="656"/>
                    <a:pt x="536" y="685"/>
                  </a:cubicBezTo>
                  <a:cubicBezTo>
                    <a:pt x="561" y="700"/>
                    <a:pt x="588" y="702"/>
                    <a:pt x="613" y="715"/>
                  </a:cubicBezTo>
                  <a:cubicBezTo>
                    <a:pt x="632" y="725"/>
                    <a:pt x="652" y="745"/>
                    <a:pt x="675" y="738"/>
                  </a:cubicBezTo>
                  <a:cubicBezTo>
                    <a:pt x="708" y="729"/>
                    <a:pt x="676" y="647"/>
                    <a:pt x="684" y="624"/>
                  </a:cubicBezTo>
                  <a:cubicBezTo>
                    <a:pt x="691" y="601"/>
                    <a:pt x="711" y="582"/>
                    <a:pt x="720" y="559"/>
                  </a:cubicBezTo>
                  <a:cubicBezTo>
                    <a:pt x="704" y="551"/>
                    <a:pt x="704" y="551"/>
                    <a:pt x="704" y="551"/>
                  </a:cubicBezTo>
                  <a:cubicBezTo>
                    <a:pt x="712" y="475"/>
                    <a:pt x="712" y="475"/>
                    <a:pt x="712" y="475"/>
                  </a:cubicBezTo>
                  <a:cubicBezTo>
                    <a:pt x="648" y="459"/>
                    <a:pt x="648" y="459"/>
                    <a:pt x="648" y="459"/>
                  </a:cubicBezTo>
                  <a:cubicBezTo>
                    <a:pt x="645" y="364"/>
                    <a:pt x="557" y="429"/>
                    <a:pt x="522" y="367"/>
                  </a:cubicBezTo>
                  <a:cubicBezTo>
                    <a:pt x="513" y="351"/>
                    <a:pt x="538" y="334"/>
                    <a:pt x="545" y="322"/>
                  </a:cubicBezTo>
                  <a:cubicBezTo>
                    <a:pt x="555" y="307"/>
                    <a:pt x="562" y="269"/>
                    <a:pt x="559" y="251"/>
                  </a:cubicBezTo>
                  <a:cubicBezTo>
                    <a:pt x="553" y="226"/>
                    <a:pt x="532" y="171"/>
                    <a:pt x="510" y="156"/>
                  </a:cubicBezTo>
                  <a:cubicBezTo>
                    <a:pt x="487" y="140"/>
                    <a:pt x="472" y="169"/>
                    <a:pt x="480" y="187"/>
                  </a:cubicBezTo>
                  <a:cubicBezTo>
                    <a:pt x="425" y="231"/>
                    <a:pt x="425" y="231"/>
                    <a:pt x="425" y="231"/>
                  </a:cubicBezTo>
                  <a:cubicBezTo>
                    <a:pt x="360" y="199"/>
                    <a:pt x="360" y="199"/>
                    <a:pt x="360" y="199"/>
                  </a:cubicBezTo>
                  <a:cubicBezTo>
                    <a:pt x="360" y="183"/>
                    <a:pt x="360" y="183"/>
                    <a:pt x="360" y="183"/>
                  </a:cubicBezTo>
                  <a:cubicBezTo>
                    <a:pt x="387" y="164"/>
                    <a:pt x="356" y="126"/>
                    <a:pt x="368" y="99"/>
                  </a:cubicBezTo>
                  <a:cubicBezTo>
                    <a:pt x="354" y="75"/>
                    <a:pt x="360" y="45"/>
                    <a:pt x="338" y="26"/>
                  </a:cubicBezTo>
                  <a:cubicBezTo>
                    <a:pt x="319" y="9"/>
                    <a:pt x="235" y="0"/>
                    <a:pt x="214" y="16"/>
                  </a:cubicBezTo>
                  <a:cubicBezTo>
                    <a:pt x="201" y="27"/>
                    <a:pt x="208" y="53"/>
                    <a:pt x="197" y="66"/>
                  </a:cubicBezTo>
                  <a:cubicBezTo>
                    <a:pt x="186" y="79"/>
                    <a:pt x="165" y="75"/>
                    <a:pt x="154" y="89"/>
                  </a:cubicBezTo>
                  <a:cubicBezTo>
                    <a:pt x="143" y="103"/>
                    <a:pt x="152" y="123"/>
                    <a:pt x="142" y="138"/>
                  </a:cubicBezTo>
                  <a:cubicBezTo>
                    <a:pt x="113" y="179"/>
                    <a:pt x="65" y="203"/>
                    <a:pt x="30" y="238"/>
                  </a:cubicBezTo>
                  <a:cubicBezTo>
                    <a:pt x="16" y="252"/>
                    <a:pt x="17" y="273"/>
                    <a:pt x="0" y="283"/>
                  </a:cubicBezTo>
                  <a:moveTo>
                    <a:pt x="568" y="11"/>
                  </a:moveTo>
                  <a:cubicBezTo>
                    <a:pt x="572" y="15"/>
                    <a:pt x="572" y="15"/>
                    <a:pt x="572" y="15"/>
                  </a:cubicBezTo>
                  <a:lnTo>
                    <a:pt x="568" y="1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" name="Freeform 56"/>
            <p:cNvSpPr/>
            <p:nvPr/>
          </p:nvSpPr>
          <p:spPr bwMode="auto">
            <a:xfrm>
              <a:off x="989013" y="2147888"/>
              <a:ext cx="371475" cy="274638"/>
            </a:xfrm>
            <a:custGeom>
              <a:avLst/>
              <a:gdLst/>
              <a:ahLst/>
              <a:cxnLst>
                <a:cxn ang="0">
                  <a:pos x="241" y="65"/>
                </a:cxn>
                <a:cxn ang="0">
                  <a:pos x="228" y="132"/>
                </a:cxn>
                <a:cxn ang="0">
                  <a:pos x="145" y="183"/>
                </a:cxn>
                <a:cxn ang="0">
                  <a:pos x="56" y="220"/>
                </a:cxn>
                <a:cxn ang="0">
                  <a:pos x="3" y="314"/>
                </a:cxn>
                <a:cxn ang="0">
                  <a:pos x="81" y="294"/>
                </a:cxn>
                <a:cxn ang="0">
                  <a:pos x="61" y="366"/>
                </a:cxn>
                <a:cxn ang="0">
                  <a:pos x="89" y="398"/>
                </a:cxn>
                <a:cxn ang="0">
                  <a:pos x="241" y="490"/>
                </a:cxn>
                <a:cxn ang="0">
                  <a:pos x="249" y="562"/>
                </a:cxn>
                <a:cxn ang="0">
                  <a:pos x="314" y="643"/>
                </a:cxn>
                <a:cxn ang="0">
                  <a:pos x="421" y="574"/>
                </a:cxn>
                <a:cxn ang="0">
                  <a:pos x="517" y="498"/>
                </a:cxn>
                <a:cxn ang="0">
                  <a:pos x="765" y="594"/>
                </a:cxn>
                <a:cxn ang="0">
                  <a:pos x="777" y="638"/>
                </a:cxn>
                <a:cxn ang="0">
                  <a:pos x="764" y="770"/>
                </a:cxn>
                <a:cxn ang="0">
                  <a:pos x="961" y="746"/>
                </a:cxn>
                <a:cxn ang="0">
                  <a:pos x="1033" y="962"/>
                </a:cxn>
                <a:cxn ang="0">
                  <a:pos x="1129" y="878"/>
                </a:cxn>
                <a:cxn ang="0">
                  <a:pos x="1141" y="902"/>
                </a:cxn>
                <a:cxn ang="0">
                  <a:pos x="1197" y="900"/>
                </a:cxn>
                <a:cxn ang="0">
                  <a:pos x="1213" y="834"/>
                </a:cxn>
                <a:cxn ang="0">
                  <a:pos x="1245" y="818"/>
                </a:cxn>
                <a:cxn ang="0">
                  <a:pos x="1193" y="738"/>
                </a:cxn>
                <a:cxn ang="0">
                  <a:pos x="1287" y="758"/>
                </a:cxn>
                <a:cxn ang="0">
                  <a:pos x="1281" y="634"/>
                </a:cxn>
                <a:cxn ang="0">
                  <a:pos x="1253" y="582"/>
                </a:cxn>
                <a:cxn ang="0">
                  <a:pos x="1241" y="450"/>
                </a:cxn>
                <a:cxn ang="0">
                  <a:pos x="1245" y="430"/>
                </a:cxn>
                <a:cxn ang="0">
                  <a:pos x="1176" y="293"/>
                </a:cxn>
                <a:cxn ang="0">
                  <a:pos x="1170" y="239"/>
                </a:cxn>
                <a:cxn ang="0">
                  <a:pos x="1113" y="202"/>
                </a:cxn>
                <a:cxn ang="0">
                  <a:pos x="1089" y="182"/>
                </a:cxn>
                <a:cxn ang="0">
                  <a:pos x="981" y="54"/>
                </a:cxn>
                <a:cxn ang="0">
                  <a:pos x="937" y="114"/>
                </a:cxn>
                <a:cxn ang="0">
                  <a:pos x="761" y="142"/>
                </a:cxn>
                <a:cxn ang="0">
                  <a:pos x="668" y="120"/>
                </a:cxn>
                <a:cxn ang="0">
                  <a:pos x="653" y="58"/>
                </a:cxn>
                <a:cxn ang="0">
                  <a:pos x="453" y="35"/>
                </a:cxn>
                <a:cxn ang="0">
                  <a:pos x="233" y="6"/>
                </a:cxn>
              </a:cxnLst>
              <a:rect l="0" t="0" r="r" b="b"/>
              <a:pathLst>
                <a:path w="1304" h="962">
                  <a:moveTo>
                    <a:pt x="233" y="6"/>
                  </a:moveTo>
                  <a:cubicBezTo>
                    <a:pt x="233" y="23"/>
                    <a:pt x="250" y="51"/>
                    <a:pt x="241" y="65"/>
                  </a:cubicBezTo>
                  <a:cubicBezTo>
                    <a:pt x="232" y="80"/>
                    <a:pt x="190" y="71"/>
                    <a:pt x="193" y="97"/>
                  </a:cubicBezTo>
                  <a:cubicBezTo>
                    <a:pt x="194" y="111"/>
                    <a:pt x="219" y="122"/>
                    <a:pt x="228" y="132"/>
                  </a:cubicBezTo>
                  <a:cubicBezTo>
                    <a:pt x="239" y="145"/>
                    <a:pt x="237" y="162"/>
                    <a:pt x="237" y="178"/>
                  </a:cubicBezTo>
                  <a:cubicBezTo>
                    <a:pt x="208" y="182"/>
                    <a:pt x="173" y="177"/>
                    <a:pt x="145" y="183"/>
                  </a:cubicBezTo>
                  <a:cubicBezTo>
                    <a:pt x="129" y="187"/>
                    <a:pt x="117" y="200"/>
                    <a:pt x="101" y="205"/>
                  </a:cubicBezTo>
                  <a:cubicBezTo>
                    <a:pt x="85" y="210"/>
                    <a:pt x="68" y="207"/>
                    <a:pt x="56" y="220"/>
                  </a:cubicBezTo>
                  <a:cubicBezTo>
                    <a:pt x="40" y="236"/>
                    <a:pt x="40" y="260"/>
                    <a:pt x="29" y="278"/>
                  </a:cubicBezTo>
                  <a:cubicBezTo>
                    <a:pt x="21" y="290"/>
                    <a:pt x="8" y="299"/>
                    <a:pt x="3" y="314"/>
                  </a:cubicBezTo>
                  <a:cubicBezTo>
                    <a:pt x="0" y="326"/>
                    <a:pt x="3" y="343"/>
                    <a:pt x="17" y="344"/>
                  </a:cubicBezTo>
                  <a:cubicBezTo>
                    <a:pt x="38" y="346"/>
                    <a:pt x="55" y="298"/>
                    <a:pt x="81" y="294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43" y="316"/>
                    <a:pt x="59" y="334"/>
                    <a:pt x="61" y="366"/>
                  </a:cubicBezTo>
                  <a:cubicBezTo>
                    <a:pt x="89" y="346"/>
                    <a:pt x="89" y="346"/>
                    <a:pt x="89" y="346"/>
                  </a:cubicBezTo>
                  <a:cubicBezTo>
                    <a:pt x="78" y="363"/>
                    <a:pt x="59" y="393"/>
                    <a:pt x="89" y="398"/>
                  </a:cubicBezTo>
                  <a:cubicBezTo>
                    <a:pt x="105" y="453"/>
                    <a:pt x="181" y="466"/>
                    <a:pt x="213" y="510"/>
                  </a:cubicBezTo>
                  <a:cubicBezTo>
                    <a:pt x="241" y="490"/>
                    <a:pt x="241" y="490"/>
                    <a:pt x="241" y="490"/>
                  </a:cubicBezTo>
                  <a:cubicBezTo>
                    <a:pt x="231" y="507"/>
                    <a:pt x="227" y="528"/>
                    <a:pt x="253" y="518"/>
                  </a:cubicBezTo>
                  <a:cubicBezTo>
                    <a:pt x="249" y="562"/>
                    <a:pt x="249" y="562"/>
                    <a:pt x="249" y="562"/>
                  </a:cubicBezTo>
                  <a:cubicBezTo>
                    <a:pt x="269" y="572"/>
                    <a:pt x="288" y="595"/>
                    <a:pt x="299" y="614"/>
                  </a:cubicBezTo>
                  <a:cubicBezTo>
                    <a:pt x="305" y="624"/>
                    <a:pt x="300" y="641"/>
                    <a:pt x="314" y="643"/>
                  </a:cubicBezTo>
                  <a:cubicBezTo>
                    <a:pt x="354" y="648"/>
                    <a:pt x="353" y="630"/>
                    <a:pt x="378" y="608"/>
                  </a:cubicBezTo>
                  <a:cubicBezTo>
                    <a:pt x="394" y="595"/>
                    <a:pt x="409" y="594"/>
                    <a:pt x="421" y="574"/>
                  </a:cubicBezTo>
                  <a:cubicBezTo>
                    <a:pt x="432" y="553"/>
                    <a:pt x="437" y="524"/>
                    <a:pt x="454" y="507"/>
                  </a:cubicBezTo>
                  <a:cubicBezTo>
                    <a:pt x="476" y="486"/>
                    <a:pt x="493" y="501"/>
                    <a:pt x="517" y="498"/>
                  </a:cubicBezTo>
                  <a:cubicBezTo>
                    <a:pt x="566" y="493"/>
                    <a:pt x="609" y="466"/>
                    <a:pt x="661" y="479"/>
                  </a:cubicBezTo>
                  <a:cubicBezTo>
                    <a:pt x="708" y="492"/>
                    <a:pt x="721" y="573"/>
                    <a:pt x="765" y="594"/>
                  </a:cubicBezTo>
                  <a:cubicBezTo>
                    <a:pt x="749" y="634"/>
                    <a:pt x="749" y="634"/>
                    <a:pt x="749" y="634"/>
                  </a:cubicBezTo>
                  <a:cubicBezTo>
                    <a:pt x="777" y="638"/>
                    <a:pt x="777" y="638"/>
                    <a:pt x="777" y="638"/>
                  </a:cubicBezTo>
                  <a:cubicBezTo>
                    <a:pt x="771" y="663"/>
                    <a:pt x="789" y="680"/>
                    <a:pt x="786" y="702"/>
                  </a:cubicBezTo>
                  <a:cubicBezTo>
                    <a:pt x="783" y="718"/>
                    <a:pt x="743" y="753"/>
                    <a:pt x="764" y="770"/>
                  </a:cubicBezTo>
                  <a:cubicBezTo>
                    <a:pt x="787" y="790"/>
                    <a:pt x="807" y="747"/>
                    <a:pt x="825" y="742"/>
                  </a:cubicBezTo>
                  <a:cubicBezTo>
                    <a:pt x="867" y="730"/>
                    <a:pt x="920" y="741"/>
                    <a:pt x="961" y="746"/>
                  </a:cubicBezTo>
                  <a:cubicBezTo>
                    <a:pt x="968" y="816"/>
                    <a:pt x="995" y="861"/>
                    <a:pt x="965" y="930"/>
                  </a:cubicBezTo>
                  <a:cubicBezTo>
                    <a:pt x="996" y="933"/>
                    <a:pt x="1017" y="927"/>
                    <a:pt x="1033" y="962"/>
                  </a:cubicBezTo>
                  <a:cubicBezTo>
                    <a:pt x="1070" y="957"/>
                    <a:pt x="1124" y="936"/>
                    <a:pt x="1105" y="886"/>
                  </a:cubicBezTo>
                  <a:cubicBezTo>
                    <a:pt x="1129" y="878"/>
                    <a:pt x="1129" y="878"/>
                    <a:pt x="1129" y="878"/>
                  </a:cubicBezTo>
                  <a:cubicBezTo>
                    <a:pt x="1129" y="894"/>
                    <a:pt x="1129" y="894"/>
                    <a:pt x="1129" y="894"/>
                  </a:cubicBezTo>
                  <a:cubicBezTo>
                    <a:pt x="1141" y="902"/>
                    <a:pt x="1141" y="902"/>
                    <a:pt x="1141" y="902"/>
                  </a:cubicBezTo>
                  <a:cubicBezTo>
                    <a:pt x="1164" y="893"/>
                    <a:pt x="1164" y="893"/>
                    <a:pt x="1164" y="893"/>
                  </a:cubicBezTo>
                  <a:cubicBezTo>
                    <a:pt x="1197" y="900"/>
                    <a:pt x="1197" y="900"/>
                    <a:pt x="1197" y="900"/>
                  </a:cubicBezTo>
                  <a:cubicBezTo>
                    <a:pt x="1221" y="858"/>
                    <a:pt x="1221" y="858"/>
                    <a:pt x="1221" y="858"/>
                  </a:cubicBezTo>
                  <a:cubicBezTo>
                    <a:pt x="1213" y="834"/>
                    <a:pt x="1213" y="834"/>
                    <a:pt x="1213" y="834"/>
                  </a:cubicBezTo>
                  <a:cubicBezTo>
                    <a:pt x="1221" y="822"/>
                    <a:pt x="1221" y="822"/>
                    <a:pt x="1221" y="822"/>
                  </a:cubicBezTo>
                  <a:cubicBezTo>
                    <a:pt x="1245" y="818"/>
                    <a:pt x="1245" y="818"/>
                    <a:pt x="1245" y="818"/>
                  </a:cubicBezTo>
                  <a:cubicBezTo>
                    <a:pt x="1233" y="790"/>
                    <a:pt x="1233" y="790"/>
                    <a:pt x="1233" y="790"/>
                  </a:cubicBezTo>
                  <a:cubicBezTo>
                    <a:pt x="1203" y="787"/>
                    <a:pt x="1194" y="767"/>
                    <a:pt x="1193" y="738"/>
                  </a:cubicBezTo>
                  <a:cubicBezTo>
                    <a:pt x="1211" y="738"/>
                    <a:pt x="1236" y="734"/>
                    <a:pt x="1253" y="742"/>
                  </a:cubicBezTo>
                  <a:cubicBezTo>
                    <a:pt x="1262" y="747"/>
                    <a:pt x="1275" y="766"/>
                    <a:pt x="1287" y="758"/>
                  </a:cubicBezTo>
                  <a:cubicBezTo>
                    <a:pt x="1304" y="746"/>
                    <a:pt x="1289" y="710"/>
                    <a:pt x="1279" y="699"/>
                  </a:cubicBezTo>
                  <a:cubicBezTo>
                    <a:pt x="1251" y="668"/>
                    <a:pt x="1231" y="661"/>
                    <a:pt x="1281" y="634"/>
                  </a:cubicBezTo>
                  <a:cubicBezTo>
                    <a:pt x="1281" y="630"/>
                    <a:pt x="1281" y="630"/>
                    <a:pt x="1281" y="630"/>
                  </a:cubicBezTo>
                  <a:cubicBezTo>
                    <a:pt x="1259" y="617"/>
                    <a:pt x="1247" y="609"/>
                    <a:pt x="1253" y="582"/>
                  </a:cubicBezTo>
                  <a:cubicBezTo>
                    <a:pt x="1192" y="567"/>
                    <a:pt x="1219" y="512"/>
                    <a:pt x="1205" y="466"/>
                  </a:cubicBezTo>
                  <a:cubicBezTo>
                    <a:pt x="1241" y="450"/>
                    <a:pt x="1241" y="450"/>
                    <a:pt x="1241" y="450"/>
                  </a:cubicBezTo>
                  <a:cubicBezTo>
                    <a:pt x="1245" y="434"/>
                    <a:pt x="1245" y="434"/>
                    <a:pt x="1245" y="434"/>
                  </a:cubicBezTo>
                  <a:cubicBezTo>
                    <a:pt x="1245" y="430"/>
                    <a:pt x="1245" y="430"/>
                    <a:pt x="1245" y="430"/>
                  </a:cubicBezTo>
                  <a:cubicBezTo>
                    <a:pt x="1230" y="411"/>
                    <a:pt x="1213" y="398"/>
                    <a:pt x="1189" y="394"/>
                  </a:cubicBezTo>
                  <a:cubicBezTo>
                    <a:pt x="1187" y="376"/>
                    <a:pt x="1189" y="302"/>
                    <a:pt x="1176" y="293"/>
                  </a:cubicBezTo>
                  <a:cubicBezTo>
                    <a:pt x="1159" y="280"/>
                    <a:pt x="1133" y="296"/>
                    <a:pt x="1117" y="302"/>
                  </a:cubicBezTo>
                  <a:cubicBezTo>
                    <a:pt x="1170" y="239"/>
                    <a:pt x="1170" y="239"/>
                    <a:pt x="1170" y="239"/>
                  </a:cubicBezTo>
                  <a:cubicBezTo>
                    <a:pt x="1145" y="214"/>
                    <a:pt x="1145" y="214"/>
                    <a:pt x="1145" y="214"/>
                  </a:cubicBezTo>
                  <a:cubicBezTo>
                    <a:pt x="1113" y="202"/>
                    <a:pt x="1113" y="202"/>
                    <a:pt x="1113" y="202"/>
                  </a:cubicBezTo>
                  <a:cubicBezTo>
                    <a:pt x="1117" y="190"/>
                    <a:pt x="1117" y="190"/>
                    <a:pt x="1117" y="190"/>
                  </a:cubicBezTo>
                  <a:cubicBezTo>
                    <a:pt x="1089" y="182"/>
                    <a:pt x="1089" y="182"/>
                    <a:pt x="1089" y="182"/>
                  </a:cubicBezTo>
                  <a:cubicBezTo>
                    <a:pt x="1092" y="124"/>
                    <a:pt x="1069" y="4"/>
                    <a:pt x="981" y="46"/>
                  </a:cubicBezTo>
                  <a:cubicBezTo>
                    <a:pt x="981" y="54"/>
                    <a:pt x="981" y="54"/>
                    <a:pt x="981" y="54"/>
                  </a:cubicBezTo>
                  <a:cubicBezTo>
                    <a:pt x="997" y="82"/>
                    <a:pt x="997" y="82"/>
                    <a:pt x="997" y="82"/>
                  </a:cubicBezTo>
                  <a:cubicBezTo>
                    <a:pt x="974" y="83"/>
                    <a:pt x="940" y="86"/>
                    <a:pt x="937" y="114"/>
                  </a:cubicBezTo>
                  <a:cubicBezTo>
                    <a:pt x="910" y="118"/>
                    <a:pt x="894" y="101"/>
                    <a:pt x="869" y="95"/>
                  </a:cubicBezTo>
                  <a:cubicBezTo>
                    <a:pt x="819" y="82"/>
                    <a:pt x="794" y="108"/>
                    <a:pt x="761" y="142"/>
                  </a:cubicBezTo>
                  <a:cubicBezTo>
                    <a:pt x="753" y="119"/>
                    <a:pt x="733" y="74"/>
                    <a:pt x="701" y="90"/>
                  </a:cubicBezTo>
                  <a:cubicBezTo>
                    <a:pt x="689" y="97"/>
                    <a:pt x="682" y="117"/>
                    <a:pt x="668" y="120"/>
                  </a:cubicBezTo>
                  <a:cubicBezTo>
                    <a:pt x="657" y="122"/>
                    <a:pt x="642" y="105"/>
                    <a:pt x="629" y="102"/>
                  </a:cubicBezTo>
                  <a:cubicBezTo>
                    <a:pt x="653" y="58"/>
                    <a:pt x="653" y="58"/>
                    <a:pt x="653" y="58"/>
                  </a:cubicBezTo>
                  <a:cubicBezTo>
                    <a:pt x="637" y="41"/>
                    <a:pt x="549" y="47"/>
                    <a:pt x="525" y="52"/>
                  </a:cubicBezTo>
                  <a:cubicBezTo>
                    <a:pt x="511" y="55"/>
                    <a:pt x="468" y="37"/>
                    <a:pt x="453" y="35"/>
                  </a:cubicBezTo>
                  <a:cubicBezTo>
                    <a:pt x="408" y="30"/>
                    <a:pt x="399" y="26"/>
                    <a:pt x="353" y="38"/>
                  </a:cubicBezTo>
                  <a:cubicBezTo>
                    <a:pt x="371" y="0"/>
                    <a:pt x="258" y="6"/>
                    <a:pt x="233" y="6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" name="Freeform 57"/>
            <p:cNvSpPr/>
            <p:nvPr/>
          </p:nvSpPr>
          <p:spPr bwMode="auto">
            <a:xfrm>
              <a:off x="909638" y="2146300"/>
              <a:ext cx="158750" cy="93663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52" y="105"/>
                </a:cxn>
                <a:cxn ang="0">
                  <a:pos x="80" y="165"/>
                </a:cxn>
                <a:cxn ang="0">
                  <a:pos x="104" y="181"/>
                </a:cxn>
                <a:cxn ang="0">
                  <a:pos x="116" y="165"/>
                </a:cxn>
                <a:cxn ang="0">
                  <a:pos x="116" y="185"/>
                </a:cxn>
                <a:cxn ang="0">
                  <a:pos x="216" y="145"/>
                </a:cxn>
                <a:cxn ang="0">
                  <a:pos x="284" y="141"/>
                </a:cxn>
                <a:cxn ang="0">
                  <a:pos x="284" y="165"/>
                </a:cxn>
                <a:cxn ang="0">
                  <a:pos x="188" y="185"/>
                </a:cxn>
                <a:cxn ang="0">
                  <a:pos x="280" y="197"/>
                </a:cxn>
                <a:cxn ang="0">
                  <a:pos x="192" y="257"/>
                </a:cxn>
                <a:cxn ang="0">
                  <a:pos x="224" y="241"/>
                </a:cxn>
                <a:cxn ang="0">
                  <a:pos x="236" y="285"/>
                </a:cxn>
                <a:cxn ang="0">
                  <a:pos x="260" y="301"/>
                </a:cxn>
                <a:cxn ang="0">
                  <a:pos x="264" y="301"/>
                </a:cxn>
                <a:cxn ang="0">
                  <a:pos x="268" y="333"/>
                </a:cxn>
                <a:cxn ang="0">
                  <a:pos x="340" y="231"/>
                </a:cxn>
                <a:cxn ang="0">
                  <a:pos x="420" y="197"/>
                </a:cxn>
                <a:cxn ang="0">
                  <a:pos x="507" y="190"/>
                </a:cxn>
                <a:cxn ang="0">
                  <a:pos x="472" y="105"/>
                </a:cxn>
                <a:cxn ang="0">
                  <a:pos x="516" y="83"/>
                </a:cxn>
                <a:cxn ang="0">
                  <a:pos x="507" y="16"/>
                </a:cxn>
                <a:cxn ang="0">
                  <a:pos x="376" y="13"/>
                </a:cxn>
                <a:cxn ang="0">
                  <a:pos x="252" y="15"/>
                </a:cxn>
                <a:cxn ang="0">
                  <a:pos x="168" y="54"/>
                </a:cxn>
                <a:cxn ang="0">
                  <a:pos x="96" y="51"/>
                </a:cxn>
                <a:cxn ang="0">
                  <a:pos x="0" y="69"/>
                </a:cxn>
              </a:cxnLst>
              <a:rect l="0" t="0" r="r" b="b"/>
              <a:pathLst>
                <a:path w="555" h="333">
                  <a:moveTo>
                    <a:pt x="0" y="69"/>
                  </a:moveTo>
                  <a:cubicBezTo>
                    <a:pt x="9" y="92"/>
                    <a:pt x="25" y="112"/>
                    <a:pt x="52" y="105"/>
                  </a:cubicBezTo>
                  <a:cubicBezTo>
                    <a:pt x="47" y="128"/>
                    <a:pt x="48" y="170"/>
                    <a:pt x="80" y="165"/>
                  </a:cubicBezTo>
                  <a:cubicBezTo>
                    <a:pt x="104" y="181"/>
                    <a:pt x="104" y="181"/>
                    <a:pt x="104" y="181"/>
                  </a:cubicBezTo>
                  <a:cubicBezTo>
                    <a:pt x="116" y="165"/>
                    <a:pt x="116" y="165"/>
                    <a:pt x="116" y="165"/>
                  </a:cubicBezTo>
                  <a:cubicBezTo>
                    <a:pt x="116" y="185"/>
                    <a:pt x="116" y="185"/>
                    <a:pt x="116" y="185"/>
                  </a:cubicBezTo>
                  <a:cubicBezTo>
                    <a:pt x="216" y="145"/>
                    <a:pt x="216" y="145"/>
                    <a:pt x="216" y="145"/>
                  </a:cubicBezTo>
                  <a:cubicBezTo>
                    <a:pt x="284" y="141"/>
                    <a:pt x="284" y="141"/>
                    <a:pt x="284" y="141"/>
                  </a:cubicBezTo>
                  <a:cubicBezTo>
                    <a:pt x="284" y="165"/>
                    <a:pt x="284" y="165"/>
                    <a:pt x="284" y="165"/>
                  </a:cubicBezTo>
                  <a:cubicBezTo>
                    <a:pt x="265" y="157"/>
                    <a:pt x="181" y="142"/>
                    <a:pt x="188" y="185"/>
                  </a:cubicBezTo>
                  <a:cubicBezTo>
                    <a:pt x="191" y="206"/>
                    <a:pt x="264" y="201"/>
                    <a:pt x="280" y="197"/>
                  </a:cubicBezTo>
                  <a:cubicBezTo>
                    <a:pt x="259" y="229"/>
                    <a:pt x="198" y="196"/>
                    <a:pt x="192" y="257"/>
                  </a:cubicBezTo>
                  <a:cubicBezTo>
                    <a:pt x="224" y="241"/>
                    <a:pt x="224" y="241"/>
                    <a:pt x="224" y="241"/>
                  </a:cubicBezTo>
                  <a:cubicBezTo>
                    <a:pt x="214" y="259"/>
                    <a:pt x="203" y="293"/>
                    <a:pt x="236" y="285"/>
                  </a:cubicBezTo>
                  <a:cubicBezTo>
                    <a:pt x="236" y="302"/>
                    <a:pt x="245" y="322"/>
                    <a:pt x="260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8" y="333"/>
                    <a:pt x="268" y="333"/>
                    <a:pt x="268" y="333"/>
                  </a:cubicBezTo>
                  <a:cubicBezTo>
                    <a:pt x="310" y="312"/>
                    <a:pt x="306" y="257"/>
                    <a:pt x="340" y="231"/>
                  </a:cubicBezTo>
                  <a:cubicBezTo>
                    <a:pt x="353" y="222"/>
                    <a:pt x="404" y="200"/>
                    <a:pt x="420" y="197"/>
                  </a:cubicBezTo>
                  <a:cubicBezTo>
                    <a:pt x="449" y="193"/>
                    <a:pt x="478" y="203"/>
                    <a:pt x="507" y="190"/>
                  </a:cubicBezTo>
                  <a:cubicBezTo>
                    <a:pt x="555" y="167"/>
                    <a:pt x="492" y="116"/>
                    <a:pt x="472" y="105"/>
                  </a:cubicBezTo>
                  <a:cubicBezTo>
                    <a:pt x="484" y="92"/>
                    <a:pt x="505" y="98"/>
                    <a:pt x="516" y="83"/>
                  </a:cubicBezTo>
                  <a:cubicBezTo>
                    <a:pt x="527" y="68"/>
                    <a:pt x="527" y="25"/>
                    <a:pt x="507" y="16"/>
                  </a:cubicBezTo>
                  <a:cubicBezTo>
                    <a:pt x="476" y="0"/>
                    <a:pt x="410" y="13"/>
                    <a:pt x="376" y="13"/>
                  </a:cubicBezTo>
                  <a:cubicBezTo>
                    <a:pt x="337" y="13"/>
                    <a:pt x="290" y="6"/>
                    <a:pt x="252" y="15"/>
                  </a:cubicBezTo>
                  <a:cubicBezTo>
                    <a:pt x="222" y="21"/>
                    <a:pt x="198" y="46"/>
                    <a:pt x="168" y="54"/>
                  </a:cubicBezTo>
                  <a:cubicBezTo>
                    <a:pt x="144" y="60"/>
                    <a:pt x="119" y="50"/>
                    <a:pt x="96" y="51"/>
                  </a:cubicBezTo>
                  <a:cubicBezTo>
                    <a:pt x="62" y="53"/>
                    <a:pt x="34" y="69"/>
                    <a:pt x="0" y="6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" name="Freeform 58"/>
            <p:cNvSpPr/>
            <p:nvPr/>
          </p:nvSpPr>
          <p:spPr bwMode="auto">
            <a:xfrm>
              <a:off x="909638" y="2146300"/>
              <a:ext cx="158750" cy="93663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52" y="105"/>
                </a:cxn>
                <a:cxn ang="0">
                  <a:pos x="80" y="165"/>
                </a:cxn>
                <a:cxn ang="0">
                  <a:pos x="104" y="181"/>
                </a:cxn>
                <a:cxn ang="0">
                  <a:pos x="116" y="165"/>
                </a:cxn>
                <a:cxn ang="0">
                  <a:pos x="116" y="185"/>
                </a:cxn>
                <a:cxn ang="0">
                  <a:pos x="216" y="145"/>
                </a:cxn>
                <a:cxn ang="0">
                  <a:pos x="284" y="141"/>
                </a:cxn>
                <a:cxn ang="0">
                  <a:pos x="284" y="165"/>
                </a:cxn>
                <a:cxn ang="0">
                  <a:pos x="188" y="185"/>
                </a:cxn>
                <a:cxn ang="0">
                  <a:pos x="280" y="197"/>
                </a:cxn>
                <a:cxn ang="0">
                  <a:pos x="192" y="257"/>
                </a:cxn>
                <a:cxn ang="0">
                  <a:pos x="224" y="241"/>
                </a:cxn>
                <a:cxn ang="0">
                  <a:pos x="236" y="285"/>
                </a:cxn>
                <a:cxn ang="0">
                  <a:pos x="260" y="301"/>
                </a:cxn>
                <a:cxn ang="0">
                  <a:pos x="264" y="301"/>
                </a:cxn>
                <a:cxn ang="0">
                  <a:pos x="268" y="333"/>
                </a:cxn>
                <a:cxn ang="0">
                  <a:pos x="340" y="231"/>
                </a:cxn>
                <a:cxn ang="0">
                  <a:pos x="420" y="197"/>
                </a:cxn>
                <a:cxn ang="0">
                  <a:pos x="507" y="190"/>
                </a:cxn>
                <a:cxn ang="0">
                  <a:pos x="472" y="105"/>
                </a:cxn>
                <a:cxn ang="0">
                  <a:pos x="516" y="83"/>
                </a:cxn>
                <a:cxn ang="0">
                  <a:pos x="507" y="16"/>
                </a:cxn>
                <a:cxn ang="0">
                  <a:pos x="376" y="13"/>
                </a:cxn>
                <a:cxn ang="0">
                  <a:pos x="252" y="15"/>
                </a:cxn>
                <a:cxn ang="0">
                  <a:pos x="168" y="54"/>
                </a:cxn>
                <a:cxn ang="0">
                  <a:pos x="96" y="51"/>
                </a:cxn>
                <a:cxn ang="0">
                  <a:pos x="0" y="69"/>
                </a:cxn>
              </a:cxnLst>
              <a:rect l="0" t="0" r="r" b="b"/>
              <a:pathLst>
                <a:path w="555" h="333">
                  <a:moveTo>
                    <a:pt x="0" y="69"/>
                  </a:moveTo>
                  <a:cubicBezTo>
                    <a:pt x="9" y="92"/>
                    <a:pt x="25" y="112"/>
                    <a:pt x="52" y="105"/>
                  </a:cubicBezTo>
                  <a:cubicBezTo>
                    <a:pt x="47" y="128"/>
                    <a:pt x="48" y="170"/>
                    <a:pt x="80" y="165"/>
                  </a:cubicBezTo>
                  <a:cubicBezTo>
                    <a:pt x="104" y="181"/>
                    <a:pt x="104" y="181"/>
                    <a:pt x="104" y="181"/>
                  </a:cubicBezTo>
                  <a:cubicBezTo>
                    <a:pt x="116" y="165"/>
                    <a:pt x="116" y="165"/>
                    <a:pt x="116" y="165"/>
                  </a:cubicBezTo>
                  <a:cubicBezTo>
                    <a:pt x="116" y="185"/>
                    <a:pt x="116" y="185"/>
                    <a:pt x="116" y="185"/>
                  </a:cubicBezTo>
                  <a:cubicBezTo>
                    <a:pt x="216" y="145"/>
                    <a:pt x="216" y="145"/>
                    <a:pt x="216" y="145"/>
                  </a:cubicBezTo>
                  <a:cubicBezTo>
                    <a:pt x="284" y="141"/>
                    <a:pt x="284" y="141"/>
                    <a:pt x="284" y="141"/>
                  </a:cubicBezTo>
                  <a:cubicBezTo>
                    <a:pt x="284" y="165"/>
                    <a:pt x="284" y="165"/>
                    <a:pt x="284" y="165"/>
                  </a:cubicBezTo>
                  <a:cubicBezTo>
                    <a:pt x="265" y="157"/>
                    <a:pt x="181" y="142"/>
                    <a:pt x="188" y="185"/>
                  </a:cubicBezTo>
                  <a:cubicBezTo>
                    <a:pt x="191" y="206"/>
                    <a:pt x="264" y="201"/>
                    <a:pt x="280" y="197"/>
                  </a:cubicBezTo>
                  <a:cubicBezTo>
                    <a:pt x="259" y="229"/>
                    <a:pt x="198" y="196"/>
                    <a:pt x="192" y="257"/>
                  </a:cubicBezTo>
                  <a:cubicBezTo>
                    <a:pt x="224" y="241"/>
                    <a:pt x="224" y="241"/>
                    <a:pt x="224" y="241"/>
                  </a:cubicBezTo>
                  <a:cubicBezTo>
                    <a:pt x="214" y="259"/>
                    <a:pt x="203" y="293"/>
                    <a:pt x="236" y="285"/>
                  </a:cubicBezTo>
                  <a:cubicBezTo>
                    <a:pt x="236" y="302"/>
                    <a:pt x="245" y="322"/>
                    <a:pt x="260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8" y="333"/>
                    <a:pt x="268" y="333"/>
                    <a:pt x="268" y="333"/>
                  </a:cubicBezTo>
                  <a:cubicBezTo>
                    <a:pt x="310" y="312"/>
                    <a:pt x="306" y="257"/>
                    <a:pt x="340" y="231"/>
                  </a:cubicBezTo>
                  <a:cubicBezTo>
                    <a:pt x="353" y="222"/>
                    <a:pt x="404" y="200"/>
                    <a:pt x="420" y="197"/>
                  </a:cubicBezTo>
                  <a:cubicBezTo>
                    <a:pt x="449" y="193"/>
                    <a:pt x="478" y="203"/>
                    <a:pt x="507" y="190"/>
                  </a:cubicBezTo>
                  <a:cubicBezTo>
                    <a:pt x="555" y="167"/>
                    <a:pt x="492" y="116"/>
                    <a:pt x="472" y="105"/>
                  </a:cubicBezTo>
                  <a:cubicBezTo>
                    <a:pt x="484" y="92"/>
                    <a:pt x="505" y="98"/>
                    <a:pt x="516" y="83"/>
                  </a:cubicBezTo>
                  <a:cubicBezTo>
                    <a:pt x="527" y="68"/>
                    <a:pt x="527" y="25"/>
                    <a:pt x="507" y="16"/>
                  </a:cubicBezTo>
                  <a:cubicBezTo>
                    <a:pt x="476" y="0"/>
                    <a:pt x="410" y="13"/>
                    <a:pt x="376" y="13"/>
                  </a:cubicBezTo>
                  <a:cubicBezTo>
                    <a:pt x="337" y="13"/>
                    <a:pt x="290" y="6"/>
                    <a:pt x="252" y="15"/>
                  </a:cubicBezTo>
                  <a:cubicBezTo>
                    <a:pt x="222" y="21"/>
                    <a:pt x="198" y="46"/>
                    <a:pt x="168" y="54"/>
                  </a:cubicBezTo>
                  <a:cubicBezTo>
                    <a:pt x="144" y="60"/>
                    <a:pt x="119" y="50"/>
                    <a:pt x="96" y="51"/>
                  </a:cubicBezTo>
                  <a:cubicBezTo>
                    <a:pt x="62" y="53"/>
                    <a:pt x="34" y="69"/>
                    <a:pt x="0" y="6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" name="Freeform 59"/>
            <p:cNvSpPr/>
            <p:nvPr/>
          </p:nvSpPr>
          <p:spPr bwMode="auto">
            <a:xfrm>
              <a:off x="901700" y="2085975"/>
              <a:ext cx="153988" cy="38100"/>
            </a:xfrm>
            <a:custGeom>
              <a:avLst/>
              <a:gdLst/>
              <a:ahLst/>
              <a:cxnLst>
                <a:cxn ang="0">
                  <a:pos x="235" y="56"/>
                </a:cxn>
                <a:cxn ang="0">
                  <a:pos x="31" y="52"/>
                </a:cxn>
                <a:cxn ang="0">
                  <a:pos x="203" y="80"/>
                </a:cxn>
                <a:cxn ang="0">
                  <a:pos x="203" y="84"/>
                </a:cxn>
                <a:cxn ang="0">
                  <a:pos x="47" y="104"/>
                </a:cxn>
                <a:cxn ang="0">
                  <a:pos x="7" y="90"/>
                </a:cxn>
                <a:cxn ang="0">
                  <a:pos x="7" y="136"/>
                </a:cxn>
                <a:cxn ang="0">
                  <a:pos x="131" y="136"/>
                </a:cxn>
                <a:cxn ang="0">
                  <a:pos x="180" y="132"/>
                </a:cxn>
                <a:cxn ang="0">
                  <a:pos x="187" y="100"/>
                </a:cxn>
                <a:cxn ang="0">
                  <a:pos x="295" y="64"/>
                </a:cxn>
                <a:cxn ang="0">
                  <a:pos x="483" y="116"/>
                </a:cxn>
                <a:cxn ang="0">
                  <a:pos x="534" y="92"/>
                </a:cxn>
                <a:cxn ang="0">
                  <a:pos x="435" y="73"/>
                </a:cxn>
                <a:cxn ang="0">
                  <a:pos x="367" y="52"/>
                </a:cxn>
                <a:cxn ang="0">
                  <a:pos x="235" y="56"/>
                </a:cxn>
              </a:cxnLst>
              <a:rect l="0" t="0" r="r" b="b"/>
              <a:pathLst>
                <a:path w="538" h="138">
                  <a:moveTo>
                    <a:pt x="235" y="56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72" y="124"/>
                    <a:pt x="140" y="63"/>
                    <a:pt x="203" y="80"/>
                  </a:cubicBezTo>
                  <a:cubicBezTo>
                    <a:pt x="203" y="84"/>
                    <a:pt x="203" y="84"/>
                    <a:pt x="203" y="8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5" y="81"/>
                    <a:pt x="22" y="62"/>
                    <a:pt x="7" y="90"/>
                  </a:cubicBezTo>
                  <a:cubicBezTo>
                    <a:pt x="0" y="104"/>
                    <a:pt x="5" y="121"/>
                    <a:pt x="7" y="136"/>
                  </a:cubicBezTo>
                  <a:cubicBezTo>
                    <a:pt x="131" y="136"/>
                    <a:pt x="131" y="136"/>
                    <a:pt x="131" y="136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7" y="100"/>
                    <a:pt x="187" y="100"/>
                    <a:pt x="187" y="100"/>
                  </a:cubicBezTo>
                  <a:cubicBezTo>
                    <a:pt x="225" y="100"/>
                    <a:pt x="289" y="115"/>
                    <a:pt x="295" y="64"/>
                  </a:cubicBezTo>
                  <a:cubicBezTo>
                    <a:pt x="347" y="94"/>
                    <a:pt x="422" y="138"/>
                    <a:pt x="483" y="116"/>
                  </a:cubicBezTo>
                  <a:cubicBezTo>
                    <a:pt x="496" y="111"/>
                    <a:pt x="532" y="111"/>
                    <a:pt x="534" y="92"/>
                  </a:cubicBezTo>
                  <a:cubicBezTo>
                    <a:pt x="538" y="30"/>
                    <a:pt x="456" y="78"/>
                    <a:pt x="435" y="73"/>
                  </a:cubicBezTo>
                  <a:cubicBezTo>
                    <a:pt x="404" y="65"/>
                    <a:pt x="405" y="27"/>
                    <a:pt x="367" y="52"/>
                  </a:cubicBezTo>
                  <a:cubicBezTo>
                    <a:pt x="349" y="3"/>
                    <a:pt x="242" y="0"/>
                    <a:pt x="235" y="5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" name="Freeform 60"/>
            <p:cNvSpPr/>
            <p:nvPr/>
          </p:nvSpPr>
          <p:spPr bwMode="auto">
            <a:xfrm>
              <a:off x="868363" y="1947863"/>
              <a:ext cx="306388" cy="222250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124" y="480"/>
                </a:cxn>
                <a:cxn ang="0">
                  <a:pos x="168" y="468"/>
                </a:cxn>
                <a:cxn ang="0">
                  <a:pos x="132" y="520"/>
                </a:cxn>
                <a:cxn ang="0">
                  <a:pos x="164" y="500"/>
                </a:cxn>
                <a:cxn ang="0">
                  <a:pos x="168" y="543"/>
                </a:cxn>
                <a:cxn ang="0">
                  <a:pos x="344" y="544"/>
                </a:cxn>
                <a:cxn ang="0">
                  <a:pos x="378" y="517"/>
                </a:cxn>
                <a:cxn ang="0">
                  <a:pos x="440" y="506"/>
                </a:cxn>
                <a:cxn ang="0">
                  <a:pos x="481" y="538"/>
                </a:cxn>
                <a:cxn ang="0">
                  <a:pos x="512" y="538"/>
                </a:cxn>
                <a:cxn ang="0">
                  <a:pos x="540" y="563"/>
                </a:cxn>
                <a:cxn ang="0">
                  <a:pos x="600" y="560"/>
                </a:cxn>
                <a:cxn ang="0">
                  <a:pos x="600" y="548"/>
                </a:cxn>
                <a:cxn ang="0">
                  <a:pos x="634" y="582"/>
                </a:cxn>
                <a:cxn ang="0">
                  <a:pos x="564" y="600"/>
                </a:cxn>
                <a:cxn ang="0">
                  <a:pos x="420" y="543"/>
                </a:cxn>
                <a:cxn ang="0">
                  <a:pos x="368" y="577"/>
                </a:cxn>
                <a:cxn ang="0">
                  <a:pos x="292" y="612"/>
                </a:cxn>
                <a:cxn ang="0">
                  <a:pos x="150" y="615"/>
                </a:cxn>
                <a:cxn ang="0">
                  <a:pos x="132" y="728"/>
                </a:cxn>
                <a:cxn ang="0">
                  <a:pos x="136" y="768"/>
                </a:cxn>
                <a:cxn ang="0">
                  <a:pos x="308" y="747"/>
                </a:cxn>
                <a:cxn ang="0">
                  <a:pos x="367" y="721"/>
                </a:cxn>
                <a:cxn ang="0">
                  <a:pos x="432" y="704"/>
                </a:cxn>
                <a:cxn ang="0">
                  <a:pos x="772" y="708"/>
                </a:cxn>
                <a:cxn ang="0">
                  <a:pos x="856" y="760"/>
                </a:cxn>
                <a:cxn ang="0">
                  <a:pos x="860" y="760"/>
                </a:cxn>
                <a:cxn ang="0">
                  <a:pos x="868" y="748"/>
                </a:cxn>
                <a:cxn ang="0">
                  <a:pos x="872" y="748"/>
                </a:cxn>
                <a:cxn ang="0">
                  <a:pos x="956" y="753"/>
                </a:cxn>
                <a:cxn ang="0">
                  <a:pos x="1076" y="748"/>
                </a:cxn>
                <a:cxn ang="0">
                  <a:pos x="1076" y="648"/>
                </a:cxn>
                <a:cxn ang="0">
                  <a:pos x="984" y="584"/>
                </a:cxn>
                <a:cxn ang="0">
                  <a:pos x="959" y="532"/>
                </a:cxn>
                <a:cxn ang="0">
                  <a:pos x="974" y="496"/>
                </a:cxn>
                <a:cxn ang="0">
                  <a:pos x="960" y="420"/>
                </a:cxn>
                <a:cxn ang="0">
                  <a:pos x="928" y="392"/>
                </a:cxn>
                <a:cxn ang="0">
                  <a:pos x="924" y="348"/>
                </a:cxn>
                <a:cxn ang="0">
                  <a:pos x="928" y="340"/>
                </a:cxn>
                <a:cxn ang="0">
                  <a:pos x="874" y="292"/>
                </a:cxn>
                <a:cxn ang="0">
                  <a:pos x="796" y="208"/>
                </a:cxn>
                <a:cxn ang="0">
                  <a:pos x="668" y="100"/>
                </a:cxn>
                <a:cxn ang="0">
                  <a:pos x="668" y="88"/>
                </a:cxn>
                <a:cxn ang="0">
                  <a:pos x="552" y="11"/>
                </a:cxn>
                <a:cxn ang="0">
                  <a:pos x="448" y="0"/>
                </a:cxn>
                <a:cxn ang="0">
                  <a:pos x="356" y="22"/>
                </a:cxn>
                <a:cxn ang="0">
                  <a:pos x="316" y="35"/>
                </a:cxn>
                <a:cxn ang="0">
                  <a:pos x="217" y="33"/>
                </a:cxn>
                <a:cxn ang="0">
                  <a:pos x="197" y="72"/>
                </a:cxn>
                <a:cxn ang="0">
                  <a:pos x="167" y="112"/>
                </a:cxn>
                <a:cxn ang="0">
                  <a:pos x="163" y="166"/>
                </a:cxn>
                <a:cxn ang="0">
                  <a:pos x="102" y="264"/>
                </a:cxn>
                <a:cxn ang="0">
                  <a:pos x="52" y="315"/>
                </a:cxn>
                <a:cxn ang="0">
                  <a:pos x="0" y="348"/>
                </a:cxn>
              </a:cxnLst>
              <a:rect l="0" t="0" r="r" b="b"/>
              <a:pathLst>
                <a:path w="1076" h="777">
                  <a:moveTo>
                    <a:pt x="0" y="348"/>
                  </a:moveTo>
                  <a:cubicBezTo>
                    <a:pt x="53" y="348"/>
                    <a:pt x="128" y="424"/>
                    <a:pt x="124" y="480"/>
                  </a:cubicBezTo>
                  <a:cubicBezTo>
                    <a:pt x="168" y="468"/>
                    <a:pt x="168" y="468"/>
                    <a:pt x="168" y="468"/>
                  </a:cubicBezTo>
                  <a:cubicBezTo>
                    <a:pt x="149" y="483"/>
                    <a:pt x="125" y="492"/>
                    <a:pt x="132" y="520"/>
                  </a:cubicBezTo>
                  <a:cubicBezTo>
                    <a:pt x="164" y="500"/>
                    <a:pt x="164" y="500"/>
                    <a:pt x="164" y="500"/>
                  </a:cubicBezTo>
                  <a:cubicBezTo>
                    <a:pt x="153" y="513"/>
                    <a:pt x="146" y="537"/>
                    <a:pt x="168" y="543"/>
                  </a:cubicBezTo>
                  <a:cubicBezTo>
                    <a:pt x="213" y="555"/>
                    <a:pt x="298" y="551"/>
                    <a:pt x="344" y="544"/>
                  </a:cubicBezTo>
                  <a:cubicBezTo>
                    <a:pt x="361" y="541"/>
                    <a:pt x="363" y="523"/>
                    <a:pt x="378" y="517"/>
                  </a:cubicBezTo>
                  <a:cubicBezTo>
                    <a:pt x="390" y="512"/>
                    <a:pt x="427" y="504"/>
                    <a:pt x="440" y="506"/>
                  </a:cubicBezTo>
                  <a:cubicBezTo>
                    <a:pt x="461" y="510"/>
                    <a:pt x="464" y="531"/>
                    <a:pt x="481" y="538"/>
                  </a:cubicBezTo>
                  <a:cubicBezTo>
                    <a:pt x="491" y="542"/>
                    <a:pt x="501" y="535"/>
                    <a:pt x="512" y="538"/>
                  </a:cubicBezTo>
                  <a:cubicBezTo>
                    <a:pt x="524" y="542"/>
                    <a:pt x="529" y="558"/>
                    <a:pt x="540" y="563"/>
                  </a:cubicBezTo>
                  <a:cubicBezTo>
                    <a:pt x="557" y="571"/>
                    <a:pt x="582" y="561"/>
                    <a:pt x="600" y="560"/>
                  </a:cubicBezTo>
                  <a:cubicBezTo>
                    <a:pt x="600" y="548"/>
                    <a:pt x="600" y="548"/>
                    <a:pt x="600" y="548"/>
                  </a:cubicBezTo>
                  <a:cubicBezTo>
                    <a:pt x="612" y="549"/>
                    <a:pt x="654" y="565"/>
                    <a:pt x="634" y="582"/>
                  </a:cubicBezTo>
                  <a:cubicBezTo>
                    <a:pt x="622" y="592"/>
                    <a:pt x="580" y="600"/>
                    <a:pt x="564" y="600"/>
                  </a:cubicBezTo>
                  <a:cubicBezTo>
                    <a:pt x="512" y="598"/>
                    <a:pt x="470" y="548"/>
                    <a:pt x="420" y="543"/>
                  </a:cubicBezTo>
                  <a:cubicBezTo>
                    <a:pt x="401" y="541"/>
                    <a:pt x="391" y="573"/>
                    <a:pt x="368" y="577"/>
                  </a:cubicBezTo>
                  <a:cubicBezTo>
                    <a:pt x="335" y="583"/>
                    <a:pt x="293" y="567"/>
                    <a:pt x="292" y="612"/>
                  </a:cubicBezTo>
                  <a:cubicBezTo>
                    <a:pt x="254" y="612"/>
                    <a:pt x="185" y="599"/>
                    <a:pt x="150" y="615"/>
                  </a:cubicBezTo>
                  <a:cubicBezTo>
                    <a:pt x="118" y="629"/>
                    <a:pt x="119" y="703"/>
                    <a:pt x="132" y="728"/>
                  </a:cubicBezTo>
                  <a:cubicBezTo>
                    <a:pt x="116" y="739"/>
                    <a:pt x="128" y="754"/>
                    <a:pt x="136" y="768"/>
                  </a:cubicBezTo>
                  <a:cubicBezTo>
                    <a:pt x="197" y="753"/>
                    <a:pt x="246" y="748"/>
                    <a:pt x="308" y="747"/>
                  </a:cubicBezTo>
                  <a:cubicBezTo>
                    <a:pt x="323" y="747"/>
                    <a:pt x="365" y="736"/>
                    <a:pt x="367" y="721"/>
                  </a:cubicBezTo>
                  <a:cubicBezTo>
                    <a:pt x="432" y="704"/>
                    <a:pt x="432" y="704"/>
                    <a:pt x="432" y="704"/>
                  </a:cubicBezTo>
                  <a:cubicBezTo>
                    <a:pt x="772" y="708"/>
                    <a:pt x="772" y="708"/>
                    <a:pt x="772" y="708"/>
                  </a:cubicBezTo>
                  <a:cubicBezTo>
                    <a:pt x="757" y="751"/>
                    <a:pt x="830" y="733"/>
                    <a:pt x="856" y="760"/>
                  </a:cubicBezTo>
                  <a:cubicBezTo>
                    <a:pt x="860" y="760"/>
                    <a:pt x="860" y="760"/>
                    <a:pt x="860" y="760"/>
                  </a:cubicBezTo>
                  <a:cubicBezTo>
                    <a:pt x="868" y="748"/>
                    <a:pt x="868" y="748"/>
                    <a:pt x="868" y="748"/>
                  </a:cubicBezTo>
                  <a:cubicBezTo>
                    <a:pt x="872" y="748"/>
                    <a:pt x="872" y="748"/>
                    <a:pt x="872" y="748"/>
                  </a:cubicBezTo>
                  <a:cubicBezTo>
                    <a:pt x="902" y="777"/>
                    <a:pt x="922" y="756"/>
                    <a:pt x="956" y="753"/>
                  </a:cubicBezTo>
                  <a:cubicBezTo>
                    <a:pt x="995" y="749"/>
                    <a:pt x="1037" y="757"/>
                    <a:pt x="1076" y="748"/>
                  </a:cubicBezTo>
                  <a:cubicBezTo>
                    <a:pt x="1062" y="708"/>
                    <a:pt x="1063" y="689"/>
                    <a:pt x="1076" y="648"/>
                  </a:cubicBezTo>
                  <a:cubicBezTo>
                    <a:pt x="1039" y="618"/>
                    <a:pt x="1040" y="556"/>
                    <a:pt x="984" y="584"/>
                  </a:cubicBezTo>
                  <a:cubicBezTo>
                    <a:pt x="959" y="532"/>
                    <a:pt x="959" y="532"/>
                    <a:pt x="959" y="532"/>
                  </a:cubicBezTo>
                  <a:cubicBezTo>
                    <a:pt x="974" y="496"/>
                    <a:pt x="974" y="496"/>
                    <a:pt x="974" y="496"/>
                  </a:cubicBezTo>
                  <a:cubicBezTo>
                    <a:pt x="960" y="420"/>
                    <a:pt x="960" y="420"/>
                    <a:pt x="960" y="420"/>
                  </a:cubicBezTo>
                  <a:cubicBezTo>
                    <a:pt x="928" y="392"/>
                    <a:pt x="928" y="392"/>
                    <a:pt x="928" y="392"/>
                  </a:cubicBezTo>
                  <a:cubicBezTo>
                    <a:pt x="924" y="348"/>
                    <a:pt x="924" y="348"/>
                    <a:pt x="924" y="348"/>
                  </a:cubicBezTo>
                  <a:cubicBezTo>
                    <a:pt x="928" y="340"/>
                    <a:pt x="928" y="340"/>
                    <a:pt x="928" y="340"/>
                  </a:cubicBezTo>
                  <a:cubicBezTo>
                    <a:pt x="904" y="326"/>
                    <a:pt x="894" y="310"/>
                    <a:pt x="874" y="292"/>
                  </a:cubicBezTo>
                  <a:cubicBezTo>
                    <a:pt x="842" y="264"/>
                    <a:pt x="808" y="256"/>
                    <a:pt x="796" y="208"/>
                  </a:cubicBezTo>
                  <a:cubicBezTo>
                    <a:pt x="726" y="197"/>
                    <a:pt x="747" y="90"/>
                    <a:pt x="668" y="100"/>
                  </a:cubicBezTo>
                  <a:cubicBezTo>
                    <a:pt x="668" y="88"/>
                    <a:pt x="668" y="88"/>
                    <a:pt x="668" y="88"/>
                  </a:cubicBezTo>
                  <a:cubicBezTo>
                    <a:pt x="609" y="101"/>
                    <a:pt x="605" y="25"/>
                    <a:pt x="552" y="11"/>
                  </a:cubicBezTo>
                  <a:cubicBezTo>
                    <a:pt x="521" y="2"/>
                    <a:pt x="474" y="24"/>
                    <a:pt x="448" y="0"/>
                  </a:cubicBezTo>
                  <a:cubicBezTo>
                    <a:pt x="356" y="22"/>
                    <a:pt x="356" y="22"/>
                    <a:pt x="356" y="22"/>
                  </a:cubicBezTo>
                  <a:cubicBezTo>
                    <a:pt x="316" y="35"/>
                    <a:pt x="316" y="35"/>
                    <a:pt x="316" y="35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197" y="72"/>
                    <a:pt x="197" y="72"/>
                    <a:pt x="197" y="72"/>
                  </a:cubicBezTo>
                  <a:cubicBezTo>
                    <a:pt x="167" y="112"/>
                    <a:pt x="167" y="112"/>
                    <a:pt x="167" y="112"/>
                  </a:cubicBezTo>
                  <a:cubicBezTo>
                    <a:pt x="163" y="166"/>
                    <a:pt x="163" y="166"/>
                    <a:pt x="163" y="166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52" y="315"/>
                    <a:pt x="52" y="315"/>
                    <a:pt x="52" y="315"/>
                  </a:cubicBezTo>
                  <a:lnTo>
                    <a:pt x="0" y="348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" name="Freeform 61"/>
            <p:cNvSpPr/>
            <p:nvPr/>
          </p:nvSpPr>
          <p:spPr bwMode="auto">
            <a:xfrm>
              <a:off x="2976563" y="3540125"/>
              <a:ext cx="392113" cy="347663"/>
            </a:xfrm>
            <a:custGeom>
              <a:avLst/>
              <a:gdLst/>
              <a:ahLst/>
              <a:cxnLst>
                <a:cxn ang="0">
                  <a:pos x="16" y="382"/>
                </a:cxn>
                <a:cxn ang="0">
                  <a:pos x="0" y="382"/>
                </a:cxn>
                <a:cxn ang="0">
                  <a:pos x="129" y="601"/>
                </a:cxn>
                <a:cxn ang="0">
                  <a:pos x="173" y="708"/>
                </a:cxn>
                <a:cxn ang="0">
                  <a:pos x="273" y="777"/>
                </a:cxn>
                <a:cxn ang="0">
                  <a:pos x="353" y="813"/>
                </a:cxn>
                <a:cxn ang="0">
                  <a:pos x="360" y="873"/>
                </a:cxn>
                <a:cxn ang="0">
                  <a:pos x="436" y="873"/>
                </a:cxn>
                <a:cxn ang="0">
                  <a:pos x="431" y="974"/>
                </a:cxn>
                <a:cxn ang="0">
                  <a:pos x="497" y="1064"/>
                </a:cxn>
                <a:cxn ang="0">
                  <a:pos x="596" y="1079"/>
                </a:cxn>
                <a:cxn ang="0">
                  <a:pos x="668" y="1100"/>
                </a:cxn>
                <a:cxn ang="0">
                  <a:pos x="674" y="1146"/>
                </a:cxn>
                <a:cxn ang="0">
                  <a:pos x="712" y="1173"/>
                </a:cxn>
                <a:cxn ang="0">
                  <a:pos x="788" y="1166"/>
                </a:cxn>
                <a:cxn ang="0">
                  <a:pos x="888" y="1200"/>
                </a:cxn>
                <a:cxn ang="0">
                  <a:pos x="984" y="1191"/>
                </a:cxn>
                <a:cxn ang="0">
                  <a:pos x="1068" y="1207"/>
                </a:cxn>
                <a:cxn ang="0">
                  <a:pos x="1272" y="1019"/>
                </a:cxn>
                <a:cxn ang="0">
                  <a:pos x="1273" y="946"/>
                </a:cxn>
                <a:cxn ang="0">
                  <a:pos x="1273" y="898"/>
                </a:cxn>
                <a:cxn ang="0">
                  <a:pos x="1308" y="872"/>
                </a:cxn>
                <a:cxn ang="0">
                  <a:pos x="1368" y="735"/>
                </a:cxn>
                <a:cxn ang="0">
                  <a:pos x="1336" y="723"/>
                </a:cxn>
                <a:cxn ang="0">
                  <a:pos x="1344" y="625"/>
                </a:cxn>
                <a:cxn ang="0">
                  <a:pos x="1332" y="609"/>
                </a:cxn>
                <a:cxn ang="0">
                  <a:pos x="1304" y="605"/>
                </a:cxn>
                <a:cxn ang="0">
                  <a:pos x="1348" y="573"/>
                </a:cxn>
                <a:cxn ang="0">
                  <a:pos x="1376" y="491"/>
                </a:cxn>
                <a:cxn ang="0">
                  <a:pos x="1364" y="467"/>
                </a:cxn>
                <a:cxn ang="0">
                  <a:pos x="1364" y="463"/>
                </a:cxn>
                <a:cxn ang="0">
                  <a:pos x="1365" y="366"/>
                </a:cxn>
                <a:cxn ang="0">
                  <a:pos x="1368" y="321"/>
                </a:cxn>
                <a:cxn ang="0">
                  <a:pos x="1368" y="317"/>
                </a:cxn>
                <a:cxn ang="0">
                  <a:pos x="1341" y="252"/>
                </a:cxn>
                <a:cxn ang="0">
                  <a:pos x="1352" y="207"/>
                </a:cxn>
                <a:cxn ang="0">
                  <a:pos x="1308" y="199"/>
                </a:cxn>
                <a:cxn ang="0">
                  <a:pos x="1312" y="187"/>
                </a:cxn>
                <a:cxn ang="0">
                  <a:pos x="1172" y="155"/>
                </a:cxn>
                <a:cxn ang="0">
                  <a:pos x="1092" y="108"/>
                </a:cxn>
                <a:cxn ang="0">
                  <a:pos x="1056" y="83"/>
                </a:cxn>
                <a:cxn ang="0">
                  <a:pos x="916" y="78"/>
                </a:cxn>
                <a:cxn ang="0">
                  <a:pos x="916" y="17"/>
                </a:cxn>
                <a:cxn ang="0">
                  <a:pos x="639" y="81"/>
                </a:cxn>
                <a:cxn ang="0">
                  <a:pos x="615" y="173"/>
                </a:cxn>
                <a:cxn ang="0">
                  <a:pos x="569" y="185"/>
                </a:cxn>
                <a:cxn ang="0">
                  <a:pos x="496" y="230"/>
                </a:cxn>
                <a:cxn ang="0">
                  <a:pos x="451" y="250"/>
                </a:cxn>
                <a:cxn ang="0">
                  <a:pos x="414" y="313"/>
                </a:cxn>
                <a:cxn ang="0">
                  <a:pos x="316" y="419"/>
                </a:cxn>
                <a:cxn ang="0">
                  <a:pos x="180" y="413"/>
                </a:cxn>
                <a:cxn ang="0">
                  <a:pos x="133" y="427"/>
                </a:cxn>
                <a:cxn ang="0">
                  <a:pos x="92" y="398"/>
                </a:cxn>
                <a:cxn ang="0">
                  <a:pos x="16" y="382"/>
                </a:cxn>
              </a:cxnLst>
              <a:rect l="0" t="0" r="r" b="b"/>
              <a:pathLst>
                <a:path w="1376" h="1215">
                  <a:moveTo>
                    <a:pt x="16" y="382"/>
                  </a:moveTo>
                  <a:cubicBezTo>
                    <a:pt x="0" y="382"/>
                    <a:pt x="0" y="382"/>
                    <a:pt x="0" y="382"/>
                  </a:cubicBezTo>
                  <a:cubicBezTo>
                    <a:pt x="0" y="466"/>
                    <a:pt x="91" y="531"/>
                    <a:pt x="129" y="601"/>
                  </a:cubicBezTo>
                  <a:cubicBezTo>
                    <a:pt x="146" y="633"/>
                    <a:pt x="143" y="683"/>
                    <a:pt x="173" y="708"/>
                  </a:cubicBezTo>
                  <a:cubicBezTo>
                    <a:pt x="200" y="731"/>
                    <a:pt x="240" y="763"/>
                    <a:pt x="273" y="777"/>
                  </a:cubicBezTo>
                  <a:cubicBezTo>
                    <a:pt x="298" y="788"/>
                    <a:pt x="337" y="789"/>
                    <a:pt x="353" y="813"/>
                  </a:cubicBezTo>
                  <a:cubicBezTo>
                    <a:pt x="364" y="829"/>
                    <a:pt x="360" y="854"/>
                    <a:pt x="360" y="873"/>
                  </a:cubicBezTo>
                  <a:cubicBezTo>
                    <a:pt x="436" y="873"/>
                    <a:pt x="436" y="873"/>
                    <a:pt x="436" y="873"/>
                  </a:cubicBezTo>
                  <a:cubicBezTo>
                    <a:pt x="431" y="974"/>
                    <a:pt x="431" y="974"/>
                    <a:pt x="431" y="974"/>
                  </a:cubicBezTo>
                  <a:cubicBezTo>
                    <a:pt x="497" y="1064"/>
                    <a:pt x="497" y="1064"/>
                    <a:pt x="497" y="1064"/>
                  </a:cubicBezTo>
                  <a:cubicBezTo>
                    <a:pt x="596" y="1079"/>
                    <a:pt x="596" y="1079"/>
                    <a:pt x="596" y="1079"/>
                  </a:cubicBezTo>
                  <a:cubicBezTo>
                    <a:pt x="668" y="1100"/>
                    <a:pt x="668" y="1100"/>
                    <a:pt x="668" y="1100"/>
                  </a:cubicBezTo>
                  <a:cubicBezTo>
                    <a:pt x="665" y="1115"/>
                    <a:pt x="661" y="1134"/>
                    <a:pt x="674" y="1146"/>
                  </a:cubicBezTo>
                  <a:cubicBezTo>
                    <a:pt x="688" y="1159"/>
                    <a:pt x="709" y="1149"/>
                    <a:pt x="712" y="1173"/>
                  </a:cubicBezTo>
                  <a:cubicBezTo>
                    <a:pt x="738" y="1171"/>
                    <a:pt x="762" y="1161"/>
                    <a:pt x="788" y="1166"/>
                  </a:cubicBezTo>
                  <a:cubicBezTo>
                    <a:pt x="822" y="1173"/>
                    <a:pt x="855" y="1197"/>
                    <a:pt x="888" y="1200"/>
                  </a:cubicBezTo>
                  <a:cubicBezTo>
                    <a:pt x="920" y="1203"/>
                    <a:pt x="953" y="1190"/>
                    <a:pt x="984" y="1191"/>
                  </a:cubicBezTo>
                  <a:cubicBezTo>
                    <a:pt x="1007" y="1192"/>
                    <a:pt x="1049" y="1215"/>
                    <a:pt x="1068" y="1207"/>
                  </a:cubicBezTo>
                  <a:cubicBezTo>
                    <a:pt x="1153" y="1173"/>
                    <a:pt x="1184" y="1046"/>
                    <a:pt x="1272" y="1019"/>
                  </a:cubicBezTo>
                  <a:cubicBezTo>
                    <a:pt x="1247" y="980"/>
                    <a:pt x="1265" y="985"/>
                    <a:pt x="1273" y="946"/>
                  </a:cubicBezTo>
                  <a:cubicBezTo>
                    <a:pt x="1277" y="929"/>
                    <a:pt x="1264" y="914"/>
                    <a:pt x="1273" y="898"/>
                  </a:cubicBezTo>
                  <a:cubicBezTo>
                    <a:pt x="1280" y="885"/>
                    <a:pt x="1298" y="883"/>
                    <a:pt x="1308" y="872"/>
                  </a:cubicBezTo>
                  <a:cubicBezTo>
                    <a:pt x="1339" y="838"/>
                    <a:pt x="1368" y="782"/>
                    <a:pt x="1368" y="735"/>
                  </a:cubicBezTo>
                  <a:cubicBezTo>
                    <a:pt x="1336" y="723"/>
                    <a:pt x="1336" y="723"/>
                    <a:pt x="1336" y="723"/>
                  </a:cubicBezTo>
                  <a:cubicBezTo>
                    <a:pt x="1336" y="685"/>
                    <a:pt x="1327" y="663"/>
                    <a:pt x="1344" y="625"/>
                  </a:cubicBezTo>
                  <a:cubicBezTo>
                    <a:pt x="1332" y="609"/>
                    <a:pt x="1332" y="609"/>
                    <a:pt x="1332" y="609"/>
                  </a:cubicBezTo>
                  <a:cubicBezTo>
                    <a:pt x="1304" y="605"/>
                    <a:pt x="1304" y="605"/>
                    <a:pt x="1304" y="605"/>
                  </a:cubicBezTo>
                  <a:cubicBezTo>
                    <a:pt x="1311" y="578"/>
                    <a:pt x="1324" y="579"/>
                    <a:pt x="1348" y="573"/>
                  </a:cubicBezTo>
                  <a:cubicBezTo>
                    <a:pt x="1343" y="534"/>
                    <a:pt x="1359" y="524"/>
                    <a:pt x="1376" y="491"/>
                  </a:cubicBezTo>
                  <a:cubicBezTo>
                    <a:pt x="1364" y="484"/>
                    <a:pt x="1360" y="481"/>
                    <a:pt x="1364" y="467"/>
                  </a:cubicBezTo>
                  <a:cubicBezTo>
                    <a:pt x="1364" y="463"/>
                    <a:pt x="1364" y="463"/>
                    <a:pt x="1364" y="463"/>
                  </a:cubicBezTo>
                  <a:cubicBezTo>
                    <a:pt x="1344" y="425"/>
                    <a:pt x="1365" y="404"/>
                    <a:pt x="1365" y="366"/>
                  </a:cubicBezTo>
                  <a:cubicBezTo>
                    <a:pt x="1365" y="345"/>
                    <a:pt x="1354" y="342"/>
                    <a:pt x="1368" y="321"/>
                  </a:cubicBezTo>
                  <a:cubicBezTo>
                    <a:pt x="1368" y="317"/>
                    <a:pt x="1368" y="317"/>
                    <a:pt x="1368" y="317"/>
                  </a:cubicBezTo>
                  <a:cubicBezTo>
                    <a:pt x="1341" y="252"/>
                    <a:pt x="1341" y="252"/>
                    <a:pt x="1341" y="252"/>
                  </a:cubicBezTo>
                  <a:cubicBezTo>
                    <a:pt x="1352" y="207"/>
                    <a:pt x="1352" y="207"/>
                    <a:pt x="1352" y="207"/>
                  </a:cubicBezTo>
                  <a:cubicBezTo>
                    <a:pt x="1308" y="199"/>
                    <a:pt x="1308" y="199"/>
                    <a:pt x="1308" y="199"/>
                  </a:cubicBezTo>
                  <a:cubicBezTo>
                    <a:pt x="1312" y="187"/>
                    <a:pt x="1312" y="187"/>
                    <a:pt x="1312" y="187"/>
                  </a:cubicBezTo>
                  <a:cubicBezTo>
                    <a:pt x="1265" y="162"/>
                    <a:pt x="1224" y="155"/>
                    <a:pt x="1172" y="155"/>
                  </a:cubicBezTo>
                  <a:cubicBezTo>
                    <a:pt x="1160" y="114"/>
                    <a:pt x="1123" y="120"/>
                    <a:pt x="1092" y="108"/>
                  </a:cubicBezTo>
                  <a:cubicBezTo>
                    <a:pt x="1078" y="102"/>
                    <a:pt x="1071" y="88"/>
                    <a:pt x="1056" y="83"/>
                  </a:cubicBezTo>
                  <a:cubicBezTo>
                    <a:pt x="1014" y="69"/>
                    <a:pt x="960" y="78"/>
                    <a:pt x="916" y="78"/>
                  </a:cubicBezTo>
                  <a:cubicBezTo>
                    <a:pt x="916" y="17"/>
                    <a:pt x="916" y="17"/>
                    <a:pt x="916" y="17"/>
                  </a:cubicBezTo>
                  <a:cubicBezTo>
                    <a:pt x="825" y="16"/>
                    <a:pt x="707" y="0"/>
                    <a:pt x="639" y="81"/>
                  </a:cubicBezTo>
                  <a:cubicBezTo>
                    <a:pt x="618" y="105"/>
                    <a:pt x="645" y="151"/>
                    <a:pt x="615" y="173"/>
                  </a:cubicBezTo>
                  <a:cubicBezTo>
                    <a:pt x="603" y="182"/>
                    <a:pt x="584" y="179"/>
                    <a:pt x="569" y="185"/>
                  </a:cubicBezTo>
                  <a:cubicBezTo>
                    <a:pt x="542" y="196"/>
                    <a:pt x="522" y="217"/>
                    <a:pt x="496" y="230"/>
                  </a:cubicBezTo>
                  <a:cubicBezTo>
                    <a:pt x="482" y="237"/>
                    <a:pt x="463" y="238"/>
                    <a:pt x="451" y="250"/>
                  </a:cubicBezTo>
                  <a:cubicBezTo>
                    <a:pt x="433" y="267"/>
                    <a:pt x="427" y="293"/>
                    <a:pt x="414" y="313"/>
                  </a:cubicBezTo>
                  <a:cubicBezTo>
                    <a:pt x="393" y="343"/>
                    <a:pt x="347" y="400"/>
                    <a:pt x="316" y="419"/>
                  </a:cubicBezTo>
                  <a:cubicBezTo>
                    <a:pt x="261" y="452"/>
                    <a:pt x="235" y="412"/>
                    <a:pt x="180" y="413"/>
                  </a:cubicBezTo>
                  <a:cubicBezTo>
                    <a:pt x="163" y="413"/>
                    <a:pt x="150" y="431"/>
                    <a:pt x="133" y="427"/>
                  </a:cubicBezTo>
                  <a:cubicBezTo>
                    <a:pt x="117" y="423"/>
                    <a:pt x="108" y="403"/>
                    <a:pt x="92" y="398"/>
                  </a:cubicBezTo>
                  <a:cubicBezTo>
                    <a:pt x="64" y="390"/>
                    <a:pt x="35" y="421"/>
                    <a:pt x="16" y="38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" name="Freeform 62"/>
            <p:cNvSpPr>
              <a:spLocks noEditPoints="1"/>
            </p:cNvSpPr>
            <p:nvPr/>
          </p:nvSpPr>
          <p:spPr bwMode="auto">
            <a:xfrm>
              <a:off x="3319463" y="3227388"/>
              <a:ext cx="190500" cy="395288"/>
            </a:xfrm>
            <a:custGeom>
              <a:avLst/>
              <a:gdLst/>
              <a:ahLst/>
              <a:cxnLst>
                <a:cxn ang="0">
                  <a:pos x="172" y="70"/>
                </a:cxn>
                <a:cxn ang="0">
                  <a:pos x="212" y="134"/>
                </a:cxn>
                <a:cxn ang="0">
                  <a:pos x="210" y="155"/>
                </a:cxn>
                <a:cxn ang="0">
                  <a:pos x="264" y="242"/>
                </a:cxn>
                <a:cxn ang="0">
                  <a:pos x="191" y="295"/>
                </a:cxn>
                <a:cxn ang="0">
                  <a:pos x="211" y="342"/>
                </a:cxn>
                <a:cxn ang="0">
                  <a:pos x="191" y="386"/>
                </a:cxn>
                <a:cxn ang="0">
                  <a:pos x="203" y="434"/>
                </a:cxn>
                <a:cxn ang="0">
                  <a:pos x="240" y="542"/>
                </a:cxn>
                <a:cxn ang="0">
                  <a:pos x="240" y="546"/>
                </a:cxn>
                <a:cxn ang="0">
                  <a:pos x="208" y="574"/>
                </a:cxn>
                <a:cxn ang="0">
                  <a:pos x="143" y="610"/>
                </a:cxn>
                <a:cxn ang="0">
                  <a:pos x="139" y="702"/>
                </a:cxn>
                <a:cxn ang="0">
                  <a:pos x="95" y="759"/>
                </a:cxn>
                <a:cxn ang="0">
                  <a:pos x="113" y="783"/>
                </a:cxn>
                <a:cxn ang="0">
                  <a:pos x="180" y="822"/>
                </a:cxn>
                <a:cxn ang="0">
                  <a:pos x="256" y="930"/>
                </a:cxn>
                <a:cxn ang="0">
                  <a:pos x="392" y="902"/>
                </a:cxn>
                <a:cxn ang="0">
                  <a:pos x="413" y="946"/>
                </a:cxn>
                <a:cxn ang="0">
                  <a:pos x="418" y="1046"/>
                </a:cxn>
                <a:cxn ang="0">
                  <a:pos x="366" y="1147"/>
                </a:cxn>
                <a:cxn ang="0">
                  <a:pos x="385" y="1186"/>
                </a:cxn>
                <a:cxn ang="0">
                  <a:pos x="425" y="1247"/>
                </a:cxn>
                <a:cxn ang="0">
                  <a:pos x="520" y="1322"/>
                </a:cxn>
                <a:cxn ang="0">
                  <a:pos x="500" y="1354"/>
                </a:cxn>
                <a:cxn ang="0">
                  <a:pos x="500" y="1358"/>
                </a:cxn>
                <a:cxn ang="0">
                  <a:pos x="508" y="1378"/>
                </a:cxn>
                <a:cxn ang="0">
                  <a:pos x="551" y="1372"/>
                </a:cxn>
                <a:cxn ang="0">
                  <a:pos x="520" y="1282"/>
                </a:cxn>
                <a:cxn ang="0">
                  <a:pos x="520" y="1278"/>
                </a:cxn>
                <a:cxn ang="0">
                  <a:pos x="558" y="1215"/>
                </a:cxn>
                <a:cxn ang="0">
                  <a:pos x="635" y="1192"/>
                </a:cxn>
                <a:cxn ang="0">
                  <a:pos x="644" y="1138"/>
                </a:cxn>
                <a:cxn ang="0">
                  <a:pos x="652" y="1079"/>
                </a:cxn>
                <a:cxn ang="0">
                  <a:pos x="643" y="1038"/>
                </a:cxn>
                <a:cxn ang="0">
                  <a:pos x="649" y="938"/>
                </a:cxn>
                <a:cxn ang="0">
                  <a:pos x="505" y="764"/>
                </a:cxn>
                <a:cxn ang="0">
                  <a:pos x="431" y="722"/>
                </a:cxn>
                <a:cxn ang="0">
                  <a:pos x="422" y="611"/>
                </a:cxn>
                <a:cxn ang="0">
                  <a:pos x="396" y="514"/>
                </a:cxn>
                <a:cxn ang="0">
                  <a:pos x="440" y="414"/>
                </a:cxn>
                <a:cxn ang="0">
                  <a:pos x="504" y="414"/>
                </a:cxn>
                <a:cxn ang="0">
                  <a:pos x="438" y="322"/>
                </a:cxn>
                <a:cxn ang="0">
                  <a:pos x="444" y="267"/>
                </a:cxn>
                <a:cxn ang="0">
                  <a:pos x="432" y="226"/>
                </a:cxn>
                <a:cxn ang="0">
                  <a:pos x="414" y="130"/>
                </a:cxn>
                <a:cxn ang="0">
                  <a:pos x="312" y="78"/>
                </a:cxn>
                <a:cxn ang="0">
                  <a:pos x="180" y="46"/>
                </a:cxn>
                <a:cxn ang="0">
                  <a:pos x="140" y="33"/>
                </a:cxn>
                <a:cxn ang="0">
                  <a:pos x="172" y="70"/>
                </a:cxn>
                <a:cxn ang="0">
                  <a:pos x="0" y="890"/>
                </a:cxn>
                <a:cxn ang="0">
                  <a:pos x="4" y="894"/>
                </a:cxn>
                <a:cxn ang="0">
                  <a:pos x="0" y="890"/>
                </a:cxn>
              </a:cxnLst>
              <a:rect l="0" t="0" r="r" b="b"/>
              <a:pathLst>
                <a:path w="671" h="1383">
                  <a:moveTo>
                    <a:pt x="172" y="70"/>
                  </a:moveTo>
                  <a:cubicBezTo>
                    <a:pt x="212" y="134"/>
                    <a:pt x="212" y="134"/>
                    <a:pt x="212" y="134"/>
                  </a:cubicBezTo>
                  <a:cubicBezTo>
                    <a:pt x="210" y="155"/>
                    <a:pt x="210" y="155"/>
                    <a:pt x="210" y="155"/>
                  </a:cubicBezTo>
                  <a:cubicBezTo>
                    <a:pt x="264" y="242"/>
                    <a:pt x="264" y="242"/>
                    <a:pt x="264" y="242"/>
                  </a:cubicBezTo>
                  <a:cubicBezTo>
                    <a:pt x="250" y="248"/>
                    <a:pt x="191" y="282"/>
                    <a:pt x="191" y="295"/>
                  </a:cubicBezTo>
                  <a:cubicBezTo>
                    <a:pt x="191" y="312"/>
                    <a:pt x="211" y="325"/>
                    <a:pt x="211" y="342"/>
                  </a:cubicBezTo>
                  <a:cubicBezTo>
                    <a:pt x="210" y="359"/>
                    <a:pt x="193" y="370"/>
                    <a:pt x="191" y="386"/>
                  </a:cubicBezTo>
                  <a:cubicBezTo>
                    <a:pt x="188" y="403"/>
                    <a:pt x="201" y="418"/>
                    <a:pt x="203" y="434"/>
                  </a:cubicBezTo>
                  <a:cubicBezTo>
                    <a:pt x="208" y="470"/>
                    <a:pt x="170" y="554"/>
                    <a:pt x="240" y="542"/>
                  </a:cubicBezTo>
                  <a:cubicBezTo>
                    <a:pt x="240" y="546"/>
                    <a:pt x="240" y="546"/>
                    <a:pt x="240" y="546"/>
                  </a:cubicBezTo>
                  <a:cubicBezTo>
                    <a:pt x="228" y="554"/>
                    <a:pt x="220" y="567"/>
                    <a:pt x="208" y="574"/>
                  </a:cubicBezTo>
                  <a:cubicBezTo>
                    <a:pt x="182" y="588"/>
                    <a:pt x="155" y="577"/>
                    <a:pt x="143" y="610"/>
                  </a:cubicBezTo>
                  <a:cubicBezTo>
                    <a:pt x="133" y="637"/>
                    <a:pt x="151" y="672"/>
                    <a:pt x="139" y="702"/>
                  </a:cubicBezTo>
                  <a:cubicBezTo>
                    <a:pt x="131" y="722"/>
                    <a:pt x="97" y="742"/>
                    <a:pt x="95" y="759"/>
                  </a:cubicBezTo>
                  <a:cubicBezTo>
                    <a:pt x="94" y="769"/>
                    <a:pt x="108" y="776"/>
                    <a:pt x="113" y="783"/>
                  </a:cubicBezTo>
                  <a:cubicBezTo>
                    <a:pt x="131" y="805"/>
                    <a:pt x="146" y="842"/>
                    <a:pt x="180" y="822"/>
                  </a:cubicBezTo>
                  <a:cubicBezTo>
                    <a:pt x="256" y="930"/>
                    <a:pt x="256" y="930"/>
                    <a:pt x="256" y="930"/>
                  </a:cubicBezTo>
                  <a:cubicBezTo>
                    <a:pt x="392" y="902"/>
                    <a:pt x="392" y="902"/>
                    <a:pt x="392" y="902"/>
                  </a:cubicBezTo>
                  <a:cubicBezTo>
                    <a:pt x="395" y="919"/>
                    <a:pt x="408" y="930"/>
                    <a:pt x="413" y="946"/>
                  </a:cubicBezTo>
                  <a:cubicBezTo>
                    <a:pt x="423" y="974"/>
                    <a:pt x="422" y="1017"/>
                    <a:pt x="418" y="1046"/>
                  </a:cubicBezTo>
                  <a:cubicBezTo>
                    <a:pt x="412" y="1082"/>
                    <a:pt x="372" y="1113"/>
                    <a:pt x="366" y="1147"/>
                  </a:cubicBezTo>
                  <a:cubicBezTo>
                    <a:pt x="362" y="1163"/>
                    <a:pt x="378" y="1173"/>
                    <a:pt x="385" y="1186"/>
                  </a:cubicBezTo>
                  <a:cubicBezTo>
                    <a:pt x="399" y="1213"/>
                    <a:pt x="404" y="1224"/>
                    <a:pt x="425" y="1247"/>
                  </a:cubicBezTo>
                  <a:cubicBezTo>
                    <a:pt x="448" y="1273"/>
                    <a:pt x="481" y="1327"/>
                    <a:pt x="520" y="1322"/>
                  </a:cubicBezTo>
                  <a:cubicBezTo>
                    <a:pt x="500" y="1354"/>
                    <a:pt x="500" y="1354"/>
                    <a:pt x="500" y="1354"/>
                  </a:cubicBezTo>
                  <a:cubicBezTo>
                    <a:pt x="500" y="1358"/>
                    <a:pt x="500" y="1358"/>
                    <a:pt x="500" y="1358"/>
                  </a:cubicBezTo>
                  <a:cubicBezTo>
                    <a:pt x="508" y="1378"/>
                    <a:pt x="508" y="1378"/>
                    <a:pt x="508" y="1378"/>
                  </a:cubicBezTo>
                  <a:cubicBezTo>
                    <a:pt x="519" y="1378"/>
                    <a:pt x="544" y="1383"/>
                    <a:pt x="551" y="1372"/>
                  </a:cubicBezTo>
                  <a:cubicBezTo>
                    <a:pt x="568" y="1348"/>
                    <a:pt x="548" y="1288"/>
                    <a:pt x="520" y="1282"/>
                  </a:cubicBezTo>
                  <a:cubicBezTo>
                    <a:pt x="520" y="1278"/>
                    <a:pt x="520" y="1278"/>
                    <a:pt x="520" y="1278"/>
                  </a:cubicBezTo>
                  <a:cubicBezTo>
                    <a:pt x="551" y="1263"/>
                    <a:pt x="537" y="1236"/>
                    <a:pt x="558" y="1215"/>
                  </a:cubicBezTo>
                  <a:cubicBezTo>
                    <a:pt x="576" y="1197"/>
                    <a:pt x="613" y="1212"/>
                    <a:pt x="635" y="1192"/>
                  </a:cubicBezTo>
                  <a:cubicBezTo>
                    <a:pt x="652" y="1177"/>
                    <a:pt x="644" y="1158"/>
                    <a:pt x="644" y="1138"/>
                  </a:cubicBezTo>
                  <a:cubicBezTo>
                    <a:pt x="644" y="1118"/>
                    <a:pt x="653" y="1099"/>
                    <a:pt x="652" y="1079"/>
                  </a:cubicBezTo>
                  <a:cubicBezTo>
                    <a:pt x="652" y="1065"/>
                    <a:pt x="643" y="1053"/>
                    <a:pt x="643" y="1038"/>
                  </a:cubicBezTo>
                  <a:cubicBezTo>
                    <a:pt x="643" y="1004"/>
                    <a:pt x="671" y="973"/>
                    <a:pt x="649" y="938"/>
                  </a:cubicBezTo>
                  <a:cubicBezTo>
                    <a:pt x="613" y="880"/>
                    <a:pt x="555" y="811"/>
                    <a:pt x="505" y="764"/>
                  </a:cubicBezTo>
                  <a:cubicBezTo>
                    <a:pt x="487" y="746"/>
                    <a:pt x="439" y="743"/>
                    <a:pt x="431" y="722"/>
                  </a:cubicBezTo>
                  <a:cubicBezTo>
                    <a:pt x="417" y="690"/>
                    <a:pt x="429" y="645"/>
                    <a:pt x="422" y="611"/>
                  </a:cubicBezTo>
                  <a:cubicBezTo>
                    <a:pt x="415" y="577"/>
                    <a:pt x="390" y="551"/>
                    <a:pt x="396" y="514"/>
                  </a:cubicBezTo>
                  <a:cubicBezTo>
                    <a:pt x="403" y="476"/>
                    <a:pt x="439" y="455"/>
                    <a:pt x="440" y="414"/>
                  </a:cubicBezTo>
                  <a:cubicBezTo>
                    <a:pt x="504" y="414"/>
                    <a:pt x="504" y="414"/>
                    <a:pt x="504" y="414"/>
                  </a:cubicBezTo>
                  <a:cubicBezTo>
                    <a:pt x="491" y="378"/>
                    <a:pt x="445" y="360"/>
                    <a:pt x="438" y="322"/>
                  </a:cubicBezTo>
                  <a:cubicBezTo>
                    <a:pt x="434" y="305"/>
                    <a:pt x="444" y="284"/>
                    <a:pt x="444" y="267"/>
                  </a:cubicBezTo>
                  <a:cubicBezTo>
                    <a:pt x="444" y="252"/>
                    <a:pt x="435" y="240"/>
                    <a:pt x="432" y="226"/>
                  </a:cubicBezTo>
                  <a:cubicBezTo>
                    <a:pt x="425" y="197"/>
                    <a:pt x="429" y="155"/>
                    <a:pt x="414" y="130"/>
                  </a:cubicBezTo>
                  <a:cubicBezTo>
                    <a:pt x="400" y="107"/>
                    <a:pt x="313" y="0"/>
                    <a:pt x="312" y="78"/>
                  </a:cubicBezTo>
                  <a:cubicBezTo>
                    <a:pt x="270" y="58"/>
                    <a:pt x="224" y="57"/>
                    <a:pt x="180" y="46"/>
                  </a:cubicBezTo>
                  <a:cubicBezTo>
                    <a:pt x="169" y="43"/>
                    <a:pt x="151" y="20"/>
                    <a:pt x="140" y="33"/>
                  </a:cubicBezTo>
                  <a:cubicBezTo>
                    <a:pt x="126" y="50"/>
                    <a:pt x="152" y="93"/>
                    <a:pt x="172" y="70"/>
                  </a:cubicBezTo>
                  <a:moveTo>
                    <a:pt x="0" y="890"/>
                  </a:moveTo>
                  <a:cubicBezTo>
                    <a:pt x="4" y="894"/>
                    <a:pt x="4" y="894"/>
                    <a:pt x="4" y="894"/>
                  </a:cubicBezTo>
                  <a:lnTo>
                    <a:pt x="0" y="8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" name="Freeform 63"/>
            <p:cNvSpPr/>
            <p:nvPr/>
          </p:nvSpPr>
          <p:spPr bwMode="auto">
            <a:xfrm>
              <a:off x="2819400" y="3181350"/>
              <a:ext cx="584200" cy="493713"/>
            </a:xfrm>
            <a:custGeom>
              <a:avLst/>
              <a:gdLst/>
              <a:ahLst/>
              <a:cxnLst>
                <a:cxn ang="0">
                  <a:pos x="1110" y="181"/>
                </a:cxn>
                <a:cxn ang="0">
                  <a:pos x="1150" y="391"/>
                </a:cxn>
                <a:cxn ang="0">
                  <a:pos x="1143" y="463"/>
                </a:cxn>
                <a:cxn ang="0">
                  <a:pos x="1108" y="588"/>
                </a:cxn>
                <a:cxn ang="0">
                  <a:pos x="1228" y="733"/>
                </a:cxn>
                <a:cxn ang="0">
                  <a:pos x="1322" y="733"/>
                </a:cxn>
                <a:cxn ang="0">
                  <a:pos x="1358" y="697"/>
                </a:cxn>
                <a:cxn ang="0">
                  <a:pos x="1334" y="902"/>
                </a:cxn>
                <a:cxn ang="0">
                  <a:pos x="1218" y="866"/>
                </a:cxn>
                <a:cxn ang="0">
                  <a:pos x="1146" y="818"/>
                </a:cxn>
                <a:cxn ang="0">
                  <a:pos x="1034" y="710"/>
                </a:cxn>
                <a:cxn ang="0">
                  <a:pos x="962" y="661"/>
                </a:cxn>
                <a:cxn ang="0">
                  <a:pos x="878" y="592"/>
                </a:cxn>
                <a:cxn ang="0">
                  <a:pos x="782" y="649"/>
                </a:cxn>
                <a:cxn ang="0">
                  <a:pos x="591" y="528"/>
                </a:cxn>
                <a:cxn ang="0">
                  <a:pos x="482" y="547"/>
                </a:cxn>
                <a:cxn ang="0">
                  <a:pos x="438" y="532"/>
                </a:cxn>
                <a:cxn ang="0">
                  <a:pos x="386" y="475"/>
                </a:cxn>
                <a:cxn ang="0">
                  <a:pos x="362" y="560"/>
                </a:cxn>
                <a:cxn ang="0">
                  <a:pos x="357" y="729"/>
                </a:cxn>
                <a:cxn ang="0">
                  <a:pos x="102" y="838"/>
                </a:cxn>
                <a:cxn ang="0">
                  <a:pos x="6" y="894"/>
                </a:cxn>
                <a:cxn ang="0">
                  <a:pos x="6" y="1277"/>
                </a:cxn>
                <a:cxn ang="0">
                  <a:pos x="86" y="1498"/>
                </a:cxn>
                <a:cxn ang="0">
                  <a:pos x="394" y="1628"/>
                </a:cxn>
                <a:cxn ang="0">
                  <a:pos x="558" y="1675"/>
                </a:cxn>
                <a:cxn ang="0">
                  <a:pos x="690" y="1717"/>
                </a:cxn>
                <a:cxn ang="0">
                  <a:pos x="818" y="1729"/>
                </a:cxn>
                <a:cxn ang="0">
                  <a:pos x="918" y="1667"/>
                </a:cxn>
                <a:cxn ang="0">
                  <a:pos x="1018" y="1543"/>
                </a:cxn>
                <a:cxn ang="0">
                  <a:pos x="1138" y="1466"/>
                </a:cxn>
                <a:cxn ang="0">
                  <a:pos x="1210" y="1374"/>
                </a:cxn>
                <a:cxn ang="0">
                  <a:pos x="1398" y="1301"/>
                </a:cxn>
                <a:cxn ang="0">
                  <a:pos x="1442" y="1188"/>
                </a:cxn>
                <a:cxn ang="0">
                  <a:pos x="1954" y="1023"/>
                </a:cxn>
                <a:cxn ang="0">
                  <a:pos x="1870" y="951"/>
                </a:cxn>
                <a:cxn ang="0">
                  <a:pos x="1922" y="789"/>
                </a:cxn>
                <a:cxn ang="0">
                  <a:pos x="2018" y="725"/>
                </a:cxn>
                <a:cxn ang="0">
                  <a:pos x="1982" y="616"/>
                </a:cxn>
                <a:cxn ang="0">
                  <a:pos x="1989" y="524"/>
                </a:cxn>
                <a:cxn ang="0">
                  <a:pos x="2002" y="459"/>
                </a:cxn>
                <a:cxn ang="0">
                  <a:pos x="2022" y="355"/>
                </a:cxn>
                <a:cxn ang="0">
                  <a:pos x="1918" y="250"/>
                </a:cxn>
                <a:cxn ang="0">
                  <a:pos x="1838" y="185"/>
                </a:cxn>
                <a:cxn ang="0">
                  <a:pos x="1687" y="118"/>
                </a:cxn>
                <a:cxn ang="0">
                  <a:pos x="1582" y="66"/>
                </a:cxn>
                <a:cxn ang="0">
                  <a:pos x="1286" y="38"/>
                </a:cxn>
              </a:cxnLst>
              <a:rect l="0" t="0" r="r" b="b"/>
              <a:pathLst>
                <a:path w="2046" h="1732">
                  <a:moveTo>
                    <a:pt x="1202" y="52"/>
                  </a:moveTo>
                  <a:cubicBezTo>
                    <a:pt x="1222" y="108"/>
                    <a:pt x="1156" y="162"/>
                    <a:pt x="1110" y="181"/>
                  </a:cubicBezTo>
                  <a:cubicBezTo>
                    <a:pt x="1118" y="211"/>
                    <a:pt x="1147" y="237"/>
                    <a:pt x="1158" y="270"/>
                  </a:cubicBezTo>
                  <a:cubicBezTo>
                    <a:pt x="1168" y="301"/>
                    <a:pt x="1148" y="356"/>
                    <a:pt x="1150" y="391"/>
                  </a:cubicBezTo>
                  <a:cubicBezTo>
                    <a:pt x="1150" y="404"/>
                    <a:pt x="1164" y="419"/>
                    <a:pt x="1162" y="431"/>
                  </a:cubicBezTo>
                  <a:cubicBezTo>
                    <a:pt x="1160" y="442"/>
                    <a:pt x="1147" y="452"/>
                    <a:pt x="1143" y="463"/>
                  </a:cubicBezTo>
                  <a:cubicBezTo>
                    <a:pt x="1135" y="488"/>
                    <a:pt x="1133" y="515"/>
                    <a:pt x="1124" y="540"/>
                  </a:cubicBezTo>
                  <a:cubicBezTo>
                    <a:pt x="1117" y="556"/>
                    <a:pt x="1104" y="570"/>
                    <a:pt x="1108" y="588"/>
                  </a:cubicBezTo>
                  <a:cubicBezTo>
                    <a:pt x="1121" y="639"/>
                    <a:pt x="1146" y="650"/>
                    <a:pt x="1182" y="681"/>
                  </a:cubicBezTo>
                  <a:cubicBezTo>
                    <a:pt x="1198" y="695"/>
                    <a:pt x="1211" y="722"/>
                    <a:pt x="1228" y="733"/>
                  </a:cubicBezTo>
                  <a:cubicBezTo>
                    <a:pt x="1243" y="743"/>
                    <a:pt x="1304" y="746"/>
                    <a:pt x="1322" y="741"/>
                  </a:cubicBezTo>
                  <a:cubicBezTo>
                    <a:pt x="1322" y="733"/>
                    <a:pt x="1322" y="733"/>
                    <a:pt x="1322" y="733"/>
                  </a:cubicBezTo>
                  <a:cubicBezTo>
                    <a:pt x="1306" y="729"/>
                    <a:pt x="1306" y="729"/>
                    <a:pt x="1306" y="729"/>
                  </a:cubicBezTo>
                  <a:cubicBezTo>
                    <a:pt x="1316" y="707"/>
                    <a:pt x="1334" y="700"/>
                    <a:pt x="1358" y="697"/>
                  </a:cubicBezTo>
                  <a:cubicBezTo>
                    <a:pt x="1358" y="918"/>
                    <a:pt x="1358" y="918"/>
                    <a:pt x="1358" y="918"/>
                  </a:cubicBezTo>
                  <a:cubicBezTo>
                    <a:pt x="1334" y="902"/>
                    <a:pt x="1334" y="902"/>
                    <a:pt x="1334" y="902"/>
                  </a:cubicBezTo>
                  <a:cubicBezTo>
                    <a:pt x="1350" y="886"/>
                    <a:pt x="1350" y="886"/>
                    <a:pt x="1350" y="886"/>
                  </a:cubicBezTo>
                  <a:cubicBezTo>
                    <a:pt x="1312" y="868"/>
                    <a:pt x="1215" y="954"/>
                    <a:pt x="1218" y="866"/>
                  </a:cubicBezTo>
                  <a:cubicBezTo>
                    <a:pt x="1186" y="822"/>
                    <a:pt x="1186" y="822"/>
                    <a:pt x="1186" y="822"/>
                  </a:cubicBezTo>
                  <a:cubicBezTo>
                    <a:pt x="1171" y="813"/>
                    <a:pt x="1162" y="811"/>
                    <a:pt x="1146" y="818"/>
                  </a:cubicBezTo>
                  <a:cubicBezTo>
                    <a:pt x="1144" y="805"/>
                    <a:pt x="1148" y="790"/>
                    <a:pt x="1143" y="777"/>
                  </a:cubicBezTo>
                  <a:cubicBezTo>
                    <a:pt x="1129" y="741"/>
                    <a:pt x="1069" y="721"/>
                    <a:pt x="1034" y="710"/>
                  </a:cubicBezTo>
                  <a:cubicBezTo>
                    <a:pt x="1020" y="706"/>
                    <a:pt x="1009" y="717"/>
                    <a:pt x="996" y="711"/>
                  </a:cubicBezTo>
                  <a:cubicBezTo>
                    <a:pt x="972" y="700"/>
                    <a:pt x="974" y="680"/>
                    <a:pt x="962" y="661"/>
                  </a:cubicBezTo>
                  <a:cubicBezTo>
                    <a:pt x="943" y="631"/>
                    <a:pt x="928" y="624"/>
                    <a:pt x="918" y="588"/>
                  </a:cubicBezTo>
                  <a:cubicBezTo>
                    <a:pt x="878" y="592"/>
                    <a:pt x="878" y="592"/>
                    <a:pt x="878" y="592"/>
                  </a:cubicBezTo>
                  <a:cubicBezTo>
                    <a:pt x="875" y="610"/>
                    <a:pt x="873" y="642"/>
                    <a:pt x="857" y="654"/>
                  </a:cubicBezTo>
                  <a:cubicBezTo>
                    <a:pt x="834" y="671"/>
                    <a:pt x="806" y="653"/>
                    <a:pt x="782" y="649"/>
                  </a:cubicBezTo>
                  <a:cubicBezTo>
                    <a:pt x="712" y="639"/>
                    <a:pt x="656" y="624"/>
                    <a:pt x="590" y="600"/>
                  </a:cubicBezTo>
                  <a:cubicBezTo>
                    <a:pt x="590" y="590"/>
                    <a:pt x="595" y="531"/>
                    <a:pt x="591" y="528"/>
                  </a:cubicBezTo>
                  <a:cubicBezTo>
                    <a:pt x="582" y="520"/>
                    <a:pt x="564" y="531"/>
                    <a:pt x="554" y="534"/>
                  </a:cubicBezTo>
                  <a:cubicBezTo>
                    <a:pt x="530" y="539"/>
                    <a:pt x="505" y="537"/>
                    <a:pt x="482" y="547"/>
                  </a:cubicBezTo>
                  <a:cubicBezTo>
                    <a:pt x="469" y="552"/>
                    <a:pt x="457" y="566"/>
                    <a:pt x="442" y="566"/>
                  </a:cubicBezTo>
                  <a:cubicBezTo>
                    <a:pt x="420" y="565"/>
                    <a:pt x="431" y="542"/>
                    <a:pt x="438" y="532"/>
                  </a:cubicBezTo>
                  <a:cubicBezTo>
                    <a:pt x="438" y="528"/>
                    <a:pt x="438" y="528"/>
                    <a:pt x="438" y="528"/>
                  </a:cubicBezTo>
                  <a:cubicBezTo>
                    <a:pt x="386" y="475"/>
                    <a:pt x="386" y="475"/>
                    <a:pt x="386" y="475"/>
                  </a:cubicBezTo>
                  <a:cubicBezTo>
                    <a:pt x="353" y="462"/>
                    <a:pt x="352" y="488"/>
                    <a:pt x="355" y="516"/>
                  </a:cubicBezTo>
                  <a:cubicBezTo>
                    <a:pt x="356" y="530"/>
                    <a:pt x="363" y="545"/>
                    <a:pt x="362" y="560"/>
                  </a:cubicBezTo>
                  <a:cubicBezTo>
                    <a:pt x="360" y="576"/>
                    <a:pt x="349" y="591"/>
                    <a:pt x="349" y="608"/>
                  </a:cubicBezTo>
                  <a:cubicBezTo>
                    <a:pt x="348" y="647"/>
                    <a:pt x="359" y="692"/>
                    <a:pt x="357" y="729"/>
                  </a:cubicBezTo>
                  <a:cubicBezTo>
                    <a:pt x="354" y="775"/>
                    <a:pt x="319" y="793"/>
                    <a:pt x="354" y="838"/>
                  </a:cubicBezTo>
                  <a:cubicBezTo>
                    <a:pt x="102" y="838"/>
                    <a:pt x="102" y="838"/>
                    <a:pt x="102" y="838"/>
                  </a:cubicBezTo>
                  <a:cubicBezTo>
                    <a:pt x="81" y="838"/>
                    <a:pt x="29" y="828"/>
                    <a:pt x="12" y="842"/>
                  </a:cubicBezTo>
                  <a:cubicBezTo>
                    <a:pt x="0" y="851"/>
                    <a:pt x="6" y="881"/>
                    <a:pt x="6" y="894"/>
                  </a:cubicBezTo>
                  <a:cubicBezTo>
                    <a:pt x="6" y="1051"/>
                    <a:pt x="6" y="1051"/>
                    <a:pt x="6" y="1051"/>
                  </a:cubicBezTo>
                  <a:cubicBezTo>
                    <a:pt x="6" y="1277"/>
                    <a:pt x="6" y="1277"/>
                    <a:pt x="6" y="1277"/>
                  </a:cubicBezTo>
                  <a:cubicBezTo>
                    <a:pt x="6" y="1338"/>
                    <a:pt x="2" y="1394"/>
                    <a:pt x="30" y="1450"/>
                  </a:cubicBezTo>
                  <a:cubicBezTo>
                    <a:pt x="40" y="1470"/>
                    <a:pt x="70" y="1482"/>
                    <a:pt x="86" y="1498"/>
                  </a:cubicBezTo>
                  <a:cubicBezTo>
                    <a:pt x="128" y="1540"/>
                    <a:pt x="166" y="1587"/>
                    <a:pt x="212" y="1625"/>
                  </a:cubicBezTo>
                  <a:cubicBezTo>
                    <a:pt x="266" y="1671"/>
                    <a:pt x="333" y="1634"/>
                    <a:pt x="394" y="1628"/>
                  </a:cubicBezTo>
                  <a:cubicBezTo>
                    <a:pt x="416" y="1625"/>
                    <a:pt x="436" y="1634"/>
                    <a:pt x="458" y="1634"/>
                  </a:cubicBezTo>
                  <a:cubicBezTo>
                    <a:pt x="489" y="1633"/>
                    <a:pt x="547" y="1639"/>
                    <a:pt x="558" y="1675"/>
                  </a:cubicBezTo>
                  <a:cubicBezTo>
                    <a:pt x="592" y="1700"/>
                    <a:pt x="614" y="1682"/>
                    <a:pt x="650" y="1689"/>
                  </a:cubicBezTo>
                  <a:cubicBezTo>
                    <a:pt x="667" y="1692"/>
                    <a:pt x="673" y="1713"/>
                    <a:pt x="690" y="1717"/>
                  </a:cubicBezTo>
                  <a:cubicBezTo>
                    <a:pt x="710" y="1722"/>
                    <a:pt x="726" y="1702"/>
                    <a:pt x="746" y="1702"/>
                  </a:cubicBezTo>
                  <a:cubicBezTo>
                    <a:pt x="774" y="1703"/>
                    <a:pt x="793" y="1726"/>
                    <a:pt x="818" y="1729"/>
                  </a:cubicBezTo>
                  <a:cubicBezTo>
                    <a:pt x="833" y="1732"/>
                    <a:pt x="877" y="1714"/>
                    <a:pt x="890" y="1706"/>
                  </a:cubicBezTo>
                  <a:cubicBezTo>
                    <a:pt x="905" y="1696"/>
                    <a:pt x="907" y="1679"/>
                    <a:pt x="918" y="1667"/>
                  </a:cubicBezTo>
                  <a:cubicBezTo>
                    <a:pt x="938" y="1647"/>
                    <a:pt x="967" y="1635"/>
                    <a:pt x="983" y="1611"/>
                  </a:cubicBezTo>
                  <a:cubicBezTo>
                    <a:pt x="996" y="1590"/>
                    <a:pt x="1002" y="1561"/>
                    <a:pt x="1018" y="1543"/>
                  </a:cubicBezTo>
                  <a:cubicBezTo>
                    <a:pt x="1039" y="1521"/>
                    <a:pt x="1080" y="1506"/>
                    <a:pt x="1106" y="1490"/>
                  </a:cubicBezTo>
                  <a:cubicBezTo>
                    <a:pt x="1117" y="1483"/>
                    <a:pt x="1136" y="1479"/>
                    <a:pt x="1138" y="1466"/>
                  </a:cubicBezTo>
                  <a:cubicBezTo>
                    <a:pt x="1150" y="1466"/>
                    <a:pt x="1165" y="1468"/>
                    <a:pt x="1177" y="1465"/>
                  </a:cubicBezTo>
                  <a:cubicBezTo>
                    <a:pt x="1215" y="1454"/>
                    <a:pt x="1194" y="1400"/>
                    <a:pt x="1210" y="1374"/>
                  </a:cubicBezTo>
                  <a:cubicBezTo>
                    <a:pt x="1219" y="1358"/>
                    <a:pt x="1246" y="1343"/>
                    <a:pt x="1262" y="1334"/>
                  </a:cubicBezTo>
                  <a:cubicBezTo>
                    <a:pt x="1301" y="1313"/>
                    <a:pt x="1353" y="1301"/>
                    <a:pt x="1398" y="1301"/>
                  </a:cubicBezTo>
                  <a:cubicBezTo>
                    <a:pt x="1425" y="1301"/>
                    <a:pt x="1451" y="1313"/>
                    <a:pt x="1478" y="1305"/>
                  </a:cubicBezTo>
                  <a:cubicBezTo>
                    <a:pt x="1461" y="1272"/>
                    <a:pt x="1440" y="1225"/>
                    <a:pt x="1442" y="1188"/>
                  </a:cubicBezTo>
                  <a:cubicBezTo>
                    <a:pt x="1550" y="1152"/>
                    <a:pt x="1550" y="1152"/>
                    <a:pt x="1550" y="1152"/>
                  </a:cubicBezTo>
                  <a:cubicBezTo>
                    <a:pt x="1954" y="1023"/>
                    <a:pt x="1954" y="1023"/>
                    <a:pt x="1954" y="1023"/>
                  </a:cubicBezTo>
                  <a:cubicBezTo>
                    <a:pt x="1950" y="1000"/>
                    <a:pt x="1934" y="1009"/>
                    <a:pt x="1918" y="997"/>
                  </a:cubicBezTo>
                  <a:cubicBezTo>
                    <a:pt x="1898" y="983"/>
                    <a:pt x="1895" y="955"/>
                    <a:pt x="1870" y="951"/>
                  </a:cubicBezTo>
                  <a:cubicBezTo>
                    <a:pt x="1921" y="874"/>
                    <a:pt x="1921" y="874"/>
                    <a:pt x="1921" y="874"/>
                  </a:cubicBezTo>
                  <a:cubicBezTo>
                    <a:pt x="1922" y="789"/>
                    <a:pt x="1922" y="789"/>
                    <a:pt x="1922" y="789"/>
                  </a:cubicBezTo>
                  <a:cubicBezTo>
                    <a:pt x="1974" y="768"/>
                    <a:pt x="1974" y="768"/>
                    <a:pt x="1974" y="768"/>
                  </a:cubicBezTo>
                  <a:cubicBezTo>
                    <a:pt x="2018" y="725"/>
                    <a:pt x="2018" y="725"/>
                    <a:pt x="2018" y="725"/>
                  </a:cubicBezTo>
                  <a:cubicBezTo>
                    <a:pt x="2007" y="720"/>
                    <a:pt x="1992" y="721"/>
                    <a:pt x="1983" y="714"/>
                  </a:cubicBezTo>
                  <a:cubicBezTo>
                    <a:pt x="1956" y="695"/>
                    <a:pt x="1983" y="643"/>
                    <a:pt x="1982" y="616"/>
                  </a:cubicBezTo>
                  <a:cubicBezTo>
                    <a:pt x="1981" y="599"/>
                    <a:pt x="1965" y="584"/>
                    <a:pt x="1967" y="568"/>
                  </a:cubicBezTo>
                  <a:cubicBezTo>
                    <a:pt x="1969" y="551"/>
                    <a:pt x="1989" y="541"/>
                    <a:pt x="1989" y="524"/>
                  </a:cubicBezTo>
                  <a:cubicBezTo>
                    <a:pt x="1990" y="506"/>
                    <a:pt x="1962" y="492"/>
                    <a:pt x="1968" y="474"/>
                  </a:cubicBezTo>
                  <a:cubicBezTo>
                    <a:pt x="1973" y="461"/>
                    <a:pt x="1991" y="464"/>
                    <a:pt x="2002" y="459"/>
                  </a:cubicBezTo>
                  <a:cubicBezTo>
                    <a:pt x="2017" y="451"/>
                    <a:pt x="2035" y="429"/>
                    <a:pt x="2046" y="415"/>
                  </a:cubicBezTo>
                  <a:cubicBezTo>
                    <a:pt x="2024" y="396"/>
                    <a:pt x="2016" y="383"/>
                    <a:pt x="2022" y="355"/>
                  </a:cubicBezTo>
                  <a:cubicBezTo>
                    <a:pt x="2010" y="348"/>
                    <a:pt x="1993" y="341"/>
                    <a:pt x="1986" y="329"/>
                  </a:cubicBezTo>
                  <a:cubicBezTo>
                    <a:pt x="1962" y="290"/>
                    <a:pt x="1981" y="242"/>
                    <a:pt x="1918" y="250"/>
                  </a:cubicBezTo>
                  <a:cubicBezTo>
                    <a:pt x="1906" y="206"/>
                    <a:pt x="1906" y="206"/>
                    <a:pt x="1906" y="206"/>
                  </a:cubicBezTo>
                  <a:cubicBezTo>
                    <a:pt x="1838" y="185"/>
                    <a:pt x="1838" y="185"/>
                    <a:pt x="1838" y="185"/>
                  </a:cubicBezTo>
                  <a:cubicBezTo>
                    <a:pt x="1829" y="157"/>
                    <a:pt x="1765" y="145"/>
                    <a:pt x="1738" y="149"/>
                  </a:cubicBezTo>
                  <a:cubicBezTo>
                    <a:pt x="1735" y="114"/>
                    <a:pt x="1708" y="131"/>
                    <a:pt x="1687" y="118"/>
                  </a:cubicBezTo>
                  <a:cubicBezTo>
                    <a:pt x="1672" y="109"/>
                    <a:pt x="1667" y="91"/>
                    <a:pt x="1653" y="82"/>
                  </a:cubicBezTo>
                  <a:cubicBezTo>
                    <a:pt x="1630" y="69"/>
                    <a:pt x="1604" y="74"/>
                    <a:pt x="1582" y="66"/>
                  </a:cubicBezTo>
                  <a:cubicBezTo>
                    <a:pt x="1559" y="57"/>
                    <a:pt x="1541" y="22"/>
                    <a:pt x="1534" y="0"/>
                  </a:cubicBezTo>
                  <a:cubicBezTo>
                    <a:pt x="1286" y="38"/>
                    <a:pt x="1286" y="38"/>
                    <a:pt x="1286" y="38"/>
                  </a:cubicBezTo>
                  <a:lnTo>
                    <a:pt x="1202" y="5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" name="Freeform 64"/>
            <p:cNvSpPr/>
            <p:nvPr/>
          </p:nvSpPr>
          <p:spPr bwMode="auto">
            <a:xfrm>
              <a:off x="3065463" y="4194175"/>
              <a:ext cx="125413" cy="104775"/>
            </a:xfrm>
            <a:custGeom>
              <a:avLst/>
              <a:gdLst/>
              <a:ahLst/>
              <a:cxnLst>
                <a:cxn ang="0">
                  <a:pos x="241" y="287"/>
                </a:cxn>
                <a:cxn ang="0">
                  <a:pos x="313" y="267"/>
                </a:cxn>
                <a:cxn ang="0">
                  <a:pos x="383" y="232"/>
                </a:cxn>
                <a:cxn ang="0">
                  <a:pos x="386" y="191"/>
                </a:cxn>
                <a:cxn ang="0">
                  <a:pos x="429" y="116"/>
                </a:cxn>
                <a:cxn ang="0">
                  <a:pos x="354" y="47"/>
                </a:cxn>
                <a:cxn ang="0">
                  <a:pos x="279" y="0"/>
                </a:cxn>
                <a:cxn ang="0">
                  <a:pos x="105" y="81"/>
                </a:cxn>
                <a:cxn ang="0">
                  <a:pos x="76" y="134"/>
                </a:cxn>
                <a:cxn ang="0">
                  <a:pos x="18" y="180"/>
                </a:cxn>
                <a:cxn ang="0">
                  <a:pos x="154" y="357"/>
                </a:cxn>
                <a:cxn ang="0">
                  <a:pos x="241" y="287"/>
                </a:cxn>
              </a:cxnLst>
              <a:rect l="0" t="0" r="r" b="b"/>
              <a:pathLst>
                <a:path w="441" h="368">
                  <a:moveTo>
                    <a:pt x="241" y="287"/>
                  </a:moveTo>
                  <a:cubicBezTo>
                    <a:pt x="241" y="287"/>
                    <a:pt x="281" y="270"/>
                    <a:pt x="313" y="267"/>
                  </a:cubicBezTo>
                  <a:cubicBezTo>
                    <a:pt x="345" y="264"/>
                    <a:pt x="377" y="244"/>
                    <a:pt x="383" y="232"/>
                  </a:cubicBezTo>
                  <a:cubicBezTo>
                    <a:pt x="389" y="220"/>
                    <a:pt x="365" y="212"/>
                    <a:pt x="386" y="191"/>
                  </a:cubicBezTo>
                  <a:cubicBezTo>
                    <a:pt x="406" y="171"/>
                    <a:pt x="441" y="151"/>
                    <a:pt x="429" y="116"/>
                  </a:cubicBezTo>
                  <a:cubicBezTo>
                    <a:pt x="418" y="81"/>
                    <a:pt x="360" y="70"/>
                    <a:pt x="354" y="47"/>
                  </a:cubicBezTo>
                  <a:cubicBezTo>
                    <a:pt x="348" y="23"/>
                    <a:pt x="310" y="0"/>
                    <a:pt x="279" y="0"/>
                  </a:cubicBezTo>
                  <a:cubicBezTo>
                    <a:pt x="247" y="0"/>
                    <a:pt x="119" y="64"/>
                    <a:pt x="105" y="81"/>
                  </a:cubicBezTo>
                  <a:cubicBezTo>
                    <a:pt x="90" y="99"/>
                    <a:pt x="93" y="136"/>
                    <a:pt x="76" y="134"/>
                  </a:cubicBezTo>
                  <a:cubicBezTo>
                    <a:pt x="58" y="145"/>
                    <a:pt x="41" y="174"/>
                    <a:pt x="18" y="180"/>
                  </a:cubicBezTo>
                  <a:cubicBezTo>
                    <a:pt x="0" y="180"/>
                    <a:pt x="131" y="362"/>
                    <a:pt x="154" y="357"/>
                  </a:cubicBezTo>
                  <a:cubicBezTo>
                    <a:pt x="189" y="368"/>
                    <a:pt x="235" y="354"/>
                    <a:pt x="241" y="28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" name="Freeform 65"/>
            <p:cNvSpPr/>
            <p:nvPr/>
          </p:nvSpPr>
          <p:spPr bwMode="auto">
            <a:xfrm>
              <a:off x="3255963" y="4052888"/>
              <a:ext cx="63500" cy="77788"/>
            </a:xfrm>
            <a:custGeom>
              <a:avLst/>
              <a:gdLst/>
              <a:ahLst/>
              <a:cxnLst>
                <a:cxn ang="0">
                  <a:pos x="199" y="269"/>
                </a:cxn>
                <a:cxn ang="0">
                  <a:pos x="209" y="191"/>
                </a:cxn>
                <a:cxn ang="0">
                  <a:pos x="209" y="121"/>
                </a:cxn>
                <a:cxn ang="0">
                  <a:pos x="207" y="52"/>
                </a:cxn>
                <a:cxn ang="0">
                  <a:pos x="132" y="17"/>
                </a:cxn>
                <a:cxn ang="0">
                  <a:pos x="54" y="48"/>
                </a:cxn>
                <a:cxn ang="0">
                  <a:pos x="15" y="105"/>
                </a:cxn>
                <a:cxn ang="0">
                  <a:pos x="19" y="183"/>
                </a:cxn>
                <a:cxn ang="0">
                  <a:pos x="41" y="228"/>
                </a:cxn>
                <a:cxn ang="0">
                  <a:pos x="199" y="269"/>
                </a:cxn>
              </a:cxnLst>
              <a:rect l="0" t="0" r="r" b="b"/>
              <a:pathLst>
                <a:path w="222" h="275">
                  <a:moveTo>
                    <a:pt x="199" y="269"/>
                  </a:moveTo>
                  <a:cubicBezTo>
                    <a:pt x="199" y="269"/>
                    <a:pt x="197" y="209"/>
                    <a:pt x="209" y="191"/>
                  </a:cubicBezTo>
                  <a:cubicBezTo>
                    <a:pt x="222" y="173"/>
                    <a:pt x="218" y="160"/>
                    <a:pt x="209" y="121"/>
                  </a:cubicBezTo>
                  <a:cubicBezTo>
                    <a:pt x="201" y="82"/>
                    <a:pt x="222" y="45"/>
                    <a:pt x="207" y="52"/>
                  </a:cubicBezTo>
                  <a:cubicBezTo>
                    <a:pt x="193" y="58"/>
                    <a:pt x="160" y="33"/>
                    <a:pt x="132" y="17"/>
                  </a:cubicBezTo>
                  <a:cubicBezTo>
                    <a:pt x="103" y="0"/>
                    <a:pt x="66" y="13"/>
                    <a:pt x="54" y="48"/>
                  </a:cubicBezTo>
                  <a:cubicBezTo>
                    <a:pt x="41" y="82"/>
                    <a:pt x="29" y="86"/>
                    <a:pt x="15" y="105"/>
                  </a:cubicBezTo>
                  <a:cubicBezTo>
                    <a:pt x="0" y="123"/>
                    <a:pt x="0" y="154"/>
                    <a:pt x="19" y="183"/>
                  </a:cubicBezTo>
                  <a:cubicBezTo>
                    <a:pt x="37" y="211"/>
                    <a:pt x="27" y="222"/>
                    <a:pt x="41" y="228"/>
                  </a:cubicBezTo>
                  <a:cubicBezTo>
                    <a:pt x="56" y="234"/>
                    <a:pt x="66" y="275"/>
                    <a:pt x="199" y="26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" name="Freeform 66"/>
            <p:cNvSpPr/>
            <p:nvPr/>
          </p:nvSpPr>
          <p:spPr bwMode="auto">
            <a:xfrm>
              <a:off x="3529013" y="1882775"/>
              <a:ext cx="336550" cy="284163"/>
            </a:xfrm>
            <a:custGeom>
              <a:avLst/>
              <a:gdLst/>
              <a:ahLst/>
              <a:cxnLst>
                <a:cxn ang="0">
                  <a:pos x="391" y="0"/>
                </a:cxn>
                <a:cxn ang="0">
                  <a:pos x="299" y="96"/>
                </a:cxn>
                <a:cxn ang="0">
                  <a:pos x="259" y="104"/>
                </a:cxn>
                <a:cxn ang="0">
                  <a:pos x="200" y="130"/>
                </a:cxn>
                <a:cxn ang="0">
                  <a:pos x="163" y="176"/>
                </a:cxn>
                <a:cxn ang="0">
                  <a:pos x="103" y="176"/>
                </a:cxn>
                <a:cxn ang="0">
                  <a:pos x="90" y="260"/>
                </a:cxn>
                <a:cxn ang="0">
                  <a:pos x="100" y="307"/>
                </a:cxn>
                <a:cxn ang="0">
                  <a:pos x="59" y="376"/>
                </a:cxn>
                <a:cxn ang="0">
                  <a:pos x="38" y="460"/>
                </a:cxn>
                <a:cxn ang="0">
                  <a:pos x="13" y="508"/>
                </a:cxn>
                <a:cxn ang="0">
                  <a:pos x="27" y="660"/>
                </a:cxn>
                <a:cxn ang="0">
                  <a:pos x="119" y="663"/>
                </a:cxn>
                <a:cxn ang="0">
                  <a:pos x="153" y="637"/>
                </a:cxn>
                <a:cxn ang="0">
                  <a:pos x="215" y="692"/>
                </a:cxn>
                <a:cxn ang="0">
                  <a:pos x="267" y="568"/>
                </a:cxn>
                <a:cxn ang="0">
                  <a:pos x="275" y="568"/>
                </a:cxn>
                <a:cxn ang="0">
                  <a:pos x="322" y="596"/>
                </a:cxn>
                <a:cxn ang="0">
                  <a:pos x="351" y="634"/>
                </a:cxn>
                <a:cxn ang="0">
                  <a:pos x="467" y="608"/>
                </a:cxn>
                <a:cxn ang="0">
                  <a:pos x="463" y="596"/>
                </a:cxn>
                <a:cxn ang="0">
                  <a:pos x="491" y="628"/>
                </a:cxn>
                <a:cxn ang="0">
                  <a:pos x="547" y="616"/>
                </a:cxn>
                <a:cxn ang="0">
                  <a:pos x="655" y="632"/>
                </a:cxn>
                <a:cxn ang="0">
                  <a:pos x="707" y="664"/>
                </a:cxn>
                <a:cxn ang="0">
                  <a:pos x="761" y="685"/>
                </a:cxn>
                <a:cxn ang="0">
                  <a:pos x="840" y="778"/>
                </a:cxn>
                <a:cxn ang="0">
                  <a:pos x="930" y="845"/>
                </a:cxn>
                <a:cxn ang="0">
                  <a:pos x="962" y="899"/>
                </a:cxn>
                <a:cxn ang="0">
                  <a:pos x="1006" y="929"/>
                </a:cxn>
                <a:cxn ang="0">
                  <a:pos x="1043" y="980"/>
                </a:cxn>
                <a:cxn ang="0">
                  <a:pos x="1047" y="980"/>
                </a:cxn>
                <a:cxn ang="0">
                  <a:pos x="1059" y="964"/>
                </a:cxn>
                <a:cxn ang="0">
                  <a:pos x="1063" y="964"/>
                </a:cxn>
                <a:cxn ang="0">
                  <a:pos x="1127" y="980"/>
                </a:cxn>
                <a:cxn ang="0">
                  <a:pos x="1123" y="964"/>
                </a:cxn>
                <a:cxn ang="0">
                  <a:pos x="1179" y="932"/>
                </a:cxn>
                <a:cxn ang="0">
                  <a:pos x="1143" y="912"/>
                </a:cxn>
                <a:cxn ang="0">
                  <a:pos x="1111" y="872"/>
                </a:cxn>
                <a:cxn ang="0">
                  <a:pos x="1051" y="844"/>
                </a:cxn>
                <a:cxn ang="0">
                  <a:pos x="1035" y="780"/>
                </a:cxn>
                <a:cxn ang="0">
                  <a:pos x="973" y="729"/>
                </a:cxn>
                <a:cxn ang="0">
                  <a:pos x="929" y="711"/>
                </a:cxn>
                <a:cxn ang="0">
                  <a:pos x="838" y="596"/>
                </a:cxn>
                <a:cxn ang="0">
                  <a:pos x="651" y="492"/>
                </a:cxn>
                <a:cxn ang="0">
                  <a:pos x="635" y="492"/>
                </a:cxn>
                <a:cxn ang="0">
                  <a:pos x="593" y="468"/>
                </a:cxn>
                <a:cxn ang="0">
                  <a:pos x="607" y="520"/>
                </a:cxn>
                <a:cxn ang="0">
                  <a:pos x="535" y="436"/>
                </a:cxn>
                <a:cxn ang="0">
                  <a:pos x="506" y="352"/>
                </a:cxn>
                <a:cxn ang="0">
                  <a:pos x="489" y="232"/>
                </a:cxn>
                <a:cxn ang="0">
                  <a:pos x="465" y="172"/>
                </a:cxn>
                <a:cxn ang="0">
                  <a:pos x="431" y="96"/>
                </a:cxn>
                <a:cxn ang="0">
                  <a:pos x="391" y="0"/>
                </a:cxn>
              </a:cxnLst>
              <a:rect l="0" t="0" r="r" b="b"/>
              <a:pathLst>
                <a:path w="1179" h="997">
                  <a:moveTo>
                    <a:pt x="391" y="0"/>
                  </a:moveTo>
                  <a:cubicBezTo>
                    <a:pt x="363" y="31"/>
                    <a:pt x="343" y="94"/>
                    <a:pt x="299" y="96"/>
                  </a:cubicBezTo>
                  <a:cubicBezTo>
                    <a:pt x="295" y="70"/>
                    <a:pt x="268" y="95"/>
                    <a:pt x="259" y="104"/>
                  </a:cubicBezTo>
                  <a:cubicBezTo>
                    <a:pt x="241" y="119"/>
                    <a:pt x="216" y="115"/>
                    <a:pt x="200" y="130"/>
                  </a:cubicBezTo>
                  <a:cubicBezTo>
                    <a:pt x="184" y="145"/>
                    <a:pt x="186" y="167"/>
                    <a:pt x="163" y="176"/>
                  </a:cubicBezTo>
                  <a:cubicBezTo>
                    <a:pt x="142" y="185"/>
                    <a:pt x="124" y="170"/>
                    <a:pt x="103" y="176"/>
                  </a:cubicBezTo>
                  <a:cubicBezTo>
                    <a:pt x="116" y="211"/>
                    <a:pt x="94" y="228"/>
                    <a:pt x="90" y="260"/>
                  </a:cubicBezTo>
                  <a:cubicBezTo>
                    <a:pt x="87" y="277"/>
                    <a:pt x="104" y="291"/>
                    <a:pt x="100" y="307"/>
                  </a:cubicBezTo>
                  <a:cubicBezTo>
                    <a:pt x="94" y="330"/>
                    <a:pt x="69" y="354"/>
                    <a:pt x="59" y="376"/>
                  </a:cubicBezTo>
                  <a:cubicBezTo>
                    <a:pt x="48" y="402"/>
                    <a:pt x="47" y="433"/>
                    <a:pt x="38" y="460"/>
                  </a:cubicBezTo>
                  <a:cubicBezTo>
                    <a:pt x="33" y="478"/>
                    <a:pt x="19" y="491"/>
                    <a:pt x="13" y="508"/>
                  </a:cubicBezTo>
                  <a:cubicBezTo>
                    <a:pt x="0" y="549"/>
                    <a:pt x="26" y="616"/>
                    <a:pt x="27" y="660"/>
                  </a:cubicBezTo>
                  <a:cubicBezTo>
                    <a:pt x="119" y="663"/>
                    <a:pt x="119" y="663"/>
                    <a:pt x="119" y="663"/>
                  </a:cubicBezTo>
                  <a:cubicBezTo>
                    <a:pt x="153" y="637"/>
                    <a:pt x="153" y="637"/>
                    <a:pt x="153" y="637"/>
                  </a:cubicBezTo>
                  <a:cubicBezTo>
                    <a:pt x="215" y="692"/>
                    <a:pt x="215" y="692"/>
                    <a:pt x="215" y="692"/>
                  </a:cubicBezTo>
                  <a:cubicBezTo>
                    <a:pt x="267" y="568"/>
                    <a:pt x="267" y="568"/>
                    <a:pt x="267" y="568"/>
                  </a:cubicBezTo>
                  <a:cubicBezTo>
                    <a:pt x="275" y="568"/>
                    <a:pt x="275" y="568"/>
                    <a:pt x="275" y="568"/>
                  </a:cubicBezTo>
                  <a:cubicBezTo>
                    <a:pt x="286" y="591"/>
                    <a:pt x="303" y="584"/>
                    <a:pt x="322" y="596"/>
                  </a:cubicBezTo>
                  <a:cubicBezTo>
                    <a:pt x="335" y="605"/>
                    <a:pt x="337" y="624"/>
                    <a:pt x="351" y="634"/>
                  </a:cubicBezTo>
                  <a:cubicBezTo>
                    <a:pt x="378" y="651"/>
                    <a:pt x="443" y="623"/>
                    <a:pt x="467" y="608"/>
                  </a:cubicBezTo>
                  <a:cubicBezTo>
                    <a:pt x="463" y="596"/>
                    <a:pt x="463" y="596"/>
                    <a:pt x="463" y="596"/>
                  </a:cubicBezTo>
                  <a:cubicBezTo>
                    <a:pt x="491" y="628"/>
                    <a:pt x="491" y="628"/>
                    <a:pt x="491" y="628"/>
                  </a:cubicBezTo>
                  <a:cubicBezTo>
                    <a:pt x="509" y="628"/>
                    <a:pt x="534" y="631"/>
                    <a:pt x="547" y="616"/>
                  </a:cubicBezTo>
                  <a:cubicBezTo>
                    <a:pt x="655" y="632"/>
                    <a:pt x="655" y="632"/>
                    <a:pt x="655" y="632"/>
                  </a:cubicBezTo>
                  <a:cubicBezTo>
                    <a:pt x="707" y="664"/>
                    <a:pt x="707" y="664"/>
                    <a:pt x="707" y="664"/>
                  </a:cubicBezTo>
                  <a:cubicBezTo>
                    <a:pt x="761" y="685"/>
                    <a:pt x="761" y="685"/>
                    <a:pt x="761" y="685"/>
                  </a:cubicBezTo>
                  <a:cubicBezTo>
                    <a:pt x="840" y="778"/>
                    <a:pt x="840" y="778"/>
                    <a:pt x="840" y="778"/>
                  </a:cubicBezTo>
                  <a:cubicBezTo>
                    <a:pt x="930" y="845"/>
                    <a:pt x="930" y="845"/>
                    <a:pt x="930" y="845"/>
                  </a:cubicBezTo>
                  <a:cubicBezTo>
                    <a:pt x="962" y="899"/>
                    <a:pt x="962" y="899"/>
                    <a:pt x="962" y="899"/>
                  </a:cubicBezTo>
                  <a:cubicBezTo>
                    <a:pt x="1006" y="929"/>
                    <a:pt x="1006" y="929"/>
                    <a:pt x="1006" y="929"/>
                  </a:cubicBezTo>
                  <a:cubicBezTo>
                    <a:pt x="1043" y="980"/>
                    <a:pt x="1043" y="980"/>
                    <a:pt x="1043" y="980"/>
                  </a:cubicBezTo>
                  <a:cubicBezTo>
                    <a:pt x="1047" y="980"/>
                    <a:pt x="1047" y="980"/>
                    <a:pt x="1047" y="980"/>
                  </a:cubicBezTo>
                  <a:cubicBezTo>
                    <a:pt x="1059" y="964"/>
                    <a:pt x="1059" y="964"/>
                    <a:pt x="1059" y="964"/>
                  </a:cubicBezTo>
                  <a:cubicBezTo>
                    <a:pt x="1063" y="964"/>
                    <a:pt x="1063" y="964"/>
                    <a:pt x="1063" y="964"/>
                  </a:cubicBezTo>
                  <a:cubicBezTo>
                    <a:pt x="1082" y="989"/>
                    <a:pt x="1099" y="997"/>
                    <a:pt x="1127" y="980"/>
                  </a:cubicBezTo>
                  <a:cubicBezTo>
                    <a:pt x="1123" y="964"/>
                    <a:pt x="1123" y="964"/>
                    <a:pt x="1123" y="964"/>
                  </a:cubicBezTo>
                  <a:cubicBezTo>
                    <a:pt x="1179" y="932"/>
                    <a:pt x="1179" y="932"/>
                    <a:pt x="1179" y="932"/>
                  </a:cubicBezTo>
                  <a:cubicBezTo>
                    <a:pt x="1173" y="915"/>
                    <a:pt x="1158" y="886"/>
                    <a:pt x="1143" y="912"/>
                  </a:cubicBezTo>
                  <a:cubicBezTo>
                    <a:pt x="1123" y="905"/>
                    <a:pt x="1113" y="893"/>
                    <a:pt x="1111" y="872"/>
                  </a:cubicBezTo>
                  <a:cubicBezTo>
                    <a:pt x="1092" y="859"/>
                    <a:pt x="1075" y="839"/>
                    <a:pt x="1051" y="844"/>
                  </a:cubicBezTo>
                  <a:cubicBezTo>
                    <a:pt x="1035" y="780"/>
                    <a:pt x="1035" y="780"/>
                    <a:pt x="1035" y="780"/>
                  </a:cubicBezTo>
                  <a:cubicBezTo>
                    <a:pt x="1015" y="765"/>
                    <a:pt x="993" y="742"/>
                    <a:pt x="973" y="729"/>
                  </a:cubicBezTo>
                  <a:cubicBezTo>
                    <a:pt x="959" y="720"/>
                    <a:pt x="942" y="724"/>
                    <a:pt x="929" y="711"/>
                  </a:cubicBezTo>
                  <a:cubicBezTo>
                    <a:pt x="895" y="679"/>
                    <a:pt x="877" y="620"/>
                    <a:pt x="838" y="596"/>
                  </a:cubicBezTo>
                  <a:cubicBezTo>
                    <a:pt x="784" y="563"/>
                    <a:pt x="661" y="584"/>
                    <a:pt x="651" y="492"/>
                  </a:cubicBezTo>
                  <a:cubicBezTo>
                    <a:pt x="635" y="492"/>
                    <a:pt x="635" y="492"/>
                    <a:pt x="635" y="492"/>
                  </a:cubicBezTo>
                  <a:cubicBezTo>
                    <a:pt x="634" y="470"/>
                    <a:pt x="604" y="428"/>
                    <a:pt x="593" y="468"/>
                  </a:cubicBezTo>
                  <a:cubicBezTo>
                    <a:pt x="588" y="487"/>
                    <a:pt x="603" y="503"/>
                    <a:pt x="607" y="520"/>
                  </a:cubicBezTo>
                  <a:cubicBezTo>
                    <a:pt x="564" y="504"/>
                    <a:pt x="592" y="441"/>
                    <a:pt x="535" y="436"/>
                  </a:cubicBezTo>
                  <a:cubicBezTo>
                    <a:pt x="548" y="403"/>
                    <a:pt x="514" y="382"/>
                    <a:pt x="506" y="352"/>
                  </a:cubicBezTo>
                  <a:cubicBezTo>
                    <a:pt x="495" y="313"/>
                    <a:pt x="496" y="271"/>
                    <a:pt x="489" y="232"/>
                  </a:cubicBezTo>
                  <a:cubicBezTo>
                    <a:pt x="485" y="211"/>
                    <a:pt x="471" y="193"/>
                    <a:pt x="465" y="172"/>
                  </a:cubicBezTo>
                  <a:cubicBezTo>
                    <a:pt x="458" y="148"/>
                    <a:pt x="452" y="111"/>
                    <a:pt x="431" y="96"/>
                  </a:cubicBezTo>
                  <a:cubicBezTo>
                    <a:pt x="391" y="0"/>
                    <a:pt x="391" y="0"/>
                    <a:pt x="391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" name="Freeform 67"/>
            <p:cNvSpPr/>
            <p:nvPr/>
          </p:nvSpPr>
          <p:spPr bwMode="auto">
            <a:xfrm>
              <a:off x="3706813" y="1979613"/>
              <a:ext cx="7938" cy="7938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9"/>
                </a:cxn>
                <a:cxn ang="0">
                  <a:pos x="32" y="27"/>
                </a:cxn>
                <a:cxn ang="0">
                  <a:pos x="0" y="7"/>
                </a:cxn>
              </a:cxnLst>
              <a:rect l="0" t="0" r="r" b="b"/>
              <a:pathLst>
                <a:path w="32" h="27">
                  <a:moveTo>
                    <a:pt x="0" y="7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0" y="6"/>
                    <a:pt x="20" y="0"/>
                    <a:pt x="0" y="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" name="Freeform 68"/>
            <p:cNvSpPr/>
            <p:nvPr/>
          </p:nvSpPr>
          <p:spPr bwMode="auto">
            <a:xfrm>
              <a:off x="3703638" y="1989138"/>
              <a:ext cx="15875" cy="17463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16"/>
                </a:cxn>
                <a:cxn ang="0">
                  <a:pos x="0" y="28"/>
                </a:cxn>
                <a:cxn ang="0">
                  <a:pos x="24" y="32"/>
                </a:cxn>
                <a:cxn ang="0">
                  <a:pos x="24" y="40"/>
                </a:cxn>
                <a:cxn ang="0">
                  <a:pos x="8" y="40"/>
                </a:cxn>
                <a:cxn ang="0">
                  <a:pos x="12" y="56"/>
                </a:cxn>
                <a:cxn ang="0">
                  <a:pos x="20" y="0"/>
                </a:cxn>
              </a:cxnLst>
              <a:rect l="0" t="0" r="r" b="b"/>
              <a:pathLst>
                <a:path w="59" h="60">
                  <a:moveTo>
                    <a:pt x="20" y="0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59" y="60"/>
                    <a:pt x="59" y="18"/>
                    <a:pt x="20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" name="Freeform 69"/>
            <p:cNvSpPr/>
            <p:nvPr/>
          </p:nvSpPr>
          <p:spPr bwMode="auto">
            <a:xfrm>
              <a:off x="3719513" y="1998663"/>
              <a:ext cx="12700" cy="793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8" y="5"/>
                </a:cxn>
                <a:cxn ang="0">
                  <a:pos x="3" y="0"/>
                </a:cxn>
                <a:cxn ang="0">
                  <a:pos x="0" y="5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8" y="5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" name="Freeform 70"/>
            <p:cNvSpPr/>
            <p:nvPr/>
          </p:nvSpPr>
          <p:spPr bwMode="auto">
            <a:xfrm>
              <a:off x="3719513" y="1998663"/>
              <a:ext cx="12700" cy="793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8" y="5"/>
                </a:cxn>
                <a:cxn ang="0">
                  <a:pos x="3" y="0"/>
                </a:cxn>
                <a:cxn ang="0">
                  <a:pos x="0" y="5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8" y="5"/>
                  </a:lnTo>
                  <a:lnTo>
                    <a:pt x="3" y="0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" name="Freeform 71"/>
            <p:cNvSpPr/>
            <p:nvPr/>
          </p:nvSpPr>
          <p:spPr bwMode="auto">
            <a:xfrm>
              <a:off x="3840163" y="2079625"/>
              <a:ext cx="7938" cy="111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5" y="7"/>
                </a:cxn>
                <a:cxn ang="0">
                  <a:pos x="5" y="0"/>
                </a:cxn>
                <a:cxn ang="0">
                  <a:pos x="0" y="2"/>
                </a:cxn>
              </a:cxnLst>
              <a:rect l="0" t="0" r="r" b="b"/>
              <a:pathLst>
                <a:path w="5" h="7">
                  <a:moveTo>
                    <a:pt x="0" y="2"/>
                  </a:moveTo>
                  <a:lnTo>
                    <a:pt x="5" y="7"/>
                  </a:lnTo>
                  <a:lnTo>
                    <a:pt x="5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" name="Freeform 72"/>
            <p:cNvSpPr/>
            <p:nvPr/>
          </p:nvSpPr>
          <p:spPr bwMode="auto">
            <a:xfrm>
              <a:off x="3840163" y="2079625"/>
              <a:ext cx="7938" cy="111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5" y="7"/>
                </a:cxn>
                <a:cxn ang="0">
                  <a:pos x="5" y="0"/>
                </a:cxn>
                <a:cxn ang="0">
                  <a:pos x="0" y="2"/>
                </a:cxn>
              </a:cxnLst>
              <a:rect l="0" t="0" r="r" b="b"/>
              <a:pathLst>
                <a:path w="5" h="7">
                  <a:moveTo>
                    <a:pt x="0" y="2"/>
                  </a:moveTo>
                  <a:lnTo>
                    <a:pt x="5" y="7"/>
                  </a:lnTo>
                  <a:lnTo>
                    <a:pt x="5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" name="Freeform 73"/>
            <p:cNvSpPr/>
            <p:nvPr/>
          </p:nvSpPr>
          <p:spPr bwMode="auto">
            <a:xfrm>
              <a:off x="3838575" y="2095500"/>
              <a:ext cx="11113" cy="635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24"/>
                </a:cxn>
                <a:cxn ang="0">
                  <a:pos x="36" y="0"/>
                </a:cxn>
                <a:cxn ang="0">
                  <a:pos x="0" y="12"/>
                </a:cxn>
              </a:cxnLst>
              <a:rect l="0" t="0" r="r" b="b"/>
              <a:pathLst>
                <a:path w="36" h="25">
                  <a:moveTo>
                    <a:pt x="0" y="12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8" y="25"/>
                    <a:pt x="28" y="17"/>
                    <a:pt x="36" y="0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</a:ln>
          </p:spPr>
          <p:txBody>
            <a:bodyPr vert="horz" wrap="square" lIns="121920" tIns="60960" rIns="121920" bIns="6096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3754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665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87" name="Isosceles Triangle 86"/>
          <p:cNvSpPr/>
          <p:nvPr/>
        </p:nvSpPr>
        <p:spPr>
          <a:xfrm rot="16200000" flipV="1">
            <a:off x="4912424" y="3676321"/>
            <a:ext cx="4320000" cy="36000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0" name="Rectangle: Rounded Corners 89"/>
          <p:cNvSpPr/>
          <p:nvPr/>
        </p:nvSpPr>
        <p:spPr>
          <a:xfrm>
            <a:off x="1197554" y="1580274"/>
            <a:ext cx="6038997" cy="6732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ing and Economic Development in the Nigerian Mark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1" name="Rectangle: Rounded Corners 90"/>
          <p:cNvSpPr/>
          <p:nvPr/>
        </p:nvSpPr>
        <p:spPr>
          <a:xfrm>
            <a:off x="1197555" y="2856466"/>
            <a:ext cx="6038997" cy="6732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arriers</a:t>
            </a: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to Leasing in Nigeria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2" name="Rectangle: Rounded Corners 91"/>
          <p:cNvSpPr/>
          <p:nvPr/>
        </p:nvSpPr>
        <p:spPr>
          <a:xfrm>
            <a:off x="1197555" y="4132658"/>
            <a:ext cx="4716743" cy="6732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rowth Opportunities for Leasing in Nigeria</a:t>
            </a:r>
            <a:endParaRPr kumimoji="0" lang="en-US" sz="1800" b="1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3" name="Rectangle: Rounded Corners 92"/>
          <p:cNvSpPr/>
          <p:nvPr/>
        </p:nvSpPr>
        <p:spPr>
          <a:xfrm>
            <a:off x="1197555" y="5408851"/>
            <a:ext cx="4716743" cy="6732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FirstBank Advantage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9219" y="1732977"/>
            <a:ext cx="468000" cy="46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9219" y="4191589"/>
            <a:ext cx="468000" cy="46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9219" y="5495958"/>
            <a:ext cx="468000" cy="46800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FirstBank's 40-Storey Headquarter to Become Nigeria's Tallest Building in  Eko Atlantic — Real Estate in Nigeri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08"/>
            <a:ext cx="12192000" cy="690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1"/>
          <p:cNvSpPr txBox="1">
            <a:spLocks noGrp="1"/>
          </p:cNvSpPr>
          <p:nvPr>
            <p:ph type="title"/>
          </p:nvPr>
        </p:nvSpPr>
        <p:spPr>
          <a:xfrm rot="16200000">
            <a:off x="-2179292" y="2928548"/>
            <a:ext cx="6297465" cy="100642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6600" b="1">
                <a:solidFill>
                  <a:srgbClr val="FFC000"/>
                </a:solidFill>
                <a:latin typeface="Arial Black" panose="020B0A04020102020204" pitchFamily="34" charset="0"/>
              </a:rPr>
              <a:t>RECHARGED</a:t>
            </a:r>
            <a:endParaRPr lang="en-US" sz="6600" b="1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525351" y="87766"/>
            <a:ext cx="1579561" cy="635000"/>
            <a:chOff x="10313988" y="109538"/>
            <a:chExt cx="1579561" cy="635000"/>
          </a:xfrm>
        </p:grpSpPr>
        <p:pic>
          <p:nvPicPr>
            <p:cNvPr id="5" name="Picture 21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33"/>
            <a:stretch>
              <a:fillRect/>
            </a:stretch>
          </p:blipFill>
          <p:spPr bwMode="auto">
            <a:xfrm>
              <a:off x="11420202" y="109538"/>
              <a:ext cx="473347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5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 trans="30000" detail="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26"/>
            <a:stretch>
              <a:fillRect/>
            </a:stretch>
          </p:blipFill>
          <p:spPr bwMode="auto">
            <a:xfrm>
              <a:off x="10313988" y="109538"/>
              <a:ext cx="1125809" cy="635000"/>
            </a:xfrm>
            <a:custGeom>
              <a:avLst/>
              <a:gdLst>
                <a:gd name="connsiteX0" fmla="*/ 0 w 1125809"/>
                <a:gd name="connsiteY0" fmla="*/ 0 h 635000"/>
                <a:gd name="connsiteX1" fmla="*/ 1125809 w 1125809"/>
                <a:gd name="connsiteY1" fmla="*/ 0 h 635000"/>
                <a:gd name="connsiteX2" fmla="*/ 1125809 w 1125809"/>
                <a:gd name="connsiteY2" fmla="*/ 455045 h 635000"/>
                <a:gd name="connsiteX3" fmla="*/ 1106214 w 1125809"/>
                <a:gd name="connsiteY3" fmla="*/ 455045 h 635000"/>
                <a:gd name="connsiteX4" fmla="*/ 1106214 w 1125809"/>
                <a:gd name="connsiteY4" fmla="*/ 517094 h 635000"/>
                <a:gd name="connsiteX5" fmla="*/ 1125809 w 1125809"/>
                <a:gd name="connsiteY5" fmla="*/ 517094 h 635000"/>
                <a:gd name="connsiteX6" fmla="*/ 1125809 w 1125809"/>
                <a:gd name="connsiteY6" fmla="*/ 635000 h 635000"/>
                <a:gd name="connsiteX7" fmla="*/ 0 w 1125809"/>
                <a:gd name="connsiteY7" fmla="*/ 635000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809" h="635000">
                  <a:moveTo>
                    <a:pt x="0" y="0"/>
                  </a:moveTo>
                  <a:lnTo>
                    <a:pt x="1125809" y="0"/>
                  </a:lnTo>
                  <a:lnTo>
                    <a:pt x="1125809" y="455045"/>
                  </a:lnTo>
                  <a:lnTo>
                    <a:pt x="1106214" y="455045"/>
                  </a:lnTo>
                  <a:lnTo>
                    <a:pt x="1106214" y="517094"/>
                  </a:lnTo>
                  <a:lnTo>
                    <a:pt x="1125809" y="517094"/>
                  </a:lnTo>
                  <a:lnTo>
                    <a:pt x="1125809" y="635000"/>
                  </a:lnTo>
                  <a:lnTo>
                    <a:pt x="0" y="63500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3331924" y="2869288"/>
            <a:ext cx="8379912" cy="20910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26113" y="3446807"/>
            <a:ext cx="8911191" cy="873886"/>
          </a:xfrm>
          <a:prstGeom prst="rect">
            <a:avLst/>
          </a:prstGeom>
          <a:solidFill>
            <a:schemeClr val="bg1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ing and Economic Development in the Nigerian Market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2329841" y="1352810"/>
            <a:ext cx="0" cy="508556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026113" y="3705080"/>
            <a:ext cx="541749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01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28106" y="3014798"/>
            <a:ext cx="1800000" cy="1800000"/>
            <a:chOff x="52266" y="1318725"/>
            <a:chExt cx="1080000" cy="108000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266" y="1318725"/>
              <a:ext cx="1080000" cy="1080000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9219" y="1632769"/>
              <a:ext cx="468000" cy="468000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354483" y="1595673"/>
            <a:ext cx="6923232" cy="2088390"/>
          </a:xfrm>
          <a:prstGeom prst="rect">
            <a:avLst/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6222" y="1569333"/>
            <a:ext cx="6923232" cy="208839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1436" y="1134161"/>
            <a:ext cx="11987284" cy="5457708"/>
          </a:xfrm>
          <a:prstGeom prst="rect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980336" y="1503493"/>
            <a:ext cx="4095887" cy="4610460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9525" cap="rnd" cmpd="sng" algn="ctr">
            <a:noFill/>
            <a:prstDash val="dashDot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quipment leasing in Nigeria dates as far back as the 1960s, pioneered by British firms and their Nigerian subsidiaries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ver the decades, the industry has evolved into a critical enabler of business operation and capital formation across key sectors in Nigeri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espite global economic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headwi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Nigerian leasing industry has continued to demonstrate resilience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and growt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 2024, the industry recorded a 23.2 % growth, with outstanding leases reaching NGN5.16 trillion and new lease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volum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reaching NGN973.3 billion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375834" y="1709901"/>
            <a:ext cx="905233" cy="900000"/>
            <a:chOff x="230141" y="1340780"/>
            <a:chExt cx="905233" cy="900000"/>
          </a:xfrm>
        </p:grpSpPr>
        <p:sp>
          <p:nvSpPr>
            <p:cNvPr id="48" name="Oval 47"/>
            <p:cNvSpPr/>
            <p:nvPr/>
          </p:nvSpPr>
          <p:spPr>
            <a:xfrm>
              <a:off x="230141" y="1340780"/>
              <a:ext cx="900000" cy="900000"/>
            </a:xfrm>
            <a:prstGeom prst="ellipse">
              <a:avLst/>
            </a:prstGeom>
            <a:solidFill>
              <a:srgbClr val="022E6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35374" y="1586558"/>
              <a:ext cx="900000" cy="36933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1960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1783201" y="1709901"/>
            <a:ext cx="900000" cy="900000"/>
            <a:chOff x="230141" y="2441842"/>
            <a:chExt cx="900000" cy="900000"/>
          </a:xfrm>
        </p:grpSpPr>
        <p:sp>
          <p:nvSpPr>
            <p:cNvPr id="50" name="Oval 49"/>
            <p:cNvSpPr/>
            <p:nvPr/>
          </p:nvSpPr>
          <p:spPr>
            <a:xfrm>
              <a:off x="230141" y="2441842"/>
              <a:ext cx="900000" cy="900000"/>
            </a:xfrm>
            <a:prstGeom prst="ellipse">
              <a:avLst/>
            </a:prstGeom>
            <a:solidFill>
              <a:srgbClr val="022E6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230141" y="2684815"/>
              <a:ext cx="900000" cy="36933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23.2 %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3185335" y="1709901"/>
            <a:ext cx="900000" cy="900000"/>
            <a:chOff x="230141" y="3520821"/>
            <a:chExt cx="900000" cy="900000"/>
          </a:xfrm>
        </p:grpSpPr>
        <p:sp>
          <p:nvSpPr>
            <p:cNvPr id="52" name="Oval 51"/>
            <p:cNvSpPr/>
            <p:nvPr/>
          </p:nvSpPr>
          <p:spPr>
            <a:xfrm>
              <a:off x="230141" y="3520821"/>
              <a:ext cx="900000" cy="900000"/>
            </a:xfrm>
            <a:prstGeom prst="ellipse">
              <a:avLst/>
            </a:prstGeom>
            <a:solidFill>
              <a:srgbClr val="022E6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30141" y="3786155"/>
              <a:ext cx="900000" cy="36933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N5.16T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4587469" y="1709901"/>
            <a:ext cx="900000" cy="900000"/>
            <a:chOff x="230141" y="4660618"/>
            <a:chExt cx="900000" cy="900000"/>
          </a:xfrm>
        </p:grpSpPr>
        <p:sp>
          <p:nvSpPr>
            <p:cNvPr id="58" name="Oval 57"/>
            <p:cNvSpPr/>
            <p:nvPr/>
          </p:nvSpPr>
          <p:spPr>
            <a:xfrm>
              <a:off x="230141" y="4660618"/>
              <a:ext cx="900000" cy="900000"/>
            </a:xfrm>
            <a:prstGeom prst="ellipse">
              <a:avLst/>
            </a:prstGeom>
            <a:solidFill>
              <a:srgbClr val="022E6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230141" y="4903591"/>
              <a:ext cx="900000" cy="36933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N973B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5989604" y="1709901"/>
            <a:ext cx="900000" cy="900000"/>
            <a:chOff x="230141" y="5641156"/>
            <a:chExt cx="900000" cy="900000"/>
          </a:xfrm>
        </p:grpSpPr>
        <p:sp>
          <p:nvSpPr>
            <p:cNvPr id="61" name="Oval 60"/>
            <p:cNvSpPr/>
            <p:nvPr/>
          </p:nvSpPr>
          <p:spPr>
            <a:xfrm>
              <a:off x="230141" y="5641156"/>
              <a:ext cx="900000" cy="900000"/>
            </a:xfrm>
            <a:prstGeom prst="ellipse">
              <a:avLst/>
            </a:prstGeom>
            <a:solidFill>
              <a:srgbClr val="022E6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30141" y="5906490"/>
              <a:ext cx="900000" cy="36933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N24.6T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425467" y="3234944"/>
            <a:ext cx="786442" cy="251265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rigi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653435" y="3146329"/>
            <a:ext cx="1061466" cy="529902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024 y-o-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rowth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018592" y="3161429"/>
            <a:ext cx="1166152" cy="509124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utstanding leas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438331" y="3161429"/>
            <a:ext cx="1166152" cy="509124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ew Leas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858071" y="3171963"/>
            <a:ext cx="1218118" cy="472177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ntribution to Econom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371024" y="1134161"/>
            <a:ext cx="2628000" cy="36933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Nigerian Landscape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6" name="Straight Connector 65"/>
          <p:cNvCxnSpPr/>
          <p:nvPr/>
        </p:nvCxnSpPr>
        <p:spPr>
          <a:xfrm>
            <a:off x="2832608" y="1513687"/>
            <a:ext cx="1602172" cy="0"/>
          </a:xfrm>
          <a:prstGeom prst="line">
            <a:avLst/>
          </a:prstGeom>
          <a:ln w="2857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940611" y="4120283"/>
            <a:ext cx="54000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246699" y="4266762"/>
            <a:ext cx="6093912" cy="19389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rowing Demand for Technology-Driven Equipment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ising Costs of Assets in the primary and secondary sectors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ocus on Sustainability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nancing Challenge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ise of Flexible Leasing Solution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7578" y="207413"/>
            <a:ext cx="10213096" cy="7078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ing in Nigeria has been a key driver of economic development, significantly impacting capital formation, employment generation, and wealth creation across all economic sectors.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4" name="Isosceles Triangle 63"/>
          <p:cNvSpPr/>
          <p:nvPr/>
        </p:nvSpPr>
        <p:spPr>
          <a:xfrm rot="5400000">
            <a:off x="5456222" y="3934724"/>
            <a:ext cx="4320000" cy="45719"/>
          </a:xfrm>
          <a:prstGeom prst="triangle">
            <a:avLst>
              <a:gd name="adj" fmla="val 50237"/>
            </a:avLst>
          </a:prstGeom>
          <a:solidFill>
            <a:srgbClr val="FFC000"/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594" y="6344787"/>
            <a:ext cx="6106438" cy="276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ource: 2024 ELAN Lease volume story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83348" y="3779149"/>
            <a:ext cx="5095684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rends shaping the Nigerian Leasing industry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688" y="2701741"/>
            <a:ext cx="432000" cy="432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7917" y="2701741"/>
            <a:ext cx="432000" cy="4320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3604" y="2701741"/>
            <a:ext cx="432000" cy="432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13146" y="2701741"/>
            <a:ext cx="432000" cy="43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18375" y="2701741"/>
            <a:ext cx="432000" cy="432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riven by rising innovation, awareness and investment, Nigeria’s leasing industry continues to play a vital role in stimulating the country’s economic growth</a:t>
            </a:r>
            <a:endParaRPr lang="en-US" sz="2000" dirty="0"/>
          </a:p>
        </p:txBody>
      </p:sp>
      <p:graphicFrame>
        <p:nvGraphicFramePr>
          <p:cNvPr id="9" name="Chart 8"/>
          <p:cNvGraphicFramePr/>
          <p:nvPr>
            <p:custDataLst>
              <p:tags r:id="rId6"/>
            </p:custDataLst>
          </p:nvPr>
        </p:nvGraphicFramePr>
        <p:xfrm>
          <a:off x="7172325" y="1390650"/>
          <a:ext cx="2808288" cy="2509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799513" y="3148013"/>
            <a:ext cx="347663" cy="201613"/>
          </a:xfrm>
          <a:prstGeom prst="rect">
            <a:avLst/>
          </a:prstGeom>
          <a:solidFill>
            <a:srgbClr val="4E86C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6FA1FEDB-FBB2-476D-B8A7-D46E036CFAD0}" type="datetime'''''''''7.''''''''''''''''3''''''''''%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2" name="Rectangle 311"/>
          <p:cNvSpPr/>
          <p:nvPr>
            <p:custDataLst>
              <p:tags r:id="rId8"/>
            </p:custDataLst>
          </p:nvPr>
        </p:nvSpPr>
        <p:spPr bwMode="auto">
          <a:xfrm>
            <a:off x="10267950" y="1490663"/>
            <a:ext cx="214313" cy="160338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22E6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3" name="Rectangle 312"/>
          <p:cNvSpPr/>
          <p:nvPr>
            <p:custDataLst>
              <p:tags r:id="rId9"/>
            </p:custDataLst>
          </p:nvPr>
        </p:nvSpPr>
        <p:spPr bwMode="auto">
          <a:xfrm>
            <a:off x="10267950" y="1743075"/>
            <a:ext cx="214313" cy="160338"/>
          </a:xfrm>
          <a:prstGeom prst="rect">
            <a:avLst/>
          </a:prstGeom>
          <a:solidFill>
            <a:srgbClr val="EAAB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22E6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4" name="Rectangle 313"/>
          <p:cNvSpPr/>
          <p:nvPr>
            <p:custDataLst>
              <p:tags r:id="rId10"/>
            </p:custDataLst>
          </p:nvPr>
        </p:nvSpPr>
        <p:spPr bwMode="auto">
          <a:xfrm>
            <a:off x="10267950" y="1995488"/>
            <a:ext cx="214313" cy="160338"/>
          </a:xfrm>
          <a:prstGeom prst="rect">
            <a:avLst/>
          </a:prstGeom>
          <a:solidFill>
            <a:srgbClr val="4E86C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22E6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5" name="Rectangle 314"/>
          <p:cNvSpPr/>
          <p:nvPr>
            <p:custDataLst>
              <p:tags r:id="rId11"/>
            </p:custDataLst>
          </p:nvPr>
        </p:nvSpPr>
        <p:spPr bwMode="auto">
          <a:xfrm>
            <a:off x="10267950" y="2247900"/>
            <a:ext cx="214313" cy="160338"/>
          </a:xfrm>
          <a:prstGeom prst="rect">
            <a:avLst/>
          </a:prstGeom>
          <a:solidFill>
            <a:srgbClr val="C9C9C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22E6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6" name="Rectangle 315"/>
          <p:cNvSpPr/>
          <p:nvPr>
            <p:custDataLst>
              <p:tags r:id="rId12"/>
            </p:custDataLst>
          </p:nvPr>
        </p:nvSpPr>
        <p:spPr bwMode="auto">
          <a:xfrm>
            <a:off x="10267950" y="2500313"/>
            <a:ext cx="214313" cy="160338"/>
          </a:xfrm>
          <a:prstGeom prst="rect">
            <a:avLst/>
          </a:prstGeom>
          <a:solidFill>
            <a:srgbClr val="DBDBD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22E6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7" name="Rectangle 316"/>
          <p:cNvSpPr/>
          <p:nvPr>
            <p:custDataLst>
              <p:tags r:id="rId13"/>
            </p:custDataLst>
          </p:nvPr>
        </p:nvSpPr>
        <p:spPr bwMode="auto">
          <a:xfrm>
            <a:off x="10267950" y="2752725"/>
            <a:ext cx="214313" cy="160338"/>
          </a:xfrm>
          <a:prstGeom prst="rect">
            <a:avLst/>
          </a:prstGeom>
          <a:solidFill>
            <a:srgbClr val="34588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22E6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Rectangle 204"/>
          <p:cNvSpPr/>
          <p:nvPr>
            <p:custDataLst>
              <p:tags r:id="rId14"/>
            </p:custDataLst>
          </p:nvPr>
        </p:nvSpPr>
        <p:spPr bwMode="auto">
          <a:xfrm>
            <a:off x="10267950" y="3005138"/>
            <a:ext cx="214313" cy="160338"/>
          </a:xfrm>
          <a:prstGeom prst="rect">
            <a:avLst/>
          </a:prstGeom>
          <a:solidFill>
            <a:srgbClr val="9DB1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22E6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7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533063" y="1471613"/>
            <a:ext cx="9112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65212409-8343-48F5-AA98-73DCB2D9A701}" type="datetime'''''''Man''''''u''''f''''''''''''a''''''''c''''tur''''''i''ng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8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533063" y="1724025"/>
            <a:ext cx="5905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CC48C0FE-A7DA-491A-AA0A-0A36CC56DE6A}" type="datetime'T''''''''''''''r''''''''a''ns''''po''''''''r''''''t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9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533063" y="1976438"/>
            <a:ext cx="6842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060F9466-F1BB-428C-B7E1-26B4C10A68A8}" type="datetime'Ag''''''''''r''i''''cu''''''''''''''''''l''''''''t''''u''r''e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5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533063" y="2228850"/>
            <a:ext cx="4603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4DD5D52F-A5B9-4637-ACB1-838B7F9E30FA}" type="datetime'''''''O''''il''''''''/''''''''G''''''''''''as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8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533063" y="2481263"/>
            <a:ext cx="7794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F850C8C5-630F-4AEC-B494-07BA00B00FD2}" type="datetime'Go''''''v''''''''e''''rn''''''''m''e''''nt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1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533063" y="2733675"/>
            <a:ext cx="622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5B07A4EB-8F8E-4291-922E-91250C931D87}" type="datetime'T''e''''''l''''''''''''''''''c''''''''''''''''omm''''s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2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533063" y="2986088"/>
            <a:ext cx="4175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181FEE4E-492B-4AC9-A88B-84476CE169A5}" type="datetime'Ot''''''''''''''''h''''''er''s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Isosceles Triangle 2"/>
          <p:cNvSpPr/>
          <p:nvPr/>
        </p:nvSpPr>
        <p:spPr>
          <a:xfrm rot="5400000">
            <a:off x="4933486" y="2400868"/>
            <a:ext cx="2160000" cy="36000"/>
          </a:xfrm>
          <a:prstGeom prst="triangle">
            <a:avLst>
              <a:gd name="adj" fmla="val 50237"/>
            </a:avLst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1332" y="1138452"/>
            <a:ext cx="12100564" cy="5490995"/>
          </a:xfrm>
          <a:prstGeom prst="rect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940550" y="1014413"/>
            <a:ext cx="4508500" cy="307975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Distribution of Lease Volume by sector (2024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68066" y="1050770"/>
            <a:ext cx="3827747" cy="307777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Leasing Volume (#’m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1" name="Chart 20"/>
          <p:cNvGraphicFramePr/>
          <p:nvPr>
            <p:custDataLst>
              <p:tags r:id="rId22"/>
            </p:custDataLst>
          </p:nvPr>
        </p:nvGraphicFramePr>
        <p:xfrm>
          <a:off x="523875" y="2051050"/>
          <a:ext cx="4841875" cy="148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7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76238" y="3346450"/>
            <a:ext cx="777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3B1AF37F-A751-4C15-AE38-3DF650EA339D}" type="datetime'''''''''''''''''''''''''''''''''''''0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4775" y="2906713"/>
            <a:ext cx="3492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CA642340-D22D-4713-ABB5-9BC371EA1799}" type="datetime'''''''''''''2'''''''',''''''0''''''''''''''''''''''''0''''0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3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4775" y="2468563"/>
            <a:ext cx="3492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63426FFF-CF25-42D3-8A2F-867F2A9244A8}" type="datetime'''''''''4'''',''''000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5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4775" y="2028825"/>
            <a:ext cx="3492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7828FC66-7AFA-4A5A-9C29-FA59BF33539D}" type="datetime'''''''''''6'''',''''''''''''''''''''''00''''''''''''''''''0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27"/>
            </p:custDataLst>
          </p:nvPr>
        </p:nvCxnSpPr>
        <p:spPr bwMode="gray">
          <a:xfrm flipV="1">
            <a:off x="817563" y="1706563"/>
            <a:ext cx="0" cy="1212850"/>
          </a:xfrm>
          <a:prstGeom prst="line">
            <a:avLst/>
          </a:prstGeom>
          <a:ln w="9525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28"/>
            </p:custDataLst>
          </p:nvPr>
        </p:nvCxnSpPr>
        <p:spPr bwMode="gray">
          <a:xfrm>
            <a:off x="817563" y="1706563"/>
            <a:ext cx="4251325" cy="0"/>
          </a:xfrm>
          <a:prstGeom prst="line">
            <a:avLst/>
          </a:prstGeom>
          <a:ln w="9525" cap="flat" cmpd="sng" algn="ctr">
            <a:solidFill>
              <a:srgbClr val="A5A5A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29"/>
            </p:custDataLst>
          </p:nvPr>
        </p:nvCxnSpPr>
        <p:spPr bwMode="gray">
          <a:xfrm>
            <a:off x="5068888" y="1706563"/>
            <a:ext cx="0" cy="152400"/>
          </a:xfrm>
          <a:prstGeom prst="line">
            <a:avLst/>
          </a:prstGeom>
          <a:ln w="9525" cap="flat" cmpd="sng" algn="ctr">
            <a:solidFill>
              <a:srgbClr val="A5A5A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Placeholder 3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55638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1ED8B7D7-E624-462C-BBD2-9D5D13CE3AE3}" type="datetime'''''''''''''''''''''2''''''''''0''''''''''''''1''''''''''4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Text Placeholder 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81088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64FF84D5-398C-482F-82C4-3D8477002A97}" type="datetime'''2''''''''''''''''''''''''''''''''''''''''0''15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506538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A6852C24-CF26-402D-BEFC-A604AD478477}" type="datetime'''''''2''''''''''''''0''1''''6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3" name="Text Placeholder 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930400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F9AC8DBA-A56B-4BE0-B618-AD0A2D148C7F}" type="datetime'''''''''''''''20''1''''''''7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5" name="Text Placeholder 3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355850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D9E3CCAE-C027-4544-9F81-11A7129A5B57}" type="datetime'''''''''''''''''''''''''20''''''''''''''1''8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781300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24FAC9BA-30A3-40B9-B6C9-BF91880FB906}" type="datetime'''''''''''''''''''''''''20''''''''''''''19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206750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C24BA8B2-F510-4D47-9CDB-E6513C097F9D}" type="datetime'''''''''''''2''''0''''2''''''''''''0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9" name="Text Placeholder 3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632200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0E36166E-18BB-4514-ADAB-804298407806}" type="datetime'''''''''''''''''''''''''''''''''''''20''''''''''''21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057650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F06582B1-2ACE-4819-8AEB-2B2006AFE643}" type="datetime'''''''''''''''''''''20''''''''''''''''''''''''2''''''2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1" name="Text Placeholder 3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481513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1C46AE55-9B45-472B-960D-7553137450A4}" type="datetime'''''''''''''''''''''''''''20''''''''''''2''3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906963" y="3502025"/>
            <a:ext cx="3238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E6EA5BE5-6114-45CB-8A00-BEBB6BA26C45}" type="datetime'''''''''''''''''''''''''2''02''''''''4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17550" y="2957513"/>
            <a:ext cx="201613" cy="27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E61D6A00-7FBD-4091-ABBB-A8483D4B6E37}" type="datetime'''''''8''''''''''''69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143000" y="2789238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B5B15351-CD4A-4022-83A5-3269C512C6F8}" type="datetime'1'''''''''''''''',''''''''''1''0''''''''7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 Placeholder 3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568450" y="2754313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0AA6F390-25A7-4B81-A5B5-D9009E84B981}" type="datetime'''''''1'''',''''2''''''''6''''''''2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 Placeholder 3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992313" y="2714625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8F3F73C1-E0B8-4C7C-B3BE-2E85DA703162}" type="datetime'''''''''''1,''''''''''''4''''''''4''''5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 Placeholder 3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417763" y="2663825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C79C9036-15BA-4F67-AEC1-0BE020436D70}" type="datetime'''''1'''',''''''''''''''''''6''''''''''''''''8''1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2" name="Text Placeholder 3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2843213" y="2608263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F76431E9-9C68-4D6F-9840-5389DBFBAAA1}" type="datetime'''''''''''''''''''''1,''''''''''9''''''''''2''''''''''8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268663" y="2590800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AB7C6C32-BB30-4069-B07B-1083E997A9B7}" type="datetime'2'''''',''0''''''''''1''''''''''''''''''''1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694113" y="2463800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5B701F86-3EBB-4759-B32B-01019A9A8271}" type="datetime'''''2'''''''''''''''',''''5''''''''''8''''''''''''''''8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Text Placeholder 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119563" y="2316163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D22DF564-50FF-4F4E-AC2B-AA6CD273801F}" type="datetime'''''''3,''''''''''''''''''''''''26''''''0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Text Placeholder 3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543425" y="2111375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3633CF3F-8F89-4416-975C-2E5BE3D51B1B}" type="datetime'''''4,''''''''''''''''''''''''''1''''''''9''''''''''''''''5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7" name="Text Placeholder 3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968875" y="1897063"/>
            <a:ext cx="20161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22E64"/>
              </a:buClr>
              <a:buSzTx/>
              <a:buFont typeface="Arial" panose="020B0604020202020204" pitchFamily="34" charset="0"/>
              <a:buChar char="​"/>
              <a:defRPr/>
            </a:pPr>
            <a:fld id="{86FCBF48-A39E-412A-9274-C0C2411190FB}" type="datetime'''''''''''''5'''''''''''',''''''''''''''''''''1''''''''6''''9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562225" y="1563688"/>
            <a:ext cx="763588" cy="285750"/>
          </a:xfrm>
          <a:prstGeom prst="ellipse">
            <a:avLst/>
          </a:prstGeom>
          <a:solidFill>
            <a:srgbClr val="022E64"/>
          </a:solidFill>
          <a:ln w="9525" cmpd="sng" algn="ctr">
            <a:solidFill>
              <a:srgbClr val="022E64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284480" indent="-17272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511175" indent="-16573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22E64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22E64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22E6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3DEC9A5-C240-448E-BD8F-E15BC49C7212}" type="datetime'+''''''49''''''''''''''''''4''''.''8%'''''''''''''''''''''''''">
              <a:rPr lang="en-US" altLang="en-US" b="1" smtClean="0">
                <a:solidFill>
                  <a:schemeClr val="bg1"/>
                </a:solidFill>
                <a:effectLst/>
                <a:latin typeface="+mn-lt"/>
              </a:rPr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72594" y="6382365"/>
            <a:ext cx="6106438" cy="276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ource: 2024 ELAN Lease volume story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4775" y="3794821"/>
            <a:ext cx="11919820" cy="2657174"/>
          </a:xfrm>
          <a:prstGeom prst="rect">
            <a:avLst/>
          </a:prstGeom>
          <a:solidFill>
            <a:srgbClr val="D6DCE5">
              <a:alpha val="4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ver the past decade,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the equipment leasing industry has contributed 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bou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25 trillion to Nigeria’s economy, underscoring its growing importance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as a driver of productive investment and economic expansion.</a:t>
            </a:r>
            <a:endParaRPr kumimoji="0" lang="en-US" sz="1600" b="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sz="1600" baseline="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ithin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this period, the industry grew by over 400%, with lease volumes rising to N5.16 trillion in 2024. This growth wa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imarily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riven by the Oil and Gas, Transport and Manufacturing sectors, which together accounted for more than half the total lease volumes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within the period</a:t>
            </a:r>
            <a:endParaRPr kumimoji="0" lang="en-US" sz="1600" b="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sz="1600" baseline="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rowth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has been supported by new market entrants, increased capital investment, product innovation, and heightened industry awareness. The h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g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lease volumes in these sectors also reflect their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capital-intensive nature, rapid technological </a:t>
            </a: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volution, and cyclical business demand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Vehicles remain the largest leased asset class, representing approximately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0% of total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ed asset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: Rounded Corners 7"/>
          <p:cNvSpPr/>
          <p:nvPr/>
        </p:nvSpPr>
        <p:spPr>
          <a:xfrm>
            <a:off x="52736" y="1793309"/>
            <a:ext cx="2292263" cy="4659682"/>
          </a:xfrm>
          <a:prstGeom prst="roundRect">
            <a:avLst/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: Rounded Corners 8"/>
          <p:cNvSpPr/>
          <p:nvPr/>
        </p:nvSpPr>
        <p:spPr>
          <a:xfrm>
            <a:off x="2501302" y="1793309"/>
            <a:ext cx="2292263" cy="4659682"/>
          </a:xfrm>
          <a:prstGeom prst="roundRect">
            <a:avLst/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4949868" y="1793309"/>
            <a:ext cx="2292263" cy="4659682"/>
          </a:xfrm>
          <a:prstGeom prst="roundRect">
            <a:avLst/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Rectangle: Rounded Corners 10"/>
          <p:cNvSpPr/>
          <p:nvPr/>
        </p:nvSpPr>
        <p:spPr>
          <a:xfrm>
            <a:off x="9847001" y="1793309"/>
            <a:ext cx="2292263" cy="4659682"/>
          </a:xfrm>
          <a:prstGeom prst="roundRect">
            <a:avLst/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Rectangle: Rounded Corners 11"/>
          <p:cNvSpPr/>
          <p:nvPr/>
        </p:nvSpPr>
        <p:spPr>
          <a:xfrm>
            <a:off x="7398434" y="1793309"/>
            <a:ext cx="2292263" cy="4659682"/>
          </a:xfrm>
          <a:prstGeom prst="roundRect">
            <a:avLst/>
          </a:prstGeom>
          <a:solidFill>
            <a:srgbClr val="022E64"/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igeria’s leasing industry is evolving, driven by technology adoption, rising asset costs, sustainability priorities, financing constraints and the growing demand for flexible leasing solutions</a:t>
            </a:r>
            <a:endParaRPr lang="en-US" sz="2000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Rectangle: Rounded Corners 2"/>
          <p:cNvSpPr/>
          <p:nvPr/>
        </p:nvSpPr>
        <p:spPr>
          <a:xfrm>
            <a:off x="52736" y="1741117"/>
            <a:ext cx="2292263" cy="46596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rowing Demand for Tech Equipment</a:t>
            </a:r>
            <a:endParaRPr lang="en-US" sz="1600" b="1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usinesses across manufacturing, healthcare, agriculture and services are increasingly leasing modern, tech enabled equipments to boost productivity and competitiveness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is shift reflects the digital transformation underway in Nigeria’s real economy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16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: Rounded Corners 3"/>
          <p:cNvSpPr/>
          <p:nvPr/>
        </p:nvSpPr>
        <p:spPr>
          <a:xfrm>
            <a:off x="2501302" y="1741117"/>
            <a:ext cx="2292263" cy="46596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ising Asset Cost in the Real Sector </a:t>
            </a:r>
            <a:endParaRPr lang="en-US" sz="1600" b="1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flationary pressures, exchange rate volatility, and import dependence have significantly increased asset replacement costs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sing has therefore become a strategic alternative to outright purchase, helping businesses preserve cashflow while accessing essential equipment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Rectangle: Rounded Corners 4"/>
          <p:cNvSpPr/>
          <p:nvPr/>
        </p:nvSpPr>
        <p:spPr>
          <a:xfrm>
            <a:off x="4940724" y="1750261"/>
            <a:ext cx="2292263" cy="46596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creased focus on Sustainability/ESG</a:t>
            </a:r>
            <a:endParaRPr lang="en-US" sz="1600" b="1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creasing focus on sustainability continues to drive demand for energy-efficient and low-emission assets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igeria’s leasing market is therefore witnessing the gradual adoption of green leasing models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Rectangle: Rounded Corners 5"/>
          <p:cNvSpPr/>
          <p:nvPr/>
        </p:nvSpPr>
        <p:spPr>
          <a:xfrm>
            <a:off x="9847001" y="1741117"/>
            <a:ext cx="2292263" cy="46596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ise of Flexible Leasing Models</a:t>
            </a:r>
            <a:endParaRPr lang="en-US" sz="1600" b="1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novative leasing structures such as operating leases, short-term rentals and pay-per-use models are gaining traction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se solutions provide flexibility and reduce barriers to asset acquisition for SMEs/MSMEs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7398434" y="1741117"/>
            <a:ext cx="2292263" cy="46596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rgbClr val="022E6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nancing and Liquidity Constraints</a:t>
            </a:r>
            <a:endParaRPr lang="en-US" sz="1600" b="1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ccess to affordable, long-term financing remains a key challenge for industry players, especially MSMEs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se challenges therefore highlight the need for stronger capital partnerships and policy support</a:t>
            </a:r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4" name="Graphic 33" descr="Renewable Energy outline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70823" y="1104913"/>
            <a:ext cx="640080" cy="640080"/>
          </a:xfrm>
          <a:prstGeom prst="rect">
            <a:avLst/>
          </a:prstGeom>
        </p:spPr>
      </p:pic>
      <p:pic>
        <p:nvPicPr>
          <p:cNvPr id="36" name="Graphic 35" descr="Exponential Graph outline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1480" y="1104913"/>
            <a:ext cx="640080" cy="640080"/>
          </a:xfrm>
          <a:prstGeom prst="rect">
            <a:avLst/>
          </a:prstGeom>
        </p:spPr>
      </p:pic>
      <p:pic>
        <p:nvPicPr>
          <p:cNvPr id="38" name="Graphic 37" descr="Tractor outline"/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67955" y="1104913"/>
            <a:ext cx="640080" cy="640080"/>
          </a:xfrm>
          <a:prstGeom prst="rect">
            <a:avLst/>
          </a:prstGeom>
        </p:spPr>
      </p:pic>
      <p:pic>
        <p:nvPicPr>
          <p:cNvPr id="40" name="Graphic 39" descr="Money outline"/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22257" y="1104913"/>
            <a:ext cx="640080" cy="640080"/>
          </a:xfrm>
          <a:prstGeom prst="rect">
            <a:avLst/>
          </a:prstGeom>
        </p:spPr>
      </p:pic>
      <p:pic>
        <p:nvPicPr>
          <p:cNvPr id="42" name="Graphic 41" descr="Coins outline"/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19389" y="1104913"/>
            <a:ext cx="640080" cy="6400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3331924" y="2869288"/>
            <a:ext cx="8379912" cy="20910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26113" y="3446807"/>
            <a:ext cx="8911191" cy="873886"/>
          </a:xfrm>
          <a:prstGeom prst="rect">
            <a:avLst/>
          </a:prstGeom>
          <a:solidFill>
            <a:schemeClr val="bg1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arriers to Leasing in Nigeri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2329841" y="1352810"/>
            <a:ext cx="0" cy="508556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026113" y="3705080"/>
            <a:ext cx="541749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02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14458" y="3014798"/>
            <a:ext cx="1800000" cy="1800000"/>
            <a:chOff x="0" y="2038674"/>
            <a:chExt cx="1080000" cy="108000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2038674"/>
              <a:ext cx="1080000" cy="1080000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0514" y="2342094"/>
              <a:ext cx="468000" cy="468000"/>
            </a:xfrm>
            <a:prstGeom prst="rect">
              <a:avLst/>
            </a:prstGeom>
          </p:spPr>
        </p:pic>
      </p:grpSp>
      <p:sp>
        <p:nvSpPr>
          <p:cNvPr id="6" name="Rectangle: Rounded Corners 5"/>
          <p:cNvSpPr/>
          <p:nvPr/>
        </p:nvSpPr>
        <p:spPr>
          <a:xfrm>
            <a:off x="1118850" y="2311341"/>
            <a:ext cx="6038997" cy="6732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/>
          <p:cNvSpPr/>
          <p:nvPr/>
        </p:nvSpPr>
        <p:spPr>
          <a:xfrm>
            <a:off x="53858" y="1177447"/>
            <a:ext cx="11987284" cy="5452000"/>
          </a:xfrm>
          <a:prstGeom prst="rect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0939"/>
            <a:ext cx="10355262" cy="906463"/>
          </a:xfrm>
        </p:spPr>
        <p:txBody>
          <a:bodyPr vert="horz"/>
          <a:lstStyle/>
          <a:p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Nigerian leasing industry faces financial, regulatory and technological challenges that constrain growth and operational efficiency</a:t>
            </a:r>
            <a:endParaRPr lang="en-US" sz="2000" dirty="0"/>
          </a:p>
        </p:txBody>
      </p:sp>
      <p:sp>
        <p:nvSpPr>
          <p:cNvPr id="56" name="Rectangle 55"/>
          <p:cNvSpPr/>
          <p:nvPr/>
        </p:nvSpPr>
        <p:spPr>
          <a:xfrm>
            <a:off x="3144033" y="1368346"/>
            <a:ext cx="8969057" cy="8796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dominance of imported capital equipment in lease portfolios has increased reliance on foreign exchange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urrency volatility has significantly impacted the affordability and sustainability of equipment leases, particularly for MSMEs and businesses with limited FX acces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ny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businesses have therefore settled for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ferior and less efficient alternatives which could hamper productivity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144033" y="2422024"/>
            <a:ext cx="8969057" cy="1046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Nigerian leasing industry remains heavily reliant on short-term, high-cost financing from commercial banks, leading to high lease rates for customer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s a result, transaction volumes are lower,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and the </a:t>
            </a:r>
            <a:r>
              <a:rPr lang="en-US" sz="14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inancing of large-scale projects becomes more difficult given the limited access to capita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144033" y="3604980"/>
            <a:ext cx="8969057" cy="8306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ising inflationary pressures significantly affects the costs of assets and services, forcing lessors to raise their rat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ver time, this erod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lessees' purchasing power and tightens lessors' profit margins,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creating a challenging environment for sustainable growth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144033" y="4625148"/>
            <a:ext cx="8969057" cy="8621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mbiguities in VAT treatment on leased and imported equipment pose compliance challenges and expose lessors and lessees to potential double taxation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stablish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c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earer tax guidelines is essential to enhance market confidence, encourage investment and promote sustainable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grow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.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83" name="Group 82"/>
          <p:cNvGrpSpPr/>
          <p:nvPr/>
        </p:nvGrpSpPr>
        <p:grpSpPr>
          <a:xfrm>
            <a:off x="82517" y="4655894"/>
            <a:ext cx="2976474" cy="792000"/>
            <a:chOff x="82517" y="4665278"/>
            <a:chExt cx="2976474" cy="792000"/>
          </a:xfrm>
        </p:grpSpPr>
        <p:sp>
          <p:nvSpPr>
            <p:cNvPr id="12" name="Rectangle: Rounded Corners 11"/>
            <p:cNvSpPr/>
            <p:nvPr/>
          </p:nvSpPr>
          <p:spPr>
            <a:xfrm>
              <a:off x="87461" y="4749952"/>
              <a:ext cx="2204802" cy="612000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2266991" y="4665278"/>
              <a:ext cx="792000" cy="792000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82517" y="4910320"/>
              <a:ext cx="2129427" cy="30777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Tax reforms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41627" y="4834478"/>
              <a:ext cx="468000" cy="468000"/>
            </a:xfrm>
            <a:prstGeom prst="rect">
              <a:avLst/>
            </a:prstGeom>
          </p:spPr>
        </p:pic>
      </p:grpSp>
      <p:grpSp>
        <p:nvGrpSpPr>
          <p:cNvPr id="80" name="Group 79"/>
          <p:cNvGrpSpPr/>
          <p:nvPr/>
        </p:nvGrpSpPr>
        <p:grpSpPr>
          <a:xfrm>
            <a:off x="87461" y="2405740"/>
            <a:ext cx="2971530" cy="792000"/>
            <a:chOff x="87461" y="2383816"/>
            <a:chExt cx="2971530" cy="792000"/>
          </a:xfrm>
        </p:grpSpPr>
        <p:sp>
          <p:nvSpPr>
            <p:cNvPr id="6" name="Rectangle: Rounded Corners 5"/>
            <p:cNvSpPr/>
            <p:nvPr/>
          </p:nvSpPr>
          <p:spPr>
            <a:xfrm>
              <a:off x="87461" y="2468490"/>
              <a:ext cx="2204802" cy="612000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266991" y="2383816"/>
              <a:ext cx="792000" cy="79200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 w="2857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02074" y="2630925"/>
              <a:ext cx="2129427" cy="30777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Funding Challenges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41627" y="2538467"/>
              <a:ext cx="468000" cy="468000"/>
            </a:xfrm>
            <a:prstGeom prst="rect">
              <a:avLst/>
            </a:prstGeom>
          </p:spPr>
        </p:pic>
      </p:grpSp>
      <p:grpSp>
        <p:nvGrpSpPr>
          <p:cNvPr id="82" name="Group 81"/>
          <p:cNvGrpSpPr/>
          <p:nvPr/>
        </p:nvGrpSpPr>
        <p:grpSpPr>
          <a:xfrm>
            <a:off x="87461" y="3530817"/>
            <a:ext cx="2971530" cy="792000"/>
            <a:chOff x="87461" y="3674859"/>
            <a:chExt cx="2971530" cy="792000"/>
          </a:xfrm>
        </p:grpSpPr>
        <p:sp>
          <p:nvSpPr>
            <p:cNvPr id="10" name="Rectangle: Rounded Corners 9"/>
            <p:cNvSpPr/>
            <p:nvPr/>
          </p:nvSpPr>
          <p:spPr>
            <a:xfrm>
              <a:off x="87461" y="3759533"/>
              <a:ext cx="2204802" cy="612000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2266991" y="3674859"/>
              <a:ext cx="792000" cy="79200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162836" y="3911644"/>
              <a:ext cx="2129427" cy="30777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Inflationary pressures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41627" y="3836785"/>
              <a:ext cx="468000" cy="468000"/>
            </a:xfrm>
            <a:prstGeom prst="rect">
              <a:avLst/>
            </a:prstGeom>
          </p:spPr>
        </p:pic>
      </p:grpSp>
      <p:grpSp>
        <p:nvGrpSpPr>
          <p:cNvPr id="79" name="Group 78"/>
          <p:cNvGrpSpPr/>
          <p:nvPr/>
        </p:nvGrpSpPr>
        <p:grpSpPr>
          <a:xfrm>
            <a:off x="87461" y="1280663"/>
            <a:ext cx="2971530" cy="792000"/>
            <a:chOff x="87461" y="1243085"/>
            <a:chExt cx="2971530" cy="792000"/>
          </a:xfrm>
        </p:grpSpPr>
        <p:sp>
          <p:nvSpPr>
            <p:cNvPr id="3" name="Rectangle: Rounded Corners 2"/>
            <p:cNvSpPr/>
            <p:nvPr/>
          </p:nvSpPr>
          <p:spPr>
            <a:xfrm>
              <a:off x="87461" y="1327759"/>
              <a:ext cx="2204802" cy="612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" name="Oval 3"/>
            <p:cNvSpPr/>
            <p:nvPr/>
          </p:nvSpPr>
          <p:spPr>
            <a:xfrm>
              <a:off x="2266991" y="1243085"/>
              <a:ext cx="792000" cy="79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2857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99986" y="1476445"/>
              <a:ext cx="2129427" cy="30777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Foreign Exchange Volatility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412038" y="1390461"/>
              <a:ext cx="468000" cy="468000"/>
            </a:xfrm>
            <a:prstGeom prst="rect">
              <a:avLst/>
            </a:prstGeom>
          </p:spPr>
        </p:pic>
      </p:grpSp>
      <p:sp>
        <p:nvSpPr>
          <p:cNvPr id="73" name="Rectangle 72"/>
          <p:cNvSpPr/>
          <p:nvPr/>
        </p:nvSpPr>
        <p:spPr>
          <a:xfrm>
            <a:off x="3144033" y="5686341"/>
            <a:ext cx="8969057" cy="86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he emergence of new technology including AI has created both opportunities and challenge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o</a:t>
            </a:r>
            <a:r>
              <a:rPr lang="en-US" sz="1400" dirty="0">
                <a:solidFill>
                  <a:prstClr val="black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 leasing companies</a:t>
            </a:r>
            <a:endParaRPr lang="en-US" sz="1400" dirty="0">
              <a:solidFill>
                <a:prstClr val="black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cal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lease portfolios has become more complex, as integrating modern solutions with core business systems often present technical hurdl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.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86734" y="5780969"/>
            <a:ext cx="2976474" cy="792000"/>
            <a:chOff x="86734" y="5743391"/>
            <a:chExt cx="2976474" cy="792000"/>
          </a:xfrm>
        </p:grpSpPr>
        <p:sp>
          <p:nvSpPr>
            <p:cNvPr id="74" name="Rectangle: Rounded Corners 73"/>
            <p:cNvSpPr/>
            <p:nvPr/>
          </p:nvSpPr>
          <p:spPr>
            <a:xfrm>
              <a:off x="91678" y="5828065"/>
              <a:ext cx="2204802" cy="6120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10000"/>
                <a:lumOff val="9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2271208" y="5743391"/>
              <a:ext cx="792000" cy="792000"/>
            </a:xfrm>
            <a:prstGeom prst="ellipse">
              <a:avLst/>
            </a:prstGeom>
            <a:solidFill>
              <a:schemeClr val="accent2">
                <a:lumMod val="10000"/>
                <a:lumOff val="90000"/>
              </a:schemeClr>
            </a:solidFill>
            <a:ln w="2857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86734" y="5988433"/>
              <a:ext cx="2129427" cy="30777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Technological evolution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412038" y="5900065"/>
              <a:ext cx="468000" cy="468000"/>
            </a:xfrm>
            <a:prstGeom prst="rect">
              <a:avLst/>
            </a:prstGeom>
          </p:spPr>
        </p:pic>
      </p:grpSp>
      <p:sp>
        <p:nvSpPr>
          <p:cNvPr id="84" name="TextBox 83"/>
          <p:cNvSpPr txBox="1"/>
          <p:nvPr/>
        </p:nvSpPr>
        <p:spPr>
          <a:xfrm>
            <a:off x="3982782" y="1044751"/>
            <a:ext cx="5150230" cy="307777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arriers and Current Gaps faced by Leasing Industry </a:t>
            </a:r>
            <a:r>
              <a:rPr lang="en-US" sz="1400" b="1" dirty="0">
                <a:solidFill>
                  <a:prstClr val="white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ayer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3331924" y="2869288"/>
            <a:ext cx="8379912" cy="20910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26113" y="3446807"/>
            <a:ext cx="8911191" cy="873886"/>
          </a:xfrm>
          <a:prstGeom prst="rect">
            <a:avLst/>
          </a:prstGeom>
          <a:solidFill>
            <a:schemeClr val="bg1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rowth Opportunities for Leasing in Nigeria</a:t>
            </a:r>
            <a:endParaRPr kumimoji="0" lang="en-US" sz="2800" b="1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2329841" y="1352810"/>
            <a:ext cx="0" cy="508556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026113" y="3705080"/>
            <a:ext cx="541749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03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05084" y="3014798"/>
            <a:ext cx="1800000" cy="1800000"/>
            <a:chOff x="406251" y="1538048"/>
            <a:chExt cx="1080000" cy="108000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6251" y="1538048"/>
              <a:ext cx="1080000" cy="1080000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6765" y="1842759"/>
              <a:ext cx="468000" cy="468000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00.xml><?xml version="1.0" encoding="utf-8"?>
<p:tagLst xmlns:p="http://schemas.openxmlformats.org/presentationml/2006/main">
  <p:tag name="THINKCELLSHAPEDONOTDELETE" val="tsdyZNuOQo0KoEACS4nzbEA"/>
</p:tagLst>
</file>

<file path=ppt/tags/tag101.xml><?xml version="1.0" encoding="utf-8"?>
<p:tagLst xmlns:p="http://schemas.openxmlformats.org/presentationml/2006/main">
  <p:tag name="THINKCELLSHAPEDONOTDELETE" val="teIGehTSMPQCuJcd13P1r3w"/>
</p:tagLst>
</file>

<file path=ppt/tags/tag102.xml><?xml version="1.0" encoding="utf-8"?>
<p:tagLst xmlns:p="http://schemas.openxmlformats.org/presentationml/2006/main">
  <p:tag name="THINKCELLSHAPEDONOTDELETE" val="tz3FVOXj7DVxUAtqus4l8qQ"/>
</p:tagLst>
</file>

<file path=ppt/tags/tag103.xml><?xml version="1.0" encoding="utf-8"?>
<p:tagLst xmlns:p="http://schemas.openxmlformats.org/presentationml/2006/main">
  <p:tag name="THINKCELLSHAPEDONOTDELETE" val="tnO9hW2xyPbTV8goey1i5dw"/>
</p:tagLst>
</file>

<file path=ppt/tags/tag104.xml><?xml version="1.0" encoding="utf-8"?>
<p:tagLst xmlns:p="http://schemas.openxmlformats.org/presentationml/2006/main">
  <p:tag name="THINKCELLSHAPEDONOTDELETE" val="thDnSO.RTac.t3nErcDPbtg"/>
</p:tagLst>
</file>

<file path=ppt/tags/tag105.xml><?xml version="1.0" encoding="utf-8"?>
<p:tagLst xmlns:p="http://schemas.openxmlformats.org/presentationml/2006/main">
  <p:tag name="THINKCELLSHAPEDONOTDELETE" val="tYywm_rv4uunClmk1mZF8_A"/>
</p:tagLst>
</file>

<file path=ppt/tags/tag106.xml><?xml version="1.0" encoding="utf-8"?>
<p:tagLst xmlns:p="http://schemas.openxmlformats.org/presentationml/2006/main">
  <p:tag name="THINKCELLSHAPEDONOTDELETE" val="tQbsUyrLLEskSxXY5fMnZhg"/>
</p:tagLst>
</file>

<file path=ppt/tags/tag107.xml><?xml version="1.0" encoding="utf-8"?>
<p:tagLst xmlns:p="http://schemas.openxmlformats.org/presentationml/2006/main">
  <p:tag name="THINKCELLSHAPEDONOTDELETE" val="tH1A4g2m9LsG6XsxtW69RPA"/>
</p:tagLst>
</file>

<file path=ppt/tags/tag108.xml><?xml version="1.0" encoding="utf-8"?>
<p:tagLst xmlns:p="http://schemas.openxmlformats.org/presentationml/2006/main">
  <p:tag name="THINKCELLSHAPEDONOTDELETE" val="ttvtDY8.dWUiL4Jl2DO99Tw"/>
</p:tagLst>
</file>

<file path=ppt/tags/tag109.xml><?xml version="1.0" encoding="utf-8"?>
<p:tagLst xmlns:p="http://schemas.openxmlformats.org/presentationml/2006/main">
  <p:tag name="THINKCELLSHAPEDONOTDELETE" val="tg73P3xMEoXvZa6h4SYfdZA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10.xml><?xml version="1.0" encoding="utf-8"?>
<p:tagLst xmlns:p="http://schemas.openxmlformats.org/presentationml/2006/main">
  <p:tag name="THINKCELLSHAPEDONOTDELETE" val="thnuLqGYnWKfwjn2KSTQiSg"/>
</p:tagLst>
</file>

<file path=ppt/tags/tag111.xml><?xml version="1.0" encoding="utf-8"?>
<p:tagLst xmlns:p="http://schemas.openxmlformats.org/presentationml/2006/main">
  <p:tag name="THINKCELLSHAPEDONOTDELETE" val="thFtO1SyxksUBYRyySdoxpg"/>
</p:tagLst>
</file>

<file path=ppt/tags/tag112.xml><?xml version="1.0" encoding="utf-8"?>
<p:tagLst xmlns:p="http://schemas.openxmlformats.org/presentationml/2006/main">
  <p:tag name="THINKCELLSHAPEDONOTDELETE" val="tYEcVo810_1kJRThJP8gL2A"/>
</p:tagLst>
</file>

<file path=ppt/tags/tag113.xml><?xml version="1.0" encoding="utf-8"?>
<p:tagLst xmlns:p="http://schemas.openxmlformats.org/presentationml/2006/main">
  <p:tag name="THINKCELLSHAPEDONOTDELETE" val="tz6bA11Vz6p6vyshk89Ztuw"/>
</p:tagLst>
</file>

<file path=ppt/tags/tag114.xml><?xml version="1.0" encoding="utf-8"?>
<p:tagLst xmlns:p="http://schemas.openxmlformats.org/presentationml/2006/main">
  <p:tag name="THINKCELLSHAPEDONOTDELETE" val="tfMoVfABG2IRDrVQ5UlHrow"/>
</p:tagLst>
</file>

<file path=ppt/tags/tag115.xml><?xml version="1.0" encoding="utf-8"?>
<p:tagLst xmlns:p="http://schemas.openxmlformats.org/presentationml/2006/main">
  <p:tag name="THINKCELLSHAPEDONOTDELETE" val="terfUu_sI13K6Hjw6geFC4Q"/>
</p:tagLst>
</file>

<file path=ppt/tags/tag116.xml><?xml version="1.0" encoding="utf-8"?>
<p:tagLst xmlns:p="http://schemas.openxmlformats.org/presentationml/2006/main">
  <p:tag name="THINKCELLSHAPEDONOTDELETE" val="twn.dhkCy5tRls3OTt5rc9w"/>
</p:tagLst>
</file>

<file path=ppt/tags/tag117.xml><?xml version="1.0" encoding="utf-8"?>
<p:tagLst xmlns:p="http://schemas.openxmlformats.org/presentationml/2006/main">
  <p:tag name="THINKCELLSHAPEDONOTDELETE" val="tAIyd_YlVwStIQh0gQLk4ug"/>
</p:tagLst>
</file>

<file path=ppt/tags/tag118.xml><?xml version="1.0" encoding="utf-8"?>
<p:tagLst xmlns:p="http://schemas.openxmlformats.org/presentationml/2006/main">
  <p:tag name="THINKCELLSHAPEDONOTDELETE" val="typapBf.3Sq9dWp90JggmnA"/>
</p:tagLst>
</file>

<file path=ppt/tags/tag119.xml><?xml version="1.0" encoding="utf-8"?>
<p:tagLst xmlns:p="http://schemas.openxmlformats.org/presentationml/2006/main">
  <p:tag name="THINKCELLSHAPEDONOTDELETE" val="thUSxlWv8I52lFMqmX5olow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20.xml><?xml version="1.0" encoding="utf-8"?>
<p:tagLst xmlns:p="http://schemas.openxmlformats.org/presentationml/2006/main">
  <p:tag name="THINKCELLSHAPEDONOTDELETE" val="tuJarsRSJY8u83qA_LasCOA"/>
</p:tagLst>
</file>

<file path=ppt/tags/tag121.xml><?xml version="1.0" encoding="utf-8"?>
<p:tagLst xmlns:p="http://schemas.openxmlformats.org/presentationml/2006/main">
  <p:tag name="THINKCELLSHAPEDONOTDELETE" val="tjxSQQTlQdY6dBqNUgIVLqA"/>
</p:tagLst>
</file>

<file path=ppt/tags/tag122.xml><?xml version="1.0" encoding="utf-8"?>
<p:tagLst xmlns:p="http://schemas.openxmlformats.org/presentationml/2006/main">
  <p:tag name="THINKCELLSHAPEDONOTDELETE" val="tB8tZyHuK9jMnzyddBB0u2w"/>
</p:tagLst>
</file>

<file path=ppt/tags/tag123.xml><?xml version="1.0" encoding="utf-8"?>
<p:tagLst xmlns:p="http://schemas.openxmlformats.org/presentationml/2006/main">
  <p:tag name="THINKCELLSHAPEDONOTDELETE" val="tlIgyqXMnEj4.rL0IC2Em4A"/>
</p:tagLst>
</file>

<file path=ppt/tags/tag124.xml><?xml version="1.0" encoding="utf-8"?>
<p:tagLst xmlns:p="http://schemas.openxmlformats.org/presentationml/2006/main">
  <p:tag name="THINKCELLSHAPEDONOTDELETE" val="tayclGCnhxfx4OB3ZR5Cfbg"/>
</p:tagLst>
</file>

<file path=ppt/tags/tag125.xml><?xml version="1.0" encoding="utf-8"?>
<p:tagLst xmlns:p="http://schemas.openxmlformats.org/presentationml/2006/main">
  <p:tag name="THINKCELLSHAPEDONOTDELETE" val="tL.oy.xT5YcCqy9XOqtN_Yw"/>
</p:tagLst>
</file>

<file path=ppt/tags/tag126.xml><?xml version="1.0" encoding="utf-8"?>
<p:tagLst xmlns:p="http://schemas.openxmlformats.org/presentationml/2006/main">
  <p:tag name="THINKCELLSHAPEDONOTDELETE" val="tvvfeWGSfLa5F.QQUIlnHGw"/>
</p:tagLst>
</file>

<file path=ppt/tags/tag127.xml><?xml version="1.0" encoding="utf-8"?>
<p:tagLst xmlns:p="http://schemas.openxmlformats.org/presentationml/2006/main">
  <p:tag name="THINKCELLSHAPEDONOTDELETE" val="tBUKykolcXhyl1ZFqyVO5Hw"/>
</p:tagLst>
</file>

<file path=ppt/tags/tag128.xml><?xml version="1.0" encoding="utf-8"?>
<p:tagLst xmlns:p="http://schemas.openxmlformats.org/presentationml/2006/main">
  <p:tag name="THINKCELLSHAPEDONOTDELETE" val="tEn8moBQsT9uQcoIItr8IlQ"/>
</p:tagLst>
</file>

<file path=ppt/tags/tag129.xml><?xml version="1.0" encoding="utf-8"?>
<p:tagLst xmlns:p="http://schemas.openxmlformats.org/presentationml/2006/main">
  <p:tag name="THINKCELLSHAPEDONOTDELETE" val="th19hpYhbNx8g351zJTMDwQ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30.xml><?xml version="1.0" encoding="utf-8"?>
<p:tagLst xmlns:p="http://schemas.openxmlformats.org/presentationml/2006/main">
  <p:tag name="THINKCELLSHAPEDONOTDELETE" val="tRREi7NCAh8FR0qVNe6id.w"/>
</p:tagLst>
</file>

<file path=ppt/tags/tag131.xml><?xml version="1.0" encoding="utf-8"?>
<p:tagLst xmlns:p="http://schemas.openxmlformats.org/presentationml/2006/main">
  <p:tag name="THINKCELLSHAPEDONOTDELETE" val="thinkcellActiveDocDoNotDelete"/>
</p:tagLst>
</file>

<file path=ppt/tags/tag132.xml><?xml version="1.0" encoding="utf-8"?>
<p:tagLst xmlns:p="http://schemas.openxmlformats.org/presentationml/2006/main">
  <p:tag name="THINKCELLSHAPEDONOTDELETE" val="thinkcellActiveDocDoNotDelete"/>
</p:tagLst>
</file>

<file path=ppt/tags/tag133.xml><?xml version="1.0" encoding="utf-8"?>
<p:tagLst xmlns:p="http://schemas.openxmlformats.org/presentationml/2006/main">
  <p:tag name="THINKCELLSHAPEDONOTDELETE" val="thinkcellActiveDocDoNotDelete"/>
</p:tagLst>
</file>

<file path=ppt/tags/tag134.xml><?xml version="1.0" encoding="utf-8"?>
<p:tagLst xmlns:p="http://schemas.openxmlformats.org/presentationml/2006/main">
  <p:tag name="THINKCELLSHAPEDONOTDELETE" val="thinkcellActiveDocDoNotDelete"/>
</p:tagLst>
</file>

<file path=ppt/tags/tag135.xml><?xml version="1.0" encoding="utf-8"?>
<p:tagLst xmlns:p="http://schemas.openxmlformats.org/presentationml/2006/main">
  <p:tag name="THINKCELLSHAPEDONOTDELETE" val="thinkcellActiveDocDoNotDelete"/>
</p:tagLst>
</file>

<file path=ppt/tags/tag136.xml><?xml version="1.0" encoding="utf-8"?>
<p:tagLst xmlns:p="http://schemas.openxmlformats.org/presentationml/2006/main">
  <p:tag name="THINKCELLSHAPEDONOTDELETE" val="tGgimbSuxiskCOucCixA18w"/>
</p:tagLst>
</file>

<file path=ppt/tags/tag137.xml><?xml version="1.0" encoding="utf-8"?>
<p:tagLst xmlns:p="http://schemas.openxmlformats.org/presentationml/2006/main">
  <p:tag name="THINKCELLSHAPEDONOTDELETE" val="tkieKvMX..3Xh0LHtdtN0cw"/>
</p:tagLst>
</file>

<file path=ppt/tags/tag138.xml><?xml version="1.0" encoding="utf-8"?>
<p:tagLst xmlns:p="http://schemas.openxmlformats.org/presentationml/2006/main">
  <p:tag name="THINKCELLSHAPEDONOTDELETE" val="tIgFW1opqS8Janpa6bzT7Mg"/>
</p:tagLst>
</file>

<file path=ppt/tags/tag139.xml><?xml version="1.0" encoding="utf-8"?>
<p:tagLst xmlns:p="http://schemas.openxmlformats.org/presentationml/2006/main">
  <p:tag name="THINKCELLSHAPEDONOTDELETE" val="thvsVlD8YuTXSz_abQIrLvw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40.xml><?xml version="1.0" encoding="utf-8"?>
<p:tagLst xmlns:p="http://schemas.openxmlformats.org/presentationml/2006/main">
  <p:tag name="THINKCELLSHAPEDONOTDELETE" val="tXa52ZeuKk8nmAn4ZZtmn.A"/>
</p:tagLst>
</file>

<file path=ppt/tags/tag141.xml><?xml version="1.0" encoding="utf-8"?>
<p:tagLst xmlns:p="http://schemas.openxmlformats.org/presentationml/2006/main">
  <p:tag name="THINKCELLSHAPEDONOTDELETE" val="tn95vGXsjJcwVaxzduNQhDw"/>
</p:tagLst>
</file>

<file path=ppt/tags/tag142.xml><?xml version="1.0" encoding="utf-8"?>
<p:tagLst xmlns:p="http://schemas.openxmlformats.org/presentationml/2006/main">
  <p:tag name="THINKCELLSHAPEDONOTDELETE" val="tRliXcfCY3pwED7cmpYTZRA"/>
</p:tagLst>
</file>

<file path=ppt/tags/tag143.xml><?xml version="1.0" encoding="utf-8"?>
<p:tagLst xmlns:p="http://schemas.openxmlformats.org/presentationml/2006/main">
  <p:tag name="THINKCELLSHAPEDONOTDELETE" val="tFou_Y9MWcDpxeLR.bm.cpA"/>
</p:tagLst>
</file>

<file path=ppt/tags/tag144.xml><?xml version="1.0" encoding="utf-8"?>
<p:tagLst xmlns:p="http://schemas.openxmlformats.org/presentationml/2006/main">
  <p:tag name="THINKCELLSHAPEDONOTDELETE" val="tgYipZoGSNIbmOpRH3m3dnw"/>
</p:tagLst>
</file>

<file path=ppt/tags/tag145.xml><?xml version="1.0" encoding="utf-8"?>
<p:tagLst xmlns:p="http://schemas.openxmlformats.org/presentationml/2006/main">
  <p:tag name="THINKCELLSHAPEDONOTDELETE" val="tY_isqoifkmRm5vikfnacFw"/>
</p:tagLst>
</file>

<file path=ppt/tags/tag146.xml><?xml version="1.0" encoding="utf-8"?>
<p:tagLst xmlns:p="http://schemas.openxmlformats.org/presentationml/2006/main">
  <p:tag name="THINKCELLSHAPEDONOTDELETE" val="tRDzv4MCHGPwFV_L7IKx93A"/>
</p:tagLst>
</file>

<file path=ppt/tags/tag147.xml><?xml version="1.0" encoding="utf-8"?>
<p:tagLst xmlns:p="http://schemas.openxmlformats.org/presentationml/2006/main">
  <p:tag name="THINKCELLSHAPEDONOTDELETE" val="tYZdtTcYD2T7iel0VClYwcw"/>
</p:tagLst>
</file>

<file path=ppt/tags/tag148.xml><?xml version="1.0" encoding="utf-8"?>
<p:tagLst xmlns:p="http://schemas.openxmlformats.org/presentationml/2006/main">
  <p:tag name="THINKCELLSHAPEDONOTDELETE" val="thinkcellActiveDocDoNotDelete"/>
</p:tagLst>
</file>

<file path=ppt/tags/tag149.xml><?xml version="1.0" encoding="utf-8"?>
<p:tagLst xmlns:p="http://schemas.openxmlformats.org/presentationml/2006/main">
  <p:tag name="THINKCELLSHAPEDONOTDELETE" val="tVXGbHw05uxT.Pn4kXbpIrA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50.xml><?xml version="1.0" encoding="utf-8"?>
<p:tagLst xmlns:p="http://schemas.openxmlformats.org/presentationml/2006/main">
  <p:tag name="THINKCELLSHAPEDONOTDELETE" val="tSxtbv3L9mrO3JjLXIGQCvA"/>
</p:tagLst>
</file>

<file path=ppt/tags/tag151.xml><?xml version="1.0" encoding="utf-8"?>
<p:tagLst xmlns:p="http://schemas.openxmlformats.org/presentationml/2006/main">
  <p:tag name="THINKCELLSHAPEDONOTDELETE" val="t6wgaIzU7Ioc7xHvTIN_bPw"/>
</p:tagLst>
</file>

<file path=ppt/tags/tag152.xml><?xml version="1.0" encoding="utf-8"?>
<p:tagLst xmlns:p="http://schemas.openxmlformats.org/presentationml/2006/main">
  <p:tag name="THINKCELLSHAPEDONOTDELETE" val="t4WCS9UMBVhHKGS1Q7JO01g"/>
</p:tagLst>
</file>

<file path=ppt/tags/tag153.xml><?xml version="1.0" encoding="utf-8"?>
<p:tagLst xmlns:p="http://schemas.openxmlformats.org/presentationml/2006/main">
  <p:tag name="THINKCELLSHAPEDONOTDELETE" val="tfJpIF7C.E.5msmgXhLCmQg"/>
</p:tagLst>
</file>

<file path=ppt/tags/tag154.xml><?xml version="1.0" encoding="utf-8"?>
<p:tagLst xmlns:p="http://schemas.openxmlformats.org/presentationml/2006/main">
  <p:tag name="THINKCELLSHAPEDONOTDELETE" val="t4q54e1GtMZOAde0P2_7dIw"/>
</p:tagLst>
</file>

<file path=ppt/tags/tag155.xml><?xml version="1.0" encoding="utf-8"?>
<p:tagLst xmlns:p="http://schemas.openxmlformats.org/presentationml/2006/main">
  <p:tag name="THINKCELLSHAPEDONOTDELETE" val="tRYG792XcIuWIErcKLSDO5w"/>
</p:tagLst>
</file>

<file path=ppt/tags/tag156.xml><?xml version="1.0" encoding="utf-8"?>
<p:tagLst xmlns:p="http://schemas.openxmlformats.org/presentationml/2006/main">
  <p:tag name="THINKCELLSHAPEDONOTDELETE" val="tTSyFOyCx1DuR5KBlgg4fEA"/>
</p:tagLst>
</file>

<file path=ppt/tags/tag157.xml><?xml version="1.0" encoding="utf-8"?>
<p:tagLst xmlns:p="http://schemas.openxmlformats.org/presentationml/2006/main">
  <p:tag name="THINKCELLSHAPEDONOTDELETE" val="tgUtMMdUFBu0uVs1GuUkVAQ"/>
</p:tagLst>
</file>

<file path=ppt/tags/tag158.xml><?xml version="1.0" encoding="utf-8"?>
<p:tagLst xmlns:p="http://schemas.openxmlformats.org/presentationml/2006/main">
  <p:tag name="THINKCELLSHAPEDONOTDELETE" val="tcVkCndKciqp5pyzVwVUIWg"/>
</p:tagLst>
</file>

<file path=ppt/tags/tag159.xml><?xml version="1.0" encoding="utf-8"?>
<p:tagLst xmlns:p="http://schemas.openxmlformats.org/presentationml/2006/main">
  <p:tag name="THINKCELLSHAPEDONOTDELETE" val="t.TTk.q78z4IbdQW.8_v0jQ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60.xml><?xml version="1.0" encoding="utf-8"?>
<p:tagLst xmlns:p="http://schemas.openxmlformats.org/presentationml/2006/main">
  <p:tag name="THINKCELLSHAPEDONOTDELETE" val="tflRH_TWgvEkgegU3CstUqA"/>
</p:tagLst>
</file>

<file path=ppt/tags/tag161.xml><?xml version="1.0" encoding="utf-8"?>
<p:tagLst xmlns:p="http://schemas.openxmlformats.org/presentationml/2006/main">
  <p:tag name="THINKCELLSHAPEDONOTDELETE" val="tb6KvjANh7ZDLIXO1vWG4Rw"/>
</p:tagLst>
</file>

<file path=ppt/tags/tag162.xml><?xml version="1.0" encoding="utf-8"?>
<p:tagLst xmlns:p="http://schemas.openxmlformats.org/presentationml/2006/main">
  <p:tag name="THINKCELLSHAPEDONOTDELETE" val="t8tGXlwA.C7VK0syzdjhvYw"/>
</p:tagLst>
</file>

<file path=ppt/tags/tag163.xml><?xml version="1.0" encoding="utf-8"?>
<p:tagLst xmlns:p="http://schemas.openxmlformats.org/presentationml/2006/main">
  <p:tag name="THINKCELLSHAPEDONOTDELETE" val="tnqeDnxjKrzK9_tSqvBOtvw"/>
</p:tagLst>
</file>

<file path=ppt/tags/tag164.xml><?xml version="1.0" encoding="utf-8"?>
<p:tagLst xmlns:p="http://schemas.openxmlformats.org/presentationml/2006/main">
  <p:tag name="THINKCELLSHAPEDONOTDELETE" val="tCRba.Tyj6pNrH315E83xMQ"/>
</p:tagLst>
</file>

<file path=ppt/tags/tag165.xml><?xml version="1.0" encoding="utf-8"?>
<p:tagLst xmlns:p="http://schemas.openxmlformats.org/presentationml/2006/main">
  <p:tag name="THINKCELLSHAPEDONOTDELETE" val="t8lkobpEcwFzJ.53r4kiaHQ"/>
</p:tagLst>
</file>

<file path=ppt/tags/tag166.xml><?xml version="1.0" encoding="utf-8"?>
<p:tagLst xmlns:p="http://schemas.openxmlformats.org/presentationml/2006/main">
  <p:tag name="THINKCELLSHAPEDONOTDELETE" val="t3ZR3RXLeynIKDXc5Mg.dRw"/>
</p:tagLst>
</file>

<file path=ppt/tags/tag167.xml><?xml version="1.0" encoding="utf-8"?>
<p:tagLst xmlns:p="http://schemas.openxmlformats.org/presentationml/2006/main">
  <p:tag name="THINKCELLSHAPEDONOTDELETE" val="t2U2Y2gjg8I7DxmXv6U8OAg"/>
</p:tagLst>
</file>

<file path=ppt/tags/tag168.xml><?xml version="1.0" encoding="utf-8"?>
<p:tagLst xmlns:p="http://schemas.openxmlformats.org/presentationml/2006/main">
  <p:tag name="THINKCELLSHAPEDONOTDELETE" val="tkUOyxcl0HIrXV.XyagZ6uQ"/>
</p:tagLst>
</file>

<file path=ppt/tags/tag169.xml><?xml version="1.0" encoding="utf-8"?>
<p:tagLst xmlns:p="http://schemas.openxmlformats.org/presentationml/2006/main">
  <p:tag name="THINKCELLSHAPEDONOTDELETE" val="t2GjWPoHbc6y11oLk0TiUoA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70.xml><?xml version="1.0" encoding="utf-8"?>
<p:tagLst xmlns:p="http://schemas.openxmlformats.org/presentationml/2006/main">
  <p:tag name="THINKCELLSHAPEDONOTDELETE" val="thinkcellActiveDocDoNotDelete"/>
</p:tagLst>
</file>

<file path=ppt/tags/tag171.xml><?xml version="1.0" encoding="utf-8"?>
<p:tagLst xmlns:p="http://schemas.openxmlformats.org/presentationml/2006/main">
  <p:tag name="THINKCELLSHAPEDONOTDELETE" val="tGgimbSuxiskCOucCixA18w"/>
</p:tagLst>
</file>

<file path=ppt/tags/tag172.xml><?xml version="1.0" encoding="utf-8"?>
<p:tagLst xmlns:p="http://schemas.openxmlformats.org/presentationml/2006/main">
  <p:tag name="THINKCELLSHAPEDONOTDELETE" val="tkieKvMX..3Xh0LHtdtN0cw"/>
</p:tagLst>
</file>

<file path=ppt/tags/tag173.xml><?xml version="1.0" encoding="utf-8"?>
<p:tagLst xmlns:p="http://schemas.openxmlformats.org/presentationml/2006/main">
  <p:tag name="THINKCELLSHAPEDONOTDELETE" val="tIgFW1opqS8Janpa6bzT7Mg"/>
</p:tagLst>
</file>

<file path=ppt/tags/tag174.xml><?xml version="1.0" encoding="utf-8"?>
<p:tagLst xmlns:p="http://schemas.openxmlformats.org/presentationml/2006/main">
  <p:tag name="THINKCELLSHAPEDONOTDELETE" val="thvsVlD8YuTXSz_abQIrLvw"/>
</p:tagLst>
</file>

<file path=ppt/tags/tag175.xml><?xml version="1.0" encoding="utf-8"?>
<p:tagLst xmlns:p="http://schemas.openxmlformats.org/presentationml/2006/main">
  <p:tag name="THINKCELLSHAPEDONOTDELETE" val="tXa52ZeuKk8nmAn4ZZtmn.A"/>
</p:tagLst>
</file>

<file path=ppt/tags/tag176.xml><?xml version="1.0" encoding="utf-8"?>
<p:tagLst xmlns:p="http://schemas.openxmlformats.org/presentationml/2006/main">
  <p:tag name="THINKCELLSHAPEDONOTDELETE" val="tn95vGXsjJcwVaxzduNQhDw"/>
</p:tagLst>
</file>

<file path=ppt/tags/tag177.xml><?xml version="1.0" encoding="utf-8"?>
<p:tagLst xmlns:p="http://schemas.openxmlformats.org/presentationml/2006/main">
  <p:tag name="THINKCELLSHAPEDONOTDELETE" val="tFou_Y9MWcDpxeLR.bm.cpA"/>
</p:tagLst>
</file>

<file path=ppt/tags/tag178.xml><?xml version="1.0" encoding="utf-8"?>
<p:tagLst xmlns:p="http://schemas.openxmlformats.org/presentationml/2006/main">
  <p:tag name="THINKCELLSHAPEDONOTDELETE" val="tRliXcfCY3pwED7cmpYTZRA"/>
</p:tagLst>
</file>

<file path=ppt/tags/tag179.xml><?xml version="1.0" encoding="utf-8"?>
<p:tagLst xmlns:p="http://schemas.openxmlformats.org/presentationml/2006/main">
  <p:tag name="THINKCELLSHAPEDONOTDELETE" val="tgYipZoGSNIbmOpRH3m3dnw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80.xml><?xml version="1.0" encoding="utf-8"?>
<p:tagLst xmlns:p="http://schemas.openxmlformats.org/presentationml/2006/main">
  <p:tag name="THINKCELLSHAPEDONOTDELETE" val="toTLWFjvW.8lD1Kw_Hv12PQ"/>
</p:tagLst>
</file>

<file path=ppt/tags/tag181.xml><?xml version="1.0" encoding="utf-8"?>
<p:tagLst xmlns:p="http://schemas.openxmlformats.org/presentationml/2006/main">
  <p:tag name="THINKCELLSHAPEDONOTDELETE" val="ttN3XfeIr2Z3EsE_BlQs_Bw"/>
</p:tagLst>
</file>

<file path=ppt/tags/tag182.xml><?xml version="1.0" encoding="utf-8"?>
<p:tagLst xmlns:p="http://schemas.openxmlformats.org/presentationml/2006/main">
  <p:tag name="THINKCELLSHAPEDONOTDELETE" val="ta_dJZGlAj0V_P6RkmBueAw"/>
</p:tagLst>
</file>

<file path=ppt/tags/tag183.xml><?xml version="1.0" encoding="utf-8"?>
<p:tagLst xmlns:p="http://schemas.openxmlformats.org/presentationml/2006/main">
  <p:tag name="THINKCELLSHAPEDONOTDELETE" val="thinkcellActiveDocDoNotDelete"/>
</p:tagLst>
</file>

<file path=ppt/tags/tag184.xml><?xml version="1.0" encoding="utf-8"?>
<p:tagLst xmlns:p="http://schemas.openxmlformats.org/presentationml/2006/main">
  <p:tag name="THINKCELLSHAPEDONOTDELETE" val="thinkcellActiveDocDoNotDelete"/>
</p:tagLst>
</file>

<file path=ppt/tags/tag185.xml><?xml version="1.0" encoding="utf-8"?>
<p:tagLst xmlns:p="http://schemas.openxmlformats.org/presentationml/2006/main">
  <p:tag name="THINKCELLSHAPEDONOTDELETE" val="thinkcellActiveDocDoNotDelete"/>
</p:tagLst>
</file>

<file path=ppt/tags/tag186.xml><?xml version="1.0" encoding="utf-8"?>
<p:tagLst xmlns:p="http://schemas.openxmlformats.org/presentationml/2006/main">
  <p:tag name="THINKCELLSHAPEDONOTDELETE" val="thinkcellActiveDocDoNotDelete"/>
</p:tagLst>
</file>

<file path=ppt/tags/tag187.xml><?xml version="1.0" encoding="utf-8"?>
<p:tagLst xmlns:p="http://schemas.openxmlformats.org/presentationml/2006/main">
  <p:tag name="THINKCELLSHAPEDONOTDELETE" val="thinkcellActiveDocDoNotDelete"/>
</p:tagLst>
</file>

<file path=ppt/tags/tag188.xml><?xml version="1.0" encoding="utf-8"?>
<p:tagLst xmlns:p="http://schemas.openxmlformats.org/presentationml/2006/main">
  <p:tag name="THINKCELLSHAPEDONOTDELETE" val="thinkcellActiveDocDoNotDelete"/>
</p:tagLst>
</file>

<file path=ppt/tags/tag189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190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X5AiJlc1SjikgjnNs387ng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k0gDn1l7TlyrFhv1Bb7CDw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hinkcellActiveDocDoNotDelete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hinkcellActiveDocDoNotDelete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hinkcellActiveDocDoNotDelete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hinkcellActiveDocDoNotDelete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hinkcellActiveDocDoNotDelete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hinkcellActiveDocDoNotDelete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hinkcellActiveDocDoNotDelete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hinkcellActiveDocDoNotDelete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THINKCELLSHAPEDONOTDELETE" val="thinkcellActiveDocDoNotDelete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hinkcellActiveDocDoNotDelete"/>
</p:tagLst>
</file>

<file path=ppt/tags/tag63.xml><?xml version="1.0" encoding="utf-8"?>
<p:tagLst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.xml><?xml version="1.0" encoding="utf-8"?>
<p:tagLst xmlns:p="http://schemas.openxmlformats.org/presentationml/2006/main">
  <p:tag name="THINKCELLSHAPEDONOTDELETE" val="thinkcellActiveDocDoNotDelete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hinkcellActiveDocDoNotDelete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9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70.xml><?xml version="1.0" encoding="utf-8"?>
<p:tagLst xmlns:p="http://schemas.openxmlformats.org/presentationml/2006/main">
  <p:tag name="THINKCELLSHAPEDONOTDELETE" val="thinkcellActiveDocDoNotDelete"/>
</p:tagLst>
</file>

<file path=ppt/tags/tag71.xml><?xml version="1.0" encoding="utf-8"?>
<p:tagLst xmlns:p="http://schemas.openxmlformats.org/presentationml/2006/main">
  <p:tag name="THINKCELLSHAPEDONOTDELETE" val="thinkcellActiveDocDoNotDelete"/>
</p:tagLst>
</file>

<file path=ppt/tags/tag72.xml><?xml version="1.0" encoding="utf-8"?>
<p:tagLst xmlns:p="http://schemas.openxmlformats.org/presentationml/2006/main">
  <p:tag name="THINKCELLSHAPEDONOTDELETE" val="thinkcellActiveDocDoNotDelete"/>
</p:tagLst>
</file>

<file path=ppt/tags/tag73.xml><?xml version="1.0" encoding="utf-8"?>
<p:tagLst xmlns:p="http://schemas.openxmlformats.org/presentationml/2006/main">
  <p:tag name="THINKCELLSHAPEDONOTDELETE" val="thinkcellActiveDocDoNotDelete"/>
</p:tagLst>
</file>

<file path=ppt/tags/tag74.xml><?xml version="1.0" encoding="utf-8"?>
<p:tagLst xmlns:p="http://schemas.openxmlformats.org/presentationml/2006/main">
  <p:tag name="THINKCELLSHAPEDONOTDELETE" val="thinkcellActiveDocDoNotDelete"/>
</p:tagLst>
</file>

<file path=ppt/tags/tag75.xml><?xml version="1.0" encoding="utf-8"?>
<p:tagLst xmlns:p="http://schemas.openxmlformats.org/presentationml/2006/main">
  <p:tag name="THINKCELLSHAPEDONOTDELETE" val="thinkcellActiveDocDoNotDelete"/>
</p:tagLst>
</file>

<file path=ppt/tags/tag76.xml><?xml version="1.0" encoding="utf-8"?>
<p:tagLst xmlns:p="http://schemas.openxmlformats.org/presentationml/2006/main">
  <p:tag name="THINKCELLSHAPEDONOTDELETE" val="thinkcellActiveDocDoNotDelete"/>
</p:tagLst>
</file>

<file path=ppt/tags/tag77.xml><?xml version="1.0" encoding="utf-8"?>
<p:tagLst xmlns:p="http://schemas.openxmlformats.org/presentationml/2006/main">
  <p:tag name="THINKCELLSHAPEDONOTDELETE" val="thinkcellActiveDocDoNotDelete"/>
</p:tagLst>
</file>

<file path=ppt/tags/tag78.xml><?xml version="1.0" encoding="utf-8"?>
<p:tagLst xmlns:p="http://schemas.openxmlformats.org/presentationml/2006/main">
  <p:tag name="THINKCELLSHAPEDONOTDELETE" val="thinkcellActiveDocDoNotDelete"/>
</p:tagLst>
</file>

<file path=ppt/tags/tag79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80.xml><?xml version="1.0" encoding="utf-8"?>
<p:tagLst xmlns:p="http://schemas.openxmlformats.org/presentationml/2006/main">
  <p:tag name="THINKCELLSHAPEDONOTDELETE" val="thinkcellActiveDocDoNotDelete"/>
</p:tagLst>
</file>

<file path=ppt/tags/tag81.xml><?xml version="1.0" encoding="utf-8"?>
<p:tagLst xmlns:p="http://schemas.openxmlformats.org/presentationml/2006/main">
  <p:tag name="THINKCELLSHAPEDONOTDELETE" val="thinkcellActiveDocDoNotDelete"/>
</p:tagLst>
</file>

<file path=ppt/tags/tag82.xml><?xml version="1.0" encoding="utf-8"?>
<p:tagLst xmlns:p="http://schemas.openxmlformats.org/presentationml/2006/main">
  <p:tag name="THINKCELLSHAPEDONOTDELETE" val="thinkcellActiveDocDoNotDelete"/>
</p:tagLst>
</file>

<file path=ppt/tags/tag83.xml><?xml version="1.0" encoding="utf-8"?>
<p:tagLst xmlns:p="http://schemas.openxmlformats.org/presentationml/2006/main">
  <p:tag name="THINKCELLSHAPEDONOTDELETE" val="thinkcellActiveDocDoNotDelete"/>
</p:tagLst>
</file>

<file path=ppt/tags/tag84.xml><?xml version="1.0" encoding="utf-8"?>
<p:tagLst xmlns:p="http://schemas.openxmlformats.org/presentationml/2006/main">
  <p:tag name="THINKCELLSHAPEDONOTDELETE" val="tfGi4NE327y7E6BD7iHUEgw"/>
</p:tagLst>
</file>

<file path=ppt/tags/tag85.xml><?xml version="1.0" encoding="utf-8"?>
<p:tagLst xmlns:p="http://schemas.openxmlformats.org/presentationml/2006/main">
  <p:tag name="THINKCELLSHAPEDONOTDELETE" val="txL8xRoHorBi4Z6bXl0s4hg"/>
</p:tagLst>
</file>

<file path=ppt/tags/tag86.xml><?xml version="1.0" encoding="utf-8"?>
<p:tagLst xmlns:p="http://schemas.openxmlformats.org/presentationml/2006/main">
  <p:tag name="THINKCELLSHAPEDONOTDELETE" val="tndUTTKjXN.wjqtW_hSgp5A"/>
</p:tagLst>
</file>

<file path=ppt/tags/tag87.xml><?xml version="1.0" encoding="utf-8"?>
<p:tagLst xmlns:p="http://schemas.openxmlformats.org/presentationml/2006/main">
  <p:tag name="THINKCELLSHAPEDONOTDELETE" val="toA9OAxgPEZQoHifcktWj0w"/>
</p:tagLst>
</file>

<file path=ppt/tags/tag88.xml><?xml version="1.0" encoding="utf-8"?>
<p:tagLst xmlns:p="http://schemas.openxmlformats.org/presentationml/2006/main">
  <p:tag name="THINKCELLSHAPEDONOTDELETE" val="t7KWdM1hd8yLjWQ__Mg4Jfg"/>
</p:tagLst>
</file>

<file path=ppt/tags/tag89.xml><?xml version="1.0" encoding="utf-8"?>
<p:tagLst xmlns:p="http://schemas.openxmlformats.org/presentationml/2006/main">
  <p:tag name="THINKCELLSHAPEDONOTDELETE" val="tHGEY5EXs8nA5pP8tG8chrQ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ags/tag90.xml><?xml version="1.0" encoding="utf-8"?>
<p:tagLst xmlns:p="http://schemas.openxmlformats.org/presentationml/2006/main">
  <p:tag name="THINKCELLSHAPEDONOTDELETE" val="tYcu0MUd8vceW9zTwWBn_UA"/>
</p:tagLst>
</file>

<file path=ppt/tags/tag91.xml><?xml version="1.0" encoding="utf-8"?>
<p:tagLst xmlns:p="http://schemas.openxmlformats.org/presentationml/2006/main">
  <p:tag name="THINKCELLSHAPEDONOTDELETE" val="tNE0tIOTvrozjb8gCHIL0eA"/>
</p:tagLst>
</file>

<file path=ppt/tags/tag92.xml><?xml version="1.0" encoding="utf-8"?>
<p:tagLst xmlns:p="http://schemas.openxmlformats.org/presentationml/2006/main">
  <p:tag name="THINKCELLSHAPEDONOTDELETE" val="t71DJ9mNt9yQQ86FLvgJJVQ"/>
</p:tagLst>
</file>

<file path=ppt/tags/tag93.xml><?xml version="1.0" encoding="utf-8"?>
<p:tagLst xmlns:p="http://schemas.openxmlformats.org/presentationml/2006/main">
  <p:tag name="THINKCELLSHAPEDONOTDELETE" val="t0.K7RJYcjOoGuxEVELZQdg"/>
</p:tagLst>
</file>

<file path=ppt/tags/tag94.xml><?xml version="1.0" encoding="utf-8"?>
<p:tagLst xmlns:p="http://schemas.openxmlformats.org/presentationml/2006/main">
  <p:tag name="THINKCELLSHAPEDONOTDELETE" val="tp75uF2zJ67g.kFIixi4BWA"/>
</p:tagLst>
</file>

<file path=ppt/tags/tag95.xml><?xml version="1.0" encoding="utf-8"?>
<p:tagLst xmlns:p="http://schemas.openxmlformats.org/presentationml/2006/main">
  <p:tag name="THINKCELLSHAPEDONOTDELETE" val="tmKh6OFsscscYK6oitIRBwQ"/>
</p:tagLst>
</file>

<file path=ppt/tags/tag96.xml><?xml version="1.0" encoding="utf-8"?>
<p:tagLst xmlns:p="http://schemas.openxmlformats.org/presentationml/2006/main">
  <p:tag name="THINKCELLSHAPEDONOTDELETE" val="t6j.428bFiKHscBiXHBo1dQ"/>
</p:tagLst>
</file>

<file path=ppt/tags/tag97.xml><?xml version="1.0" encoding="utf-8"?>
<p:tagLst xmlns:p="http://schemas.openxmlformats.org/presentationml/2006/main">
  <p:tag name="THINKCELLSHAPEDONOTDELETE" val="tOpNwThKSPZmhfArSkTskKg"/>
</p:tagLst>
</file>

<file path=ppt/tags/tag98.xml><?xml version="1.0" encoding="utf-8"?>
<p:tagLst xmlns:p="http://schemas.openxmlformats.org/presentationml/2006/main">
  <p:tag name="THINKCELLSHAPEDONOTDELETE" val="t0GoLpjpqoWn3qf0QgooW_g"/>
</p:tagLst>
</file>

<file path=ppt/tags/tag99.xml><?xml version="1.0" encoding="utf-8"?>
<p:tagLst xmlns:p="http://schemas.openxmlformats.org/presentationml/2006/main">
  <p:tag name="THINKCELLSHAPEDONOTDELETE" val="t_5nilcKiq8GyjC_sNp_uWA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irstBank Group Grid 16:9 - 22859">
  <a:themeElements>
    <a:clrScheme name="FirstBank Group Grid 16:9">
      <a:dk1>
        <a:sysClr val="windowText" lastClr="000000"/>
      </a:dk1>
      <a:lt1>
        <a:sysClr val="window" lastClr="FFFFFF"/>
      </a:lt1>
      <a:dk2>
        <a:srgbClr val="022E64"/>
      </a:dk2>
      <a:lt2>
        <a:srgbClr val="E7E6E6"/>
      </a:lt2>
      <a:accent1>
        <a:srgbClr val="001732"/>
      </a:accent1>
      <a:accent2>
        <a:srgbClr val="002F5F"/>
      </a:accent2>
      <a:accent3>
        <a:srgbClr val="EAAB00"/>
      </a:accent3>
      <a:accent4>
        <a:srgbClr val="5FA5FB"/>
      </a:accent4>
      <a:accent5>
        <a:srgbClr val="A5A5A5"/>
      </a:accent5>
      <a:accent6>
        <a:srgbClr val="44546A"/>
      </a:accent6>
      <a:hlink>
        <a:srgbClr val="402F77"/>
      </a:hlink>
      <a:folHlink>
        <a:srgbClr val="806BC4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22E64"/>
        </a:solidFill>
        <a:ln w="9525" cap="rnd" cmpd="sng" algn="ctr">
          <a:solidFill>
            <a:srgbClr val="022E6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noAutofit/>
      </a:bodyPr>
      <a:lstStyle>
        <a:defPPr algn="ctr">
          <a:defRPr sz="12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New FirstBank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947</Words>
  <Application>WPS Presentation</Application>
  <PresentationFormat>Widescreen</PresentationFormat>
  <Paragraphs>563</Paragraphs>
  <Slides>2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20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94</vt:i4>
      </vt:variant>
      <vt:variant>
        <vt:lpstr>幻灯片标题</vt:lpstr>
      </vt:variant>
      <vt:variant>
        <vt:i4>20</vt:i4>
      </vt:variant>
    </vt:vector>
  </HeadingPairs>
  <TitlesOfParts>
    <vt:vector size="137" baseType="lpstr">
      <vt:lpstr>Arial</vt:lpstr>
      <vt:lpstr>SimSun</vt:lpstr>
      <vt:lpstr>Wingdings</vt:lpstr>
      <vt:lpstr>Frutiger LT 65 Bold</vt:lpstr>
      <vt:lpstr>Yu Gothic UI Semibold</vt:lpstr>
      <vt:lpstr>Frutiger LT 45 Light</vt:lpstr>
      <vt:lpstr>Yu Gothic UI Semilight</vt:lpstr>
      <vt:lpstr>Calibri</vt:lpstr>
      <vt:lpstr>Trebuchet MS</vt:lpstr>
      <vt:lpstr>Frutiger LT 55 Roman</vt:lpstr>
      <vt:lpstr>Segoe Print</vt:lpstr>
      <vt:lpstr>Calibri Light</vt:lpstr>
      <vt:lpstr>Arial</vt:lpstr>
      <vt:lpstr>Calibri Light</vt:lpstr>
      <vt:lpstr>Calibri</vt:lpstr>
      <vt:lpstr>Aptos</vt:lpstr>
      <vt:lpstr>Microsoft YaHei</vt:lpstr>
      <vt:lpstr>Arial Unicode MS</vt:lpstr>
      <vt:lpstr>Segoe UI</vt:lpstr>
      <vt:lpstr>Arial Black</vt:lpstr>
      <vt:lpstr>1_Office Theme</vt:lpstr>
      <vt:lpstr>FirstBank Group Grid 16:9 - 22859</vt:lpstr>
      <vt:lpstr>5_New FirstBank Templat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Deepening the Role of Leasing in Stimulating Inclusive Growth and Economic Development In Nigeria</vt:lpstr>
      <vt:lpstr>Outline</vt:lpstr>
      <vt:lpstr>PowerPoint 演示文稿</vt:lpstr>
      <vt:lpstr>PowerPoint 演示文稿</vt:lpstr>
      <vt:lpstr>Driven by rising innovation, awareness and investment, Nigeria’s leasing industry continues to play a vital role in stimulating the country’s economic growth</vt:lpstr>
      <vt:lpstr>Nigeria’s leasing industry is evolving, driven by technology adoption, rising asset costs, sustainability priorities, financing constraints and the growing demand for flexible leasing solutions</vt:lpstr>
      <vt:lpstr>PowerPoint 演示文稿</vt:lpstr>
      <vt:lpstr>The Nigerian leasing industry faces financial, regulatory and technological challenges that constrain growth and operational efficiency</vt:lpstr>
      <vt:lpstr>PowerPoint 演示文稿</vt:lpstr>
      <vt:lpstr>Nigeria’s oil and gas sector is a dominant driver of the economy. Anticipated expansion in this sector presents significant opportunities for the leasing industry</vt:lpstr>
      <vt:lpstr>Nigeria’s thriving transportation and logistics sector presents significant opportunities for leasing sector growth</vt:lpstr>
      <vt:lpstr>Nigeria’s manufacturing sector continues to rely heavily on equipment leasing to meet its high capital and innovation demands</vt:lpstr>
      <vt:lpstr>Across key sectors, leasing presents strategic opportunities to bridge financing gaps, enable technology adoption and drive sectoral growth in Nigeria … (1/2)</vt:lpstr>
      <vt:lpstr>Across key sectors, leasing presents strategic opportunities to bridge financing gaps, enable technology adoption and drive sectoral growth in Nigeria … (2/2)</vt:lpstr>
      <vt:lpstr>PowerPoint 演示文稿</vt:lpstr>
      <vt:lpstr>PowerPoint 演示文稿</vt:lpstr>
      <vt:lpstr>PowerPoint 演示文稿</vt:lpstr>
      <vt:lpstr>Our broad coverage and robust business model have resulted in remarkable performance results...</vt:lpstr>
      <vt:lpstr>PowerPoint 演示文稿</vt:lpstr>
      <vt:lpstr>RECHARGE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luwatoyin D Adebiyi</dc:creator>
  <cp:lastModifiedBy>HP</cp:lastModifiedBy>
  <cp:revision>16</cp:revision>
  <dcterms:created xsi:type="dcterms:W3CDTF">2025-10-03T08:10:00Z</dcterms:created>
  <dcterms:modified xsi:type="dcterms:W3CDTF">2025-11-05T11:5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fa89c4-82ad-4909-a9ae-1541d95637c1_Enabled">
    <vt:lpwstr>true</vt:lpwstr>
  </property>
  <property fmtid="{D5CDD505-2E9C-101B-9397-08002B2CF9AE}" pid="3" name="MSIP_Label_1bfa89c4-82ad-4909-a9ae-1541d95637c1_SetDate">
    <vt:lpwstr>2025-11-04T20:28:41Z</vt:lpwstr>
  </property>
  <property fmtid="{D5CDD505-2E9C-101B-9397-08002B2CF9AE}" pid="4" name="MSIP_Label_1bfa89c4-82ad-4909-a9ae-1541d95637c1_Method">
    <vt:lpwstr>Privileged</vt:lpwstr>
  </property>
  <property fmtid="{D5CDD505-2E9C-101B-9397-08002B2CF9AE}" pid="5" name="MSIP_Label_1bfa89c4-82ad-4909-a9ae-1541d95637c1_Name">
    <vt:lpwstr>FBN - Public</vt:lpwstr>
  </property>
  <property fmtid="{D5CDD505-2E9C-101B-9397-08002B2CF9AE}" pid="6" name="MSIP_Label_1bfa89c4-82ad-4909-a9ae-1541d95637c1_SiteId">
    <vt:lpwstr>f0aa6c9e-6bfa-489e-8cef-afc384e8733c</vt:lpwstr>
  </property>
  <property fmtid="{D5CDD505-2E9C-101B-9397-08002B2CF9AE}" pid="7" name="MSIP_Label_1bfa89c4-82ad-4909-a9ae-1541d95637c1_ActionId">
    <vt:lpwstr>0e96ce86-a523-48bf-a238-212361721d23</vt:lpwstr>
  </property>
  <property fmtid="{D5CDD505-2E9C-101B-9397-08002B2CF9AE}" pid="8" name="MSIP_Label_1bfa89c4-82ad-4909-a9ae-1541d95637c1_ContentBits">
    <vt:lpwstr>0</vt:lpwstr>
  </property>
  <property fmtid="{D5CDD505-2E9C-101B-9397-08002B2CF9AE}" pid="9" name="MSIP_Label_1bfa89c4-82ad-4909-a9ae-1541d95637c1_Tag">
    <vt:lpwstr>10, 0, 1, 1</vt:lpwstr>
  </property>
  <property fmtid="{D5CDD505-2E9C-101B-9397-08002B2CF9AE}" pid="10" name="ICV">
    <vt:lpwstr>B5A88E8EF1B64BFBAFBC9BEC4B002439_13</vt:lpwstr>
  </property>
  <property fmtid="{D5CDD505-2E9C-101B-9397-08002B2CF9AE}" pid="11" name="KSOProductBuildVer">
    <vt:lpwstr>1033-12.2.0.23131</vt:lpwstr>
  </property>
</Properties>
</file>